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98" r:id="rId2"/>
    <p:sldMasterId id="2147483713" r:id="rId3"/>
    <p:sldMasterId id="2147483736" r:id="rId4"/>
  </p:sldMasterIdLst>
  <p:notesMasterIdLst>
    <p:notesMasterId r:id="rId47"/>
  </p:notesMasterIdLst>
  <p:sldIdLst>
    <p:sldId id="2076137328" r:id="rId5"/>
    <p:sldId id="2076137349" r:id="rId6"/>
    <p:sldId id="2076137329" r:id="rId7"/>
    <p:sldId id="2076137336" r:id="rId8"/>
    <p:sldId id="2076135989" r:id="rId9"/>
    <p:sldId id="2076137346" r:id="rId10"/>
    <p:sldId id="3042" r:id="rId11"/>
    <p:sldId id="2076137332" r:id="rId12"/>
    <p:sldId id="2076137333" r:id="rId13"/>
    <p:sldId id="2076137334" r:id="rId14"/>
    <p:sldId id="2076135990" r:id="rId15"/>
    <p:sldId id="2076137335" r:id="rId16"/>
    <p:sldId id="2076137338" r:id="rId17"/>
    <p:sldId id="2076137340" r:id="rId18"/>
    <p:sldId id="2076137357" r:id="rId19"/>
    <p:sldId id="2076137341" r:id="rId20"/>
    <p:sldId id="2076137360" r:id="rId21"/>
    <p:sldId id="2076137359" r:id="rId22"/>
    <p:sldId id="2076137348" r:id="rId23"/>
    <p:sldId id="2076137315" r:id="rId24"/>
    <p:sldId id="9997" r:id="rId25"/>
    <p:sldId id="2076137314" r:id="rId26"/>
    <p:sldId id="2076136985" r:id="rId27"/>
    <p:sldId id="2076137074" r:id="rId28"/>
    <p:sldId id="2076137351" r:id="rId29"/>
    <p:sldId id="2076137352" r:id="rId30"/>
    <p:sldId id="2076137353" r:id="rId31"/>
    <p:sldId id="2076137354" r:id="rId32"/>
    <p:sldId id="2076137355" r:id="rId33"/>
    <p:sldId id="2076137356" r:id="rId34"/>
    <p:sldId id="2076137073" r:id="rId35"/>
    <p:sldId id="2076137318" r:id="rId36"/>
    <p:sldId id="2076137319" r:id="rId37"/>
    <p:sldId id="2076137320" r:id="rId38"/>
    <p:sldId id="2076136983" r:id="rId39"/>
    <p:sldId id="2076137316" r:id="rId40"/>
    <p:sldId id="2076135980" r:id="rId41"/>
    <p:sldId id="2076135970" r:id="rId42"/>
    <p:sldId id="2076135978" r:id="rId43"/>
    <p:sldId id="3039" r:id="rId44"/>
    <p:sldId id="2076135986" r:id="rId45"/>
    <p:sldId id="2076137322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6FF5ADB-82F7-49AC-A3DD-B77D0F4DED7D}">
          <p14:sldIdLst>
            <p14:sldId id="2076137328"/>
            <p14:sldId id="2076137349"/>
            <p14:sldId id="2076137329"/>
          </p14:sldIdLst>
        </p14:section>
        <p14:section name="Intro" id="{ABBB5F7B-886E-4476-B18F-EBBA7375B5FD}">
          <p14:sldIdLst>
            <p14:sldId id="2076137336"/>
          </p14:sldIdLst>
        </p14:section>
        <p14:section name="Retail Overview" id="{7B4B406C-C2D0-42B3-A13A-28A610DA3CB9}">
          <p14:sldIdLst>
            <p14:sldId id="2076135989"/>
            <p14:sldId id="2076137346"/>
            <p14:sldId id="3042"/>
            <p14:sldId id="2076137332"/>
            <p14:sldId id="2076137333"/>
            <p14:sldId id="2076137334"/>
          </p14:sldIdLst>
        </p14:section>
        <p14:section name="Retail Insights with Synapse" id="{E94F8ED8-6840-4475-8ED2-3D1D7D351C68}">
          <p14:sldIdLst>
            <p14:sldId id="2076135990"/>
            <p14:sldId id="2076137335"/>
            <p14:sldId id="2076137338"/>
            <p14:sldId id="2076137340"/>
            <p14:sldId id="2076137357"/>
            <p14:sldId id="2076137341"/>
            <p14:sldId id="2076137360"/>
            <p14:sldId id="2076137359"/>
            <p14:sldId id="2076137348"/>
          </p14:sldIdLst>
        </p14:section>
        <p14:section name="Azure Stack Hub + Edge" id="{24024BB4-A795-412D-8CEE-9BE67C3F0F8B}">
          <p14:sldIdLst>
            <p14:sldId id="2076137315"/>
            <p14:sldId id="9997"/>
            <p14:sldId id="2076137314"/>
            <p14:sldId id="2076136985"/>
            <p14:sldId id="2076137074"/>
            <p14:sldId id="2076137351"/>
            <p14:sldId id="2076137352"/>
            <p14:sldId id="2076137353"/>
            <p14:sldId id="2076137354"/>
            <p14:sldId id="2076137355"/>
            <p14:sldId id="2076137356"/>
            <p14:sldId id="2076137073"/>
            <p14:sldId id="2076137318"/>
            <p14:sldId id="2076137319"/>
            <p14:sldId id="2076137320"/>
            <p14:sldId id="2076136983"/>
          </p14:sldIdLst>
        </p14:section>
        <p14:section name="Intelligent Retail Blueprint" id="{98435B3B-5CCF-4396-B2A0-073A7D86A7F5}">
          <p14:sldIdLst>
            <p14:sldId id="2076137316"/>
            <p14:sldId id="2076135980"/>
            <p14:sldId id="2076135970"/>
            <p14:sldId id="2076135978"/>
            <p14:sldId id="3039"/>
            <p14:sldId id="2076135986"/>
            <p14:sldId id="20761373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4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220F"/>
    <a:srgbClr val="FFFFFF"/>
    <a:srgbClr val="FD24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FD3145-CA65-4055-9054-3FCECE71C083}" v="302" dt="2020-04-29T20:49:36.959"/>
    <p1510:client id="{4544FA3E-529A-40E5-B3FD-69044E3F6AA3}" v="1070" dt="2020-04-30T14:27:17.996"/>
    <p1510:client id="{875E3D5E-DD60-4681-9DEE-E60CBA2F17D3}" v="87" dt="2020-04-30T14:07:32.7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318" autoAdjust="0"/>
  </p:normalViewPr>
  <p:slideViewPr>
    <p:cSldViewPr snapToGrid="0">
      <p:cViewPr varScale="1">
        <p:scale>
          <a:sx n="94" d="100"/>
          <a:sy n="94" d="100"/>
        </p:scale>
        <p:origin x="33" y="351"/>
      </p:cViewPr>
      <p:guideLst>
        <p:guide orient="horz" pos="254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3BA959-6BD6-4A74-BAED-2CA4DBA159B7}" type="datetimeFigureOut">
              <a:rPr lang="en-US" smtClean="0"/>
              <a:t>5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5C4A40-092C-4AC9-8B5D-1C7E930416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144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5C4A40-092C-4AC9-8B5D-1C7E930416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98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5/2020 5:29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646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F67C77-7EFA-4CAA-A410-E92D82C8E6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2963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A03442-42F1-49F9-A400-5175855DC9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257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99B6-61CB-4632-A5C2-C9270CC273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107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2853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7951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97735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9293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5/2020 5:29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52161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682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742">
              <a:lnSpc>
                <a:spcPct val="110000"/>
              </a:lnSpc>
              <a:spcAft>
                <a:spcPts val="800"/>
              </a:spcAft>
              <a:defRPr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2988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3599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5/2020 5:29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9561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9723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94C5CC-8837-4A48-85D2-2742B6872D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057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83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37C2E0-9288-4233-B1AF-0CD07F31AC27}" type="slidenum">
              <a:rPr kumimoji="0" lang="en-US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483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86242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83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37C2E0-9288-4233-B1AF-0CD07F31AC27}" type="slidenum">
              <a:rPr kumimoji="0" lang="en-US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483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0505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83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37C2E0-9288-4233-B1AF-0CD07F31AC27}" type="slidenum">
              <a:rPr kumimoji="0" lang="en-US" sz="1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483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676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5C4A40-092C-4AC9-8B5D-1C7E9304168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034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white"/>
              </a:solidFill>
              <a:latin typeface="Intel Clear 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5C4A40-092C-4AC9-8B5D-1C7E9304168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154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 dirty="0">
              <a:solidFill>
                <a:prstClr val="white"/>
              </a:solidFill>
              <a:latin typeface="Intel Clear 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13FB3FA-C830-445B-A142-1E421B2C8A7E}" type="slidenum">
              <a:rPr lang="en-US" sz="900">
                <a:solidFill>
                  <a:prstClr val="black"/>
                </a:solidFill>
                <a:latin typeface="Arial"/>
              </a:rPr>
              <a:pPr defTabSz="931774">
                <a:defRPr/>
              </a:pPr>
              <a:t>9</a:t>
            </a:fld>
            <a:endParaRPr lang="en-US" sz="9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6771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13FB3FA-C830-445B-A142-1E421B2C8A7E}" type="slidenum">
              <a:rPr lang="en-US" sz="900">
                <a:solidFill>
                  <a:prstClr val="black"/>
                </a:solidFill>
                <a:latin typeface="Arial"/>
              </a:rPr>
              <a:pPr defTabSz="931774">
                <a:defRPr/>
              </a:pPr>
              <a:t>10</a:t>
            </a:fld>
            <a:endParaRPr lang="en-US" sz="9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6798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5C4A40-092C-4AC9-8B5D-1C7E9304168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1633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9CAC0C-83E7-4249-962B-231BAECB4C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8420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9CAC0C-83E7-4249-962B-231BAECB4C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01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4A36DC34-EED6-8F49-8473-3802F6C2A3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lnSpc>
                <a:spcPct val="100000"/>
              </a:lnSpc>
              <a:defRPr sz="4800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Azure + Intel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500E80-DD0C-EF4F-BB7D-03960A09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644" y="4336993"/>
            <a:ext cx="9602819" cy="7386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rgbClr val="000000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DC11982-7B13-4D0D-BFBA-F41DB191A075}"/>
              </a:ext>
            </a:extLst>
          </p:cNvPr>
          <p:cNvGrpSpPr/>
          <p:nvPr userDrawn="1"/>
        </p:nvGrpSpPr>
        <p:grpSpPr>
          <a:xfrm>
            <a:off x="420978" y="372747"/>
            <a:ext cx="11352380" cy="304828"/>
            <a:chOff x="429419" y="399218"/>
            <a:chExt cx="11580019" cy="31089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9A0DF3A-9D82-40D5-9151-366495F0B3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46709" y="399218"/>
              <a:ext cx="462729" cy="31089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00C816E-5878-44B8-9F95-163F09D08C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419" y="449263"/>
              <a:ext cx="1362456" cy="1940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3613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B02379-61E2-496E-A740-DDBEDB877D8D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18642" y="1596983"/>
            <a:ext cx="3651188" cy="3102133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3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8642" y="4925246"/>
            <a:ext cx="3651188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2171" y="4927922"/>
            <a:ext cx="3651187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1642" y="4927922"/>
            <a:ext cx="3651187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22038DD-9076-B34B-B54A-107DF3F024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42" y="5154977"/>
            <a:ext cx="3651188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0C89B53-FA50-F248-AD0B-933DE098D7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81642" y="5157653"/>
            <a:ext cx="3651186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11EA858-BBCA-2149-9368-C1FDBC6C8D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2171" y="5157653"/>
            <a:ext cx="3651187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9B823E9-B6B1-48E1-86A3-75C8AE181297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4281643" y="1596983"/>
            <a:ext cx="3651187" cy="3102133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DE4E088D-D0AA-419C-9415-8D3B4EF9AF1E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8122171" y="1596983"/>
            <a:ext cx="3651187" cy="3102133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</p:spTree>
    <p:extLst>
      <p:ext uri="{BB962C8B-B14F-4D97-AF65-F5344CB8AC3E}">
        <p14:creationId xmlns:p14="http://schemas.microsoft.com/office/powerpoint/2010/main" val="907310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18643" y="2158886"/>
            <a:ext cx="168079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8643" y="3167817"/>
            <a:ext cx="1680797" cy="44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7"/>
            <a:ext cx="1693247" cy="44253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CC09D91-3BB7-5C4A-98CF-F87FD6AACD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8644" y="3622292"/>
            <a:ext cx="1680797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0A489FF-470D-734F-9769-61F47A7889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78329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F43AC1C-4836-034C-B18E-A886EB0A09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0066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9221C77D-8F08-6C49-9011-B244AD138F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29842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F3776908-857F-F24D-9AF6-14CF938B569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39413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FB7F2E6-D12A-0A47-939B-737BAD8176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44584" y="3622292"/>
            <a:ext cx="1693248" cy="2290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4055271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>
            <a:spLocks noGrp="1"/>
          </p:cNvSpPr>
          <p:nvPr>
            <p:ph type="title" hasCustomPrompt="1"/>
          </p:nvPr>
        </p:nvSpPr>
        <p:spPr>
          <a:xfrm>
            <a:off x="418643" y="1168943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49" baseline="0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540672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18643" y="1168943"/>
            <a:ext cx="7454643" cy="355819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49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62725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43" y="2363622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44" y="1922587"/>
            <a:ext cx="482295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200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B8FCD16-3426-8B48-803D-6B6E81EED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644" y="2576675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D336736-F7E2-BA48-AD3E-B0037BAC681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8643" y="3428999"/>
            <a:ext cx="4822952" cy="4951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  <a:p>
            <a:pPr lvl="1"/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FA36614-3522-794F-B70F-0659F06DAB3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8644" y="3639464"/>
            <a:ext cx="4822951" cy="674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93607F-5D7C-414A-BD66-EADF11B22C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29105" y="0"/>
            <a:ext cx="5973790" cy="6857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E90600-E7D7-45D1-98FC-D9B4403A9E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643" y="554119"/>
            <a:ext cx="4822951" cy="6148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</p:spTree>
    <p:extLst>
      <p:ext uri="{BB962C8B-B14F-4D97-AF65-F5344CB8AC3E}">
        <p14:creationId xmlns:p14="http://schemas.microsoft.com/office/powerpoint/2010/main" val="151052406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43B485B-0103-4054-A08E-0D61EA9D5EF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418643" y="2152659"/>
            <a:ext cx="3660401" cy="2590039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8644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3465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08287" y="4927922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97163EF-E7E8-4446-98C1-DF17E29E737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644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E57B78A-F25C-4D46-917C-E53FD3A557E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263465" y="5158174"/>
            <a:ext cx="3616245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1AA5291-B66D-8249-B809-BA15DD1EEA3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08287" y="5158174"/>
            <a:ext cx="3618381" cy="9055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. 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6D147811-F62A-4F10-9F3E-3CA36CDC348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4321812" y="2133980"/>
            <a:ext cx="3660401" cy="2590039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4BC79D29-B74A-4009-89FA-9C952A4E8476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108287" y="2152659"/>
            <a:ext cx="3660401" cy="2590039"/>
          </a:xfrm>
          <a:solidFill>
            <a:schemeClr val="bg1">
              <a:lumMod val="50000"/>
            </a:schemeClr>
          </a:solidFill>
        </p:spPr>
        <p:txBody>
          <a:bodyPr rIns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rop photo here</a:t>
            </a:r>
          </a:p>
        </p:txBody>
      </p:sp>
    </p:spTree>
    <p:extLst>
      <p:ext uri="{BB962C8B-B14F-4D97-AF65-F5344CB8AC3E}">
        <p14:creationId xmlns:p14="http://schemas.microsoft.com/office/powerpoint/2010/main" val="281116725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36996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8644" y="1922802"/>
            <a:ext cx="475821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2000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Large 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8643" y="2707597"/>
            <a:ext cx="4758210" cy="2522101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71696"/>
            <a:ext cx="5834041" cy="44537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4492496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538940"/>
            <a:ext cx="7678751" cy="44537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299188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18642" y="1661578"/>
            <a:ext cx="3621556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18642" y="5567961"/>
            <a:ext cx="3621556" cy="3077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1000" b="0" i="0" spc="0">
                <a:solidFill>
                  <a:srgbClr val="000000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0" y="5567961"/>
            <a:ext cx="362155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0" y="1661578"/>
            <a:ext cx="3621556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661578"/>
            <a:ext cx="3621556" cy="353484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8643" y="5381179"/>
            <a:ext cx="3621556" cy="313163"/>
          </a:xfrm>
          <a:prstGeom prst="rect">
            <a:avLst/>
          </a:prstGeom>
        </p:spPr>
        <p:txBody>
          <a:bodyPr tIns="0"/>
          <a:lstStyle>
            <a:lvl1pPr>
              <a:defRPr lang="en-US" sz="100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03150" y="5381179"/>
            <a:ext cx="3621556" cy="313163"/>
          </a:xfrm>
          <a:prstGeom prst="rect">
            <a:avLst/>
          </a:prstGeom>
        </p:spPr>
        <p:txBody>
          <a:bodyPr tIns="0"/>
          <a:lstStyle>
            <a:lvl1pPr>
              <a:defRPr lang="en-US" sz="100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2" y="5381179"/>
            <a:ext cx="3621556" cy="313163"/>
          </a:xfrm>
          <a:prstGeom prst="rect">
            <a:avLst/>
          </a:prstGeom>
        </p:spPr>
        <p:txBody>
          <a:bodyPr tIns="0"/>
          <a:lstStyle>
            <a:lvl1pPr>
              <a:defRPr lang="en-US" sz="100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1" y="5567961"/>
            <a:ext cx="362155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rgbClr val="000000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</p:spTree>
    <p:extLst>
      <p:ext uri="{BB962C8B-B14F-4D97-AF65-F5344CB8AC3E}">
        <p14:creationId xmlns:p14="http://schemas.microsoft.com/office/powerpoint/2010/main" val="269193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3" y="556611"/>
            <a:ext cx="11354714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18644" y="3518393"/>
            <a:ext cx="11343820" cy="445378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6404072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FDD3BB94-DC99-244C-91E3-A9764AF26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lnSpc>
                <a:spcPct val="100000"/>
              </a:lnSpc>
              <a:defRPr sz="4800" strike="noStrike" spc="-4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3FCEA3C-C822-5A4A-9561-695239EA77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681" y="4350114"/>
            <a:ext cx="9602819" cy="7386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2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F19B07D-5221-4290-B5C7-47CB469AD413}"/>
              </a:ext>
            </a:extLst>
          </p:cNvPr>
          <p:cNvGrpSpPr/>
          <p:nvPr userDrawn="1"/>
        </p:nvGrpSpPr>
        <p:grpSpPr>
          <a:xfrm>
            <a:off x="418642" y="392561"/>
            <a:ext cx="11354824" cy="304828"/>
            <a:chOff x="436503" y="6213094"/>
            <a:chExt cx="11582512" cy="31089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E4010A9-24C4-4191-AF82-BBA27AFA34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503" y="6261981"/>
              <a:ext cx="1362456" cy="19406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E863744-170A-4D7F-BDAE-F5CAD224B6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56286" y="6213094"/>
              <a:ext cx="462729" cy="3108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4248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7811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222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600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5D2BD7-C327-4D79-9271-01BEE2B2C5D3}"/>
              </a:ext>
            </a:extLst>
          </p:cNvPr>
          <p:cNvGrpSpPr/>
          <p:nvPr userDrawn="1"/>
        </p:nvGrpSpPr>
        <p:grpSpPr>
          <a:xfrm>
            <a:off x="418642" y="392561"/>
            <a:ext cx="11354824" cy="304828"/>
            <a:chOff x="436503" y="6213094"/>
            <a:chExt cx="11582512" cy="31089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583C905-1F69-4FB5-B54E-898638C94E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503" y="6261981"/>
              <a:ext cx="1362456" cy="19406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76113E-97F1-4B65-9BC6-EE8E3EFD44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56286" y="6213094"/>
              <a:ext cx="462729" cy="310896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BD8DC48-125E-421F-AA90-4024FD61C1BF}"/>
              </a:ext>
            </a:extLst>
          </p:cNvPr>
          <p:cNvSpPr/>
          <p:nvPr userDrawn="1"/>
        </p:nvSpPr>
        <p:spPr bwMode="auto">
          <a:xfrm>
            <a:off x="0" y="6069515"/>
            <a:ext cx="12192000" cy="7884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645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644" y="1845277"/>
            <a:ext cx="7454644" cy="1473396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600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276298-703E-4399-8853-2D1F7B5431BD}"/>
              </a:ext>
            </a:extLst>
          </p:cNvPr>
          <p:cNvGrpSpPr/>
          <p:nvPr userDrawn="1"/>
        </p:nvGrpSpPr>
        <p:grpSpPr>
          <a:xfrm>
            <a:off x="418642" y="392561"/>
            <a:ext cx="11354824" cy="304828"/>
            <a:chOff x="436503" y="6213094"/>
            <a:chExt cx="11582512" cy="31089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7ED45B-29A4-49E4-8394-DAC9D8F90E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503" y="6261981"/>
              <a:ext cx="1362456" cy="19406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3C635A9-33A2-4560-9BEE-81FC25053A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56286" y="6213094"/>
              <a:ext cx="462729" cy="310896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271550E-8AF8-4757-860A-EE661EBEAD10}"/>
              </a:ext>
            </a:extLst>
          </p:cNvPr>
          <p:cNvSpPr/>
          <p:nvPr userDrawn="1"/>
        </p:nvSpPr>
        <p:spPr bwMode="auto">
          <a:xfrm>
            <a:off x="0" y="6069515"/>
            <a:ext cx="12192000" cy="78848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083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CC6E92E5-E859-445F-856B-33F974FA3AC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038" y="588963"/>
            <a:ext cx="448081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2818" y="3535540"/>
            <a:ext cx="4485190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92776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7894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068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Semilight" panose="020B0402040204020203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4834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Semilight" panose="020B0402040204020203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097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Semilight" panose="020B0402040204020203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161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>
                  <a:lumMod val="90000"/>
                  <a:lumOff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1088105"/>
            <a:endParaRPr 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830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02B9254-503D-8F44-9D4B-18675DFDE8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81" y="2532448"/>
            <a:ext cx="9630389" cy="1793104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lnSpc>
                <a:spcPct val="100000"/>
              </a:lnSpc>
              <a:defRPr sz="4800" strike="noStrike" spc="-4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D6C119F-8C39-DF40-90FE-09B7E3ECD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681" y="4350114"/>
            <a:ext cx="9602819" cy="724246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765">
                <a:solidFill>
                  <a:srgbClr val="000000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  <a:br>
              <a:rPr lang="en-US"/>
            </a:br>
            <a:r>
              <a:rPr lang="en-US"/>
              <a:t>Dat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E052AAC-4E24-42AF-9128-45C67CD01E37}"/>
              </a:ext>
            </a:extLst>
          </p:cNvPr>
          <p:cNvGrpSpPr/>
          <p:nvPr userDrawn="1"/>
        </p:nvGrpSpPr>
        <p:grpSpPr>
          <a:xfrm>
            <a:off x="418642" y="392561"/>
            <a:ext cx="11354824" cy="304828"/>
            <a:chOff x="436503" y="6213094"/>
            <a:chExt cx="11582512" cy="310896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307DA19-9E36-44E3-858E-8A0C9C2E74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503" y="6261981"/>
              <a:ext cx="1362456" cy="194066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1AB0FFB-D963-43FE-A644-1C065A81EC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56286" y="6213094"/>
              <a:ext cx="462729" cy="3108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152342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798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6973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73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009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peaker not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Semilight" panose="020B0402040204020203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0971292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8"/>
            <a:ext cx="2884326" cy="106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990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Azure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038D2D-1DAD-4635-91A4-FF50E12092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310" y="241380"/>
            <a:ext cx="1279717" cy="57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8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Azure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0B53BF-E558-4E46-A0BB-087AC6D68C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310" y="241380"/>
            <a:ext cx="1279717" cy="57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435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itting in a chair using a computer&#10;&#10;Description generated with very high confidence">
            <a:extLst>
              <a:ext uri="{FF2B5EF4-FFF2-40B4-BE49-F238E27FC236}">
                <a16:creationId xmlns:a16="http://schemas.microsoft.com/office/drawing/2014/main" id="{03D2BC42-713B-428D-8ED4-A1554F175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3509" y="0"/>
            <a:ext cx="1220550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Azure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6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D28F43-8FFF-4944-9497-29A9A4AAF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63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202871"/>
            <a:ext cx="3632388" cy="1172553"/>
          </a:xfrm>
        </p:spPr>
        <p:txBody>
          <a:bodyPr lIns="0" tIns="0" rIns="0" bIns="0"/>
          <a:lstStyle>
            <a:lvl1pPr>
              <a:defRPr sz="1961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12722" y="1202872"/>
            <a:ext cx="3618382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61" spc="0" baseline="0">
                <a:solidFill>
                  <a:schemeClr val="tx1"/>
                </a:solidFill>
                <a:latin typeface="+mj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16039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1168943"/>
            <a:ext cx="3618381" cy="899665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3"/>
            <a:ext cx="547437" cy="3786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800" spc="0" baseline="0">
                <a:solidFill>
                  <a:schemeClr val="tx2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  <a:br>
              <a:rPr lang="en-US"/>
            </a:br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F941B29-79EC-DD49-A767-757BAE16FC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77280" y="1168942"/>
            <a:ext cx="3290380" cy="3786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800" spc="0" baseline="0">
                <a:solidFill>
                  <a:srgbClr val="000000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  <a:br>
              <a:rPr lang="en-US"/>
            </a:b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846898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2139702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54F507-2F03-4699-B93F-0F69A5194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3598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1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9" y="2141394"/>
            <a:ext cx="11339774" cy="1223171"/>
          </a:xfrm>
        </p:spPr>
        <p:txBody>
          <a:bodyPr wrap="square" lIns="0" tIns="0" rIns="0" bIns="0">
            <a:spAutoFit/>
          </a:bodyPr>
          <a:lstStyle>
            <a:lvl1pPr marL="268916" indent="-268916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537832" indent="-224097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2pPr>
            <a:lvl3pPr marL="806748" indent="-224097">
              <a:spcBef>
                <a:spcPts val="0"/>
              </a:spcBef>
              <a:spcAft>
                <a:spcPts val="1274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1083831"/>
            <a:ext cx="11339774" cy="35307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59068798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440495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145841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4120501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2135537"/>
            <a:ext cx="3632388" cy="25838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2135537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2135536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4927922"/>
            <a:ext cx="3623050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052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</p:spTree>
    <p:extLst>
      <p:ext uri="{BB962C8B-B14F-4D97-AF65-F5344CB8AC3E}">
        <p14:creationId xmlns:p14="http://schemas.microsoft.com/office/powerpoint/2010/main" val="394073914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2145841"/>
            <a:ext cx="5780073" cy="3756460"/>
          </a:xfrm>
        </p:spPr>
        <p:txBody>
          <a:bodyPr anchor="ctr">
            <a:noAutofit/>
          </a:bodyPr>
          <a:lstStyle>
            <a:lvl1pPr algn="ctr">
              <a:defRPr sz="1961"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2145841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381538759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26425" y="1599723"/>
            <a:ext cx="3632388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897219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281363" y="1599723"/>
            <a:ext cx="3623052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26965" y="1599723"/>
            <a:ext cx="3635499" cy="3128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Content Placeholder 15"/>
          <p:cNvSpPr>
            <a:spLocks noGrp="1"/>
          </p:cNvSpPr>
          <p:nvPr userDrawn="1">
            <p:ph sz="quarter" idx="18" hasCustomPrompt="1"/>
          </p:nvPr>
        </p:nvSpPr>
        <p:spPr>
          <a:xfrm>
            <a:off x="4746694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 userDrawn="1">
            <p:ph sz="quarter" idx="19" hasCustomPrompt="1"/>
          </p:nvPr>
        </p:nvSpPr>
        <p:spPr>
          <a:xfrm>
            <a:off x="8598490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6425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81362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26963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5132210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 userDrawn="1"/>
        </p:nvSpPr>
        <p:spPr bwMode="auto">
          <a:xfrm>
            <a:off x="9109046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 userDrawn="1"/>
        </p:nvSpPr>
        <p:spPr bwMode="auto">
          <a:xfrm>
            <a:off x="6214840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 userDrawn="1"/>
        </p:nvSpPr>
        <p:spPr bwMode="auto">
          <a:xfrm>
            <a:off x="3320633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 userDrawn="1"/>
        </p:nvSpPr>
        <p:spPr bwMode="auto">
          <a:xfrm>
            <a:off x="426426" y="1590385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35824"/>
            <a:ext cx="11336039" cy="7440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6751" y="2135537"/>
            <a:ext cx="1572767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49259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20633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840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3466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637672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9046" y="4927922"/>
            <a:ext cx="2653417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tx2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219989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26424" y="2135536"/>
            <a:ext cx="11336039" cy="4288197"/>
          </a:xfrm>
        </p:spPr>
        <p:txBody>
          <a:bodyPr bIns="1737360" anchor="ctr">
            <a:noAutofit/>
          </a:bodyPr>
          <a:lstStyle>
            <a:lvl1pPr algn="ctr">
              <a:defRPr sz="196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30468169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999163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48929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2563"/>
            <a:ext cx="11306469" cy="61637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337757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38047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in a blue shirt&#10;&#10;Description generated with high confidence">
            <a:extLst>
              <a:ext uri="{FF2B5EF4-FFF2-40B4-BE49-F238E27FC236}">
                <a16:creationId xmlns:a16="http://schemas.microsoft.com/office/drawing/2014/main" id="{6ED214DD-0EEC-4ACC-A022-15CDD9C0A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264" cy="6857996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4197893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225834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9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6425" y="1829711"/>
            <a:ext cx="7477989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6BDE7C-8AED-4A87-A171-2EB14E4B9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681" y="437140"/>
            <a:ext cx="896425" cy="19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56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3353"/>
            <a:ext cx="4159950" cy="1108121"/>
          </a:xfrm>
        </p:spPr>
        <p:txBody>
          <a:bodyPr anchor="ctr"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D1E7E43-E034-4449-B6D2-04DAB4D86A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145757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7203781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375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31360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94810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39489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48CF39-A654-4057-805D-3CC5A756C5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8643" y="1844470"/>
            <a:ext cx="11354714" cy="1610697"/>
          </a:xfrm>
        </p:spPr>
        <p:txBody>
          <a:bodyPr/>
          <a:lstStyle>
            <a:lvl1pPr marL="336145" indent="-336145">
              <a:lnSpc>
                <a:spcPct val="100000"/>
              </a:lnSpc>
              <a:spcAft>
                <a:spcPts val="2000"/>
              </a:spcAft>
              <a:buFont typeface="Arial" panose="020B0604020202020204" pitchFamily="34" charset="0"/>
              <a:buChar char="•"/>
              <a:defRPr sz="2000" spc="0">
                <a:latin typeface="+mn-lt"/>
              </a:defRPr>
            </a:lvl1pPr>
            <a:lvl2pPr marL="675402" indent="-340814">
              <a:lnSpc>
                <a:spcPct val="100000"/>
              </a:lnSpc>
              <a:spcAft>
                <a:spcPts val="2000"/>
              </a:spcAft>
              <a:buFont typeface="Arial" panose="020B0604020202020204" pitchFamily="34" charset="0"/>
              <a:buChar char="•"/>
              <a:defRPr sz="1800"/>
            </a:lvl2pPr>
            <a:lvl3pPr marL="617822" indent="-283233">
              <a:lnSpc>
                <a:spcPts val="1961"/>
              </a:lnSpc>
              <a:spcAft>
                <a:spcPts val="1176"/>
              </a:spcAft>
              <a:buFont typeface="Arial" panose="020B0604020202020204" pitchFamily="34" charset="0"/>
              <a:buChar char="•"/>
              <a:defRPr sz="1765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en-US"/>
              <a:t>Bulleted list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endParaRPr lang="en-US"/>
          </a:p>
          <a:p>
            <a:pPr lvl="1"/>
            <a:r>
              <a:rPr lang="en-US"/>
              <a:t>Bulleted list Segoe UI Regular 18/22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94596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3004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77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36176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0356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0785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18468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1018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63750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756323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0725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43820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8644" y="1922801"/>
            <a:ext cx="11306469" cy="287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rgbClr val="000000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>
                <a:solidFill>
                  <a:srgbClr val="000000"/>
                </a:solidFill>
                <a:latin typeface="+mn-lt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8644" y="3052322"/>
            <a:ext cx="11306469" cy="2130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4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6E35749-090F-0542-9B4B-BF37EFC334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44" y="4503831"/>
            <a:ext cx="11306469" cy="153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>
                <a:solidFill>
                  <a:srgbClr val="000000"/>
                </a:solidFill>
              </a:defRPr>
            </a:lvl5pPr>
          </a:lstStyle>
          <a:p>
            <a:pPr lvl="1"/>
            <a:r>
              <a:rPr lang="en-US"/>
              <a:t>Small: caption body copy Segoe Regular 10/12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F32AD9-0E33-284C-8468-E63BF69AF2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8644" y="4299924"/>
            <a:ext cx="11306469" cy="313163"/>
          </a:xfrm>
          <a:prstGeom prst="rect">
            <a:avLst/>
          </a:prstGeom>
        </p:spPr>
        <p:txBody>
          <a:bodyPr tIns="0"/>
          <a:lstStyle>
            <a:lvl1pPr>
              <a:defRPr lang="en-US" sz="1000" b="1" kern="1200" spc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mall: caption title Segoe UI Bold 10/12.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A46FDB1-D336-7C45-BF92-D58B6C550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644" y="3315375"/>
            <a:ext cx="11306469" cy="2130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body copy Segoe UI Regular 14/18</a:t>
            </a:r>
          </a:p>
        </p:txBody>
      </p:sp>
    </p:spTree>
    <p:extLst>
      <p:ext uri="{BB962C8B-B14F-4D97-AF65-F5344CB8AC3E}">
        <p14:creationId xmlns:p14="http://schemas.microsoft.com/office/powerpoint/2010/main" val="156097090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37150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6103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590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947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95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99002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CC3F24-BF53-4EF0-8FC2-26C4B3641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60" t="33254" r="14942" b="33412"/>
          <a:stretch/>
        </p:blipFill>
        <p:spPr>
          <a:xfrm>
            <a:off x="428682" y="3204862"/>
            <a:ext cx="2102988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777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039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0039" y="1922587"/>
            <a:ext cx="9384447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200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es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vit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0038" y="3151388"/>
            <a:ext cx="364355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592190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56185" y="3151388"/>
            <a:ext cx="361838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951A14E-1D63-9E44-9361-FD57A8BD81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038" y="3378439"/>
            <a:ext cx="3643551" cy="2103140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561798" indent="-283233">
              <a:lnSpc>
                <a:spcPts val="1568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1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01F7918-7811-4D2A-835E-239C900922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8449" y="3378439"/>
            <a:ext cx="3592190" cy="2103140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561798" indent="-283233">
              <a:lnSpc>
                <a:spcPts val="1765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marL="561798" marR="0" lvl="1" indent="-283233" algn="l" defTabSz="914367" rtl="0" eaLnBrk="1" fontAlgn="auto" latinLnBrk="0" hangingPunct="1">
              <a:lnSpc>
                <a:spcPts val="1568"/>
              </a:lnSpc>
              <a:spcBef>
                <a:spcPts val="0"/>
              </a:spcBef>
              <a:spcAft>
                <a:spcPts val="1176"/>
              </a:spcAft>
              <a:buClrTx/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02EDC1-912E-451D-B545-D9B533B4C9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56185" y="3381927"/>
            <a:ext cx="3617173" cy="2103140"/>
          </a:xfrm>
          <a:prstGeom prst="rect">
            <a:avLst/>
          </a:prstGeo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561798" indent="-283233">
              <a:lnSpc>
                <a:spcPts val="1765"/>
              </a:lnSpc>
              <a:spcBef>
                <a:spcPts val="0"/>
              </a:spcBef>
              <a:spcAft>
                <a:spcPts val="1176"/>
              </a:spcAft>
              <a:buFont typeface="Arial" panose="020B0604020202020204" pitchFamily="34" charset="0"/>
              <a:buChar char="•"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marL="561798" marR="0" lvl="1" indent="-283233" algn="l" defTabSz="914367" rtl="0" eaLnBrk="1" fontAlgn="auto" latinLnBrk="0" hangingPunct="1">
              <a:lnSpc>
                <a:spcPts val="1568"/>
              </a:lnSpc>
              <a:spcBef>
                <a:spcPts val="0"/>
              </a:spcBef>
              <a:spcAft>
                <a:spcPts val="1176"/>
              </a:spcAft>
              <a:buClrTx/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7075471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4" y="550321"/>
            <a:ext cx="11306469" cy="618621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643" y="2363622"/>
            <a:ext cx="3660401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2" y="2363622"/>
            <a:ext cx="3607487" cy="216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4/18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2A6E05B-C65A-8C44-AC8B-AA08746E66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643" y="2593749"/>
            <a:ext cx="3660401" cy="20604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52482AC-A354-B546-9AAD-B3E0285120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2593749"/>
            <a:ext cx="3607487" cy="20604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spc="0">
                <a:solidFill>
                  <a:srgbClr val="000000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93079710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image" Target="../media/image15.png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image" Target="../media/image14.emf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image" Target="../media/image2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8643" y="554119"/>
            <a:ext cx="11354714" cy="614823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18643" y="1830011"/>
            <a:ext cx="11354714" cy="234269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/>
              <a:t>Large: subhead Segoe UI Regular 24/20</a:t>
            </a:r>
          </a:p>
          <a:p>
            <a:pPr marL="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lang="en-US"/>
              <a:t>Large: subhead Segoe UI Regular 20/24</a:t>
            </a:r>
          </a:p>
          <a:p>
            <a:pPr marL="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lang="en-US"/>
          </a:p>
          <a:p>
            <a:pPr lvl="2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Medium: paragraph body copy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Small: caption heading Segoe UI Bold 10/12</a:t>
            </a:r>
          </a:p>
          <a:p>
            <a:pPr lvl="6"/>
            <a:r>
              <a:rPr lang="en-US"/>
              <a:t>Small: caption body copy Segoe UI Regular 10/12</a:t>
            </a:r>
          </a:p>
          <a:p>
            <a:pPr lvl="6"/>
            <a:endParaRPr lang="en-US"/>
          </a:p>
          <a:p>
            <a:pPr lvl="6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432277" y="2842059"/>
            <a:ext cx="6843271" cy="116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39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5" r:id="rId20"/>
    <p:sldLayoutId id="2147483680" r:id="rId21"/>
    <p:sldLayoutId id="2147483681" r:id="rId22"/>
    <p:sldLayoutId id="2147483684" r:id="rId23"/>
  </p:sldLayoutIdLst>
  <p:transition>
    <p:fade/>
  </p:transition>
  <p:hf hdr="0" dt="0"/>
  <p:txStyles>
    <p:titleStyle>
      <a:lvl1pPr algn="l" defTabSz="914367" rtl="0" eaLnBrk="1" latinLnBrk="0" hangingPunct="1">
        <a:lnSpc>
          <a:spcPts val="3200"/>
        </a:lnSpc>
        <a:spcBef>
          <a:spcPct val="0"/>
        </a:spcBef>
        <a:buNone/>
        <a:defRPr lang="en-US" sz="3200" b="0" kern="1200" cap="none" spc="-49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ts val="1961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400" kern="1200" spc="-49" baseline="0">
          <a:solidFill>
            <a:srgbClr val="000000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ts val="2353"/>
        </a:lnSpc>
        <a:spcBef>
          <a:spcPts val="0"/>
        </a:spcBef>
        <a:spcAft>
          <a:spcPts val="0"/>
        </a:spcAft>
        <a:buClrTx/>
        <a:buSzPct val="90000"/>
        <a:buFontTx/>
        <a:buNone/>
        <a:tabLst/>
        <a:defRPr sz="20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ts val="1765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ts val="1765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ts val="1176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000" b="1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ts val="1176"/>
        </a:lnSpc>
        <a:spcBef>
          <a:spcPts val="0"/>
        </a:spcBef>
        <a:spcAft>
          <a:spcPts val="0"/>
        </a:spcAft>
        <a:buFont typeface="Arial" pitchFamily="34" charset="0"/>
        <a:buNone/>
        <a:defRPr sz="1000" kern="1200">
          <a:solidFill>
            <a:srgbClr val="000000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69">
          <p15:clr>
            <a:srgbClr val="F26B43"/>
          </p15:clr>
        </p15:guide>
        <p15:guide id="42" pos="7411" userDrawn="1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68">
          <p15:clr>
            <a:srgbClr val="F26B43"/>
          </p15:clr>
        </p15:guide>
        <p15:guide id="50" orient="horz" pos="4050" userDrawn="1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16" imgW="377" imgH="377" progId="TCLayout.ActiveDocument.1">
                  <p:embed/>
                </p:oleObj>
              </mc:Choice>
              <mc:Fallback>
                <p:oleObj name="think-cell Slide" r:id="rId16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t">
            <a:normAutofit/>
          </a:bodyPr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543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Semilight" panose="020B0402040204020203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435824"/>
            <a:ext cx="11336039" cy="4431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866615"/>
            <a:ext cx="11336039" cy="12764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88817" y="3012080"/>
            <a:ext cx="6858623" cy="8332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66C9DB-A981-45BC-B811-A6F95811A81C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039878" y="3221594"/>
            <a:ext cx="6858000" cy="41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322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200" b="0" kern="1200" cap="none" spc="0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549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7416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  <p15:guide id="31" pos="3840">
          <p15:clr>
            <a:srgbClr val="F26B43"/>
          </p15:clr>
        </p15:guide>
        <p15:guide id="32" orient="horz" pos="40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8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image" Target="../media/image47.png"/><Relationship Id="rId7" Type="http://schemas.openxmlformats.org/officeDocument/2006/relationships/image" Target="../media/image51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svg"/><Relationship Id="rId18" Type="http://schemas.openxmlformats.org/officeDocument/2006/relationships/image" Target="../media/image7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78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sv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svg"/><Relationship Id="rId10" Type="http://schemas.openxmlformats.org/officeDocument/2006/relationships/image" Target="../media/image71.svg"/><Relationship Id="rId19" Type="http://schemas.openxmlformats.org/officeDocument/2006/relationships/image" Target="../media/image80.svg"/><Relationship Id="rId4" Type="http://schemas.openxmlformats.org/officeDocument/2006/relationships/image" Target="../media/image65.sv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hyperlink" Target="https://aka.ms/azurestackhubgpupreview" TargetMode="Externa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tif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7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12" Type="http://schemas.openxmlformats.org/officeDocument/2006/relationships/image" Target="../media/image1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4.png"/><Relationship Id="rId11" Type="http://schemas.openxmlformats.org/officeDocument/2006/relationships/image" Target="../media/image109.jpeg"/><Relationship Id="rId5" Type="http://schemas.openxmlformats.org/officeDocument/2006/relationships/image" Target="../media/image103.png"/><Relationship Id="rId10" Type="http://schemas.openxmlformats.org/officeDocument/2006/relationships/image" Target="../media/image108.png"/><Relationship Id="rId4" Type="http://schemas.openxmlformats.org/officeDocument/2006/relationships/image" Target="../media/image102.svg"/><Relationship Id="rId9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11.png"/><Relationship Id="rId7" Type="http://schemas.openxmlformats.org/officeDocument/2006/relationships/image" Target="../media/image104.png"/><Relationship Id="rId12" Type="http://schemas.openxmlformats.org/officeDocument/2006/relationships/image" Target="../media/image11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5" Type="http://schemas.openxmlformats.org/officeDocument/2006/relationships/image" Target="../media/image102.svg"/><Relationship Id="rId10" Type="http://schemas.openxmlformats.org/officeDocument/2006/relationships/image" Target="../media/image107.png"/><Relationship Id="rId4" Type="http://schemas.openxmlformats.org/officeDocument/2006/relationships/image" Target="../media/image101.png"/><Relationship Id="rId9" Type="http://schemas.openxmlformats.org/officeDocument/2006/relationships/image" Target="../media/image106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04.png"/><Relationship Id="rId3" Type="http://schemas.openxmlformats.org/officeDocument/2006/relationships/image" Target="../media/image113.png"/><Relationship Id="rId7" Type="http://schemas.openxmlformats.org/officeDocument/2006/relationships/image" Target="../media/image107.png"/><Relationship Id="rId12" Type="http://schemas.openxmlformats.org/officeDocument/2006/relationships/image" Target="../media/image102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6.png"/><Relationship Id="rId11" Type="http://schemas.openxmlformats.org/officeDocument/2006/relationships/image" Target="../media/image101.png"/><Relationship Id="rId5" Type="http://schemas.openxmlformats.org/officeDocument/2006/relationships/image" Target="../media/image97.svg"/><Relationship Id="rId10" Type="http://schemas.openxmlformats.org/officeDocument/2006/relationships/image" Target="../media/image105.png"/><Relationship Id="rId4" Type="http://schemas.openxmlformats.org/officeDocument/2006/relationships/image" Target="../media/image96.png"/><Relationship Id="rId9" Type="http://schemas.openxmlformats.org/officeDocument/2006/relationships/image" Target="../media/image103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hite, man, snow, skiing&#10;&#10;Description automatically generated">
            <a:extLst>
              <a:ext uri="{FF2B5EF4-FFF2-40B4-BE49-F238E27FC236}">
                <a16:creationId xmlns:a16="http://schemas.microsoft.com/office/drawing/2014/main" id="{4A9727B2-F064-4176-A7E1-4AAC69E0C7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166BC3F-6A16-DB4C-8A9C-2C7E6887F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lligent </a:t>
            </a:r>
            <a:br>
              <a:rPr lang="en-US"/>
            </a:br>
            <a:r>
              <a:rPr lang="en-US"/>
              <a:t>Retail Webinar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95EFEE-0695-4C49-B1DF-874B5A65DD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April 30, 2020</a:t>
            </a:r>
          </a:p>
          <a:p>
            <a:r>
              <a:rPr lang="en-US"/>
              <a:t>Microsoft + Intel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46C2DB-6335-4704-8275-044457BBE6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9725" y="372747"/>
            <a:ext cx="45363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22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8">
            <a:extLst>
              <a:ext uri="{FF2B5EF4-FFF2-40B4-BE49-F238E27FC236}">
                <a16:creationId xmlns:a16="http://schemas.microsoft.com/office/drawing/2014/main" id="{DAC2CEFD-7D80-4C64-97E1-5DD7CFF44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254618"/>
              </p:ext>
            </p:extLst>
          </p:nvPr>
        </p:nvGraphicFramePr>
        <p:xfrm>
          <a:off x="0" y="2547722"/>
          <a:ext cx="12192002" cy="3623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3345">
                  <a:extLst>
                    <a:ext uri="{9D8B030D-6E8A-4147-A177-3AD203B41FA5}">
                      <a16:colId xmlns:a16="http://schemas.microsoft.com/office/drawing/2014/main" val="972670355"/>
                    </a:ext>
                  </a:extLst>
                </a:gridCol>
                <a:gridCol w="5659582">
                  <a:extLst>
                    <a:ext uri="{9D8B030D-6E8A-4147-A177-3AD203B41FA5}">
                      <a16:colId xmlns:a16="http://schemas.microsoft.com/office/drawing/2014/main" val="4275057302"/>
                    </a:ext>
                  </a:extLst>
                </a:gridCol>
                <a:gridCol w="5659582">
                  <a:extLst>
                    <a:ext uri="{9D8B030D-6E8A-4147-A177-3AD203B41FA5}">
                      <a16:colId xmlns:a16="http://schemas.microsoft.com/office/drawing/2014/main" val="1904748419"/>
                    </a:ext>
                  </a:extLst>
                </a:gridCol>
                <a:gridCol w="429493">
                  <a:extLst>
                    <a:ext uri="{9D8B030D-6E8A-4147-A177-3AD203B41FA5}">
                      <a16:colId xmlns:a16="http://schemas.microsoft.com/office/drawing/2014/main" val="691801265"/>
                    </a:ext>
                  </a:extLst>
                </a:gridCol>
              </a:tblGrid>
              <a:tr h="1207863"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actless Solutions</a:t>
                      </a:r>
                    </a:p>
                  </a:txBody>
                  <a:tcPr marL="73152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ptimized IT</a:t>
                      </a:r>
                    </a:p>
                  </a:txBody>
                  <a:tcPr marL="914400" marR="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228848"/>
                  </a:ext>
                </a:extLst>
              </a:tr>
              <a:tr h="1207863"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ores as Order Fulfillment Hubs</a:t>
                      </a:r>
                    </a:p>
                  </a:txBody>
                  <a:tcPr marL="73152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ealth Monitoring</a:t>
                      </a:r>
                    </a:p>
                  </a:txBody>
                  <a:tcPr marL="914400" marR="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9733678"/>
                  </a:ext>
                </a:extLst>
              </a:tr>
              <a:tr h="1207863"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mote Capabilities</a:t>
                      </a:r>
                    </a:p>
                  </a:txBody>
                  <a:tcPr marL="73152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upply Chain Automation &amp; Agility</a:t>
                      </a:r>
                    </a:p>
                  </a:txBody>
                  <a:tcPr marL="914400" marR="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6663"/>
                  </a:ext>
                </a:extLst>
              </a:tr>
            </a:tbl>
          </a:graphicData>
        </a:graphic>
      </p:graphicFrame>
      <p:sp>
        <p:nvSpPr>
          <p:cNvPr id="23" name="Title 3">
            <a:extLst>
              <a:ext uri="{FF2B5EF4-FFF2-40B4-BE49-F238E27FC236}">
                <a16:creationId xmlns:a16="http://schemas.microsoft.com/office/drawing/2014/main" id="{51EDA3C4-FD4F-441E-BF53-641F006580BC}"/>
              </a:ext>
            </a:extLst>
          </p:cNvPr>
          <p:cNvSpPr txBox="1">
            <a:spLocks/>
          </p:cNvSpPr>
          <p:nvPr/>
        </p:nvSpPr>
        <p:spPr>
          <a:xfrm>
            <a:off x="427038" y="1213676"/>
            <a:ext cx="7642225" cy="61595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3200" b="0" kern="1200" cap="none" spc="-49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49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ome early trends emerging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7EBD235-5A87-453F-8687-75CC7A23A02C}"/>
              </a:ext>
            </a:extLst>
          </p:cNvPr>
          <p:cNvSpPr/>
          <p:nvPr/>
        </p:nvSpPr>
        <p:spPr bwMode="auto">
          <a:xfrm>
            <a:off x="427038" y="2855357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B23C923-19E1-4294-8B61-6FF7675900A7}"/>
              </a:ext>
            </a:extLst>
          </p:cNvPr>
          <p:cNvSpPr/>
          <p:nvPr/>
        </p:nvSpPr>
        <p:spPr bwMode="auto">
          <a:xfrm>
            <a:off x="427038" y="4057594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62A0-A3D1-4255-A377-A461B495BB34}"/>
              </a:ext>
            </a:extLst>
          </p:cNvPr>
          <p:cNvSpPr/>
          <p:nvPr/>
        </p:nvSpPr>
        <p:spPr bwMode="auto">
          <a:xfrm>
            <a:off x="427038" y="5259832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BDFF4A6-261A-4972-84E1-F7FC5368D0D3}"/>
              </a:ext>
            </a:extLst>
          </p:cNvPr>
          <p:cNvSpPr/>
          <p:nvPr/>
        </p:nvSpPr>
        <p:spPr bwMode="auto">
          <a:xfrm>
            <a:off x="6109289" y="2839226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9819CFA-03E0-4E22-80A6-6C0322C03EAD}"/>
              </a:ext>
            </a:extLst>
          </p:cNvPr>
          <p:cNvSpPr/>
          <p:nvPr/>
        </p:nvSpPr>
        <p:spPr bwMode="auto">
          <a:xfrm>
            <a:off x="6109289" y="4041463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6986B20-8896-426E-8CA7-F7262B82ED39}"/>
              </a:ext>
            </a:extLst>
          </p:cNvPr>
          <p:cNvSpPr/>
          <p:nvPr/>
        </p:nvSpPr>
        <p:spPr bwMode="auto">
          <a:xfrm>
            <a:off x="6109289" y="5243701"/>
            <a:ext cx="621792" cy="618846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speech_4" title="Icon of a chat bubble with a video camera in it">
            <a:extLst>
              <a:ext uri="{FF2B5EF4-FFF2-40B4-BE49-F238E27FC236}">
                <a16:creationId xmlns:a16="http://schemas.microsoft.com/office/drawing/2014/main" id="{4F695FFE-69C0-4105-B47B-77398DB4E47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1369" y="3015982"/>
            <a:ext cx="333131" cy="297597"/>
          </a:xfrm>
          <a:custGeom>
            <a:avLst/>
            <a:gdLst>
              <a:gd name="T0" fmla="*/ 298 w 525"/>
              <a:gd name="T1" fmla="*/ 357 h 469"/>
              <a:gd name="T2" fmla="*/ 186 w 525"/>
              <a:gd name="T3" fmla="*/ 357 h 469"/>
              <a:gd name="T4" fmla="*/ 74 w 525"/>
              <a:gd name="T5" fmla="*/ 469 h 469"/>
              <a:gd name="T6" fmla="*/ 74 w 525"/>
              <a:gd name="T7" fmla="*/ 357 h 469"/>
              <a:gd name="T8" fmla="*/ 0 w 525"/>
              <a:gd name="T9" fmla="*/ 357 h 469"/>
              <a:gd name="T10" fmla="*/ 0 w 525"/>
              <a:gd name="T11" fmla="*/ 0 h 469"/>
              <a:gd name="T12" fmla="*/ 525 w 525"/>
              <a:gd name="T13" fmla="*/ 0 h 469"/>
              <a:gd name="T14" fmla="*/ 525 w 525"/>
              <a:gd name="T15" fmla="*/ 295 h 469"/>
              <a:gd name="T16" fmla="*/ 292 w 525"/>
              <a:gd name="T17" fmla="*/ 357 h 469"/>
              <a:gd name="T18" fmla="*/ 292 w 525"/>
              <a:gd name="T19" fmla="*/ 357 h 469"/>
              <a:gd name="T20" fmla="*/ 298 w 525"/>
              <a:gd name="T21" fmla="*/ 357 h 469"/>
              <a:gd name="T22" fmla="*/ 525 w 525"/>
              <a:gd name="T23" fmla="*/ 357 h 469"/>
              <a:gd name="T24" fmla="*/ 525 w 525"/>
              <a:gd name="T25" fmla="*/ 295 h 469"/>
              <a:gd name="T26" fmla="*/ 319 w 525"/>
              <a:gd name="T27" fmla="*/ 148 h 469"/>
              <a:gd name="T28" fmla="*/ 319 w 525"/>
              <a:gd name="T29" fmla="*/ 100 h 469"/>
              <a:gd name="T30" fmla="*/ 131 w 525"/>
              <a:gd name="T31" fmla="*/ 100 h 469"/>
              <a:gd name="T32" fmla="*/ 131 w 525"/>
              <a:gd name="T33" fmla="*/ 251 h 469"/>
              <a:gd name="T34" fmla="*/ 319 w 525"/>
              <a:gd name="T35" fmla="*/ 251 h 469"/>
              <a:gd name="T36" fmla="*/ 319 w 525"/>
              <a:gd name="T37" fmla="*/ 148 h 469"/>
              <a:gd name="T38" fmla="*/ 319 w 525"/>
              <a:gd name="T39" fmla="*/ 206 h 469"/>
              <a:gd name="T40" fmla="*/ 393 w 525"/>
              <a:gd name="T41" fmla="*/ 247 h 469"/>
              <a:gd name="T42" fmla="*/ 393 w 525"/>
              <a:gd name="T43" fmla="*/ 110 h 469"/>
              <a:gd name="T44" fmla="*/ 319 w 525"/>
              <a:gd name="T45" fmla="*/ 1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25" h="469">
                <a:moveTo>
                  <a:pt x="298" y="357"/>
                </a:moveTo>
                <a:lnTo>
                  <a:pt x="186" y="357"/>
                </a:lnTo>
                <a:lnTo>
                  <a:pt x="74" y="469"/>
                </a:lnTo>
                <a:lnTo>
                  <a:pt x="74" y="357"/>
                </a:lnTo>
                <a:lnTo>
                  <a:pt x="0" y="357"/>
                </a:lnTo>
                <a:lnTo>
                  <a:pt x="0" y="0"/>
                </a:lnTo>
                <a:lnTo>
                  <a:pt x="525" y="0"/>
                </a:lnTo>
                <a:lnTo>
                  <a:pt x="525" y="295"/>
                </a:lnTo>
                <a:moveTo>
                  <a:pt x="292" y="357"/>
                </a:moveTo>
                <a:lnTo>
                  <a:pt x="292" y="357"/>
                </a:lnTo>
                <a:moveTo>
                  <a:pt x="298" y="357"/>
                </a:moveTo>
                <a:lnTo>
                  <a:pt x="525" y="357"/>
                </a:lnTo>
                <a:lnTo>
                  <a:pt x="525" y="295"/>
                </a:lnTo>
                <a:moveTo>
                  <a:pt x="319" y="148"/>
                </a:moveTo>
                <a:lnTo>
                  <a:pt x="319" y="100"/>
                </a:lnTo>
                <a:lnTo>
                  <a:pt x="131" y="100"/>
                </a:lnTo>
                <a:lnTo>
                  <a:pt x="131" y="251"/>
                </a:lnTo>
                <a:lnTo>
                  <a:pt x="319" y="251"/>
                </a:lnTo>
                <a:lnTo>
                  <a:pt x="319" y="148"/>
                </a:lnTo>
                <a:moveTo>
                  <a:pt x="319" y="206"/>
                </a:moveTo>
                <a:lnTo>
                  <a:pt x="393" y="247"/>
                </a:lnTo>
                <a:lnTo>
                  <a:pt x="393" y="110"/>
                </a:lnTo>
                <a:lnTo>
                  <a:pt x="319" y="148"/>
                </a:ln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box" title="Icon of a box">
            <a:extLst>
              <a:ext uri="{FF2B5EF4-FFF2-40B4-BE49-F238E27FC236}">
                <a16:creationId xmlns:a16="http://schemas.microsoft.com/office/drawing/2014/main" id="{E0A36EAE-B266-4C16-A9C0-AF87827AA3B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0706" y="4208294"/>
            <a:ext cx="314456" cy="317446"/>
          </a:xfrm>
          <a:custGeom>
            <a:avLst/>
            <a:gdLst>
              <a:gd name="T0" fmla="*/ 87 w 240"/>
              <a:gd name="T1" fmla="*/ 0 h 244"/>
              <a:gd name="T2" fmla="*/ 165 w 240"/>
              <a:gd name="T3" fmla="*/ 83 h 244"/>
              <a:gd name="T4" fmla="*/ 198 w 240"/>
              <a:gd name="T5" fmla="*/ 39 h 244"/>
              <a:gd name="T6" fmla="*/ 123 w 240"/>
              <a:gd name="T7" fmla="*/ 39 h 244"/>
              <a:gd name="T8" fmla="*/ 240 w 240"/>
              <a:gd name="T9" fmla="*/ 83 h 244"/>
              <a:gd name="T10" fmla="*/ 80 w 240"/>
              <a:gd name="T11" fmla="*/ 83 h 244"/>
              <a:gd name="T12" fmla="*/ 80 w 240"/>
              <a:gd name="T13" fmla="*/ 244 h 244"/>
              <a:gd name="T14" fmla="*/ 240 w 240"/>
              <a:gd name="T15" fmla="*/ 244 h 244"/>
              <a:gd name="T16" fmla="*/ 240 w 240"/>
              <a:gd name="T17" fmla="*/ 83 h 244"/>
              <a:gd name="T18" fmla="*/ 80 w 240"/>
              <a:gd name="T19" fmla="*/ 173 h 244"/>
              <a:gd name="T20" fmla="*/ 80 w 240"/>
              <a:gd name="T21" fmla="*/ 83 h 244"/>
              <a:gd name="T22" fmla="*/ 0 w 240"/>
              <a:gd name="T23" fmla="*/ 0 h 244"/>
              <a:gd name="T24" fmla="*/ 0 w 240"/>
              <a:gd name="T25" fmla="*/ 137 h 244"/>
              <a:gd name="T26" fmla="*/ 80 w 240"/>
              <a:gd name="T27" fmla="*/ 244 h 244"/>
              <a:gd name="T28" fmla="*/ 80 w 240"/>
              <a:gd name="T29" fmla="*/ 173 h 244"/>
              <a:gd name="T30" fmla="*/ 119 w 240"/>
              <a:gd name="T31" fmla="*/ 0 h 244"/>
              <a:gd name="T32" fmla="*/ 0 w 240"/>
              <a:gd name="T33" fmla="*/ 0 h 244"/>
              <a:gd name="T34" fmla="*/ 80 w 240"/>
              <a:gd name="T35" fmla="*/ 83 h 244"/>
              <a:gd name="T36" fmla="*/ 240 w 240"/>
              <a:gd name="T37" fmla="*/ 83 h 244"/>
              <a:gd name="T38" fmla="*/ 161 w 240"/>
              <a:gd name="T39" fmla="*/ 0 h 244"/>
              <a:gd name="T40" fmla="*/ 119 w 240"/>
              <a:gd name="T41" fmla="*/ 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0" h="244">
                <a:moveTo>
                  <a:pt x="87" y="0"/>
                </a:moveTo>
                <a:lnTo>
                  <a:pt x="165" y="83"/>
                </a:lnTo>
                <a:moveTo>
                  <a:pt x="198" y="39"/>
                </a:moveTo>
                <a:lnTo>
                  <a:pt x="123" y="39"/>
                </a:lnTo>
                <a:moveTo>
                  <a:pt x="240" y="83"/>
                </a:moveTo>
                <a:lnTo>
                  <a:pt x="80" y="83"/>
                </a:lnTo>
                <a:lnTo>
                  <a:pt x="80" y="244"/>
                </a:lnTo>
                <a:lnTo>
                  <a:pt x="240" y="244"/>
                </a:lnTo>
                <a:lnTo>
                  <a:pt x="240" y="83"/>
                </a:lnTo>
                <a:moveTo>
                  <a:pt x="80" y="173"/>
                </a:moveTo>
                <a:lnTo>
                  <a:pt x="80" y="83"/>
                </a:lnTo>
                <a:lnTo>
                  <a:pt x="0" y="0"/>
                </a:lnTo>
                <a:lnTo>
                  <a:pt x="0" y="137"/>
                </a:lnTo>
                <a:lnTo>
                  <a:pt x="80" y="244"/>
                </a:lnTo>
                <a:lnTo>
                  <a:pt x="80" y="173"/>
                </a:lnTo>
                <a:moveTo>
                  <a:pt x="119" y="0"/>
                </a:moveTo>
                <a:lnTo>
                  <a:pt x="0" y="0"/>
                </a:lnTo>
                <a:lnTo>
                  <a:pt x="80" y="83"/>
                </a:lnTo>
                <a:lnTo>
                  <a:pt x="240" y="83"/>
                </a:lnTo>
                <a:lnTo>
                  <a:pt x="161" y="0"/>
                </a:lnTo>
                <a:lnTo>
                  <a:pt x="119" y="0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chip" title="Icon of a computer chip">
            <a:extLst>
              <a:ext uri="{FF2B5EF4-FFF2-40B4-BE49-F238E27FC236}">
                <a16:creationId xmlns:a16="http://schemas.microsoft.com/office/drawing/2014/main" id="{FFF5F256-4EB8-4151-BF9A-AF38B7C981B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7265" y="5405329"/>
            <a:ext cx="321339" cy="327853"/>
          </a:xfrm>
          <a:custGeom>
            <a:avLst/>
            <a:gdLst>
              <a:gd name="T0" fmla="*/ 267 w 334"/>
              <a:gd name="T1" fmla="*/ 298 h 341"/>
              <a:gd name="T2" fmla="*/ 60 w 334"/>
              <a:gd name="T3" fmla="*/ 298 h 341"/>
              <a:gd name="T4" fmla="*/ 36 w 334"/>
              <a:gd name="T5" fmla="*/ 273 h 341"/>
              <a:gd name="T6" fmla="*/ 36 w 334"/>
              <a:gd name="T7" fmla="*/ 61 h 341"/>
              <a:gd name="T8" fmla="*/ 60 w 334"/>
              <a:gd name="T9" fmla="*/ 36 h 341"/>
              <a:gd name="T10" fmla="*/ 267 w 334"/>
              <a:gd name="T11" fmla="*/ 36 h 341"/>
              <a:gd name="T12" fmla="*/ 291 w 334"/>
              <a:gd name="T13" fmla="*/ 61 h 341"/>
              <a:gd name="T14" fmla="*/ 291 w 334"/>
              <a:gd name="T15" fmla="*/ 273 h 341"/>
              <a:gd name="T16" fmla="*/ 267 w 334"/>
              <a:gd name="T17" fmla="*/ 298 h 341"/>
              <a:gd name="T18" fmla="*/ 78 w 334"/>
              <a:gd name="T19" fmla="*/ 36 h 341"/>
              <a:gd name="T20" fmla="*/ 78 w 334"/>
              <a:gd name="T21" fmla="*/ 0 h 341"/>
              <a:gd name="T22" fmla="*/ 121 w 334"/>
              <a:gd name="T23" fmla="*/ 36 h 341"/>
              <a:gd name="T24" fmla="*/ 121 w 334"/>
              <a:gd name="T25" fmla="*/ 0 h 341"/>
              <a:gd name="T26" fmla="*/ 163 w 334"/>
              <a:gd name="T27" fmla="*/ 0 h 341"/>
              <a:gd name="T28" fmla="*/ 163 w 334"/>
              <a:gd name="T29" fmla="*/ 36 h 341"/>
              <a:gd name="T30" fmla="*/ 206 w 334"/>
              <a:gd name="T31" fmla="*/ 0 h 341"/>
              <a:gd name="T32" fmla="*/ 206 w 334"/>
              <a:gd name="T33" fmla="*/ 36 h 341"/>
              <a:gd name="T34" fmla="*/ 256 w 334"/>
              <a:gd name="T35" fmla="*/ 0 h 341"/>
              <a:gd name="T36" fmla="*/ 256 w 334"/>
              <a:gd name="T37" fmla="*/ 36 h 341"/>
              <a:gd name="T38" fmla="*/ 334 w 334"/>
              <a:gd name="T39" fmla="*/ 78 h 341"/>
              <a:gd name="T40" fmla="*/ 291 w 334"/>
              <a:gd name="T41" fmla="*/ 78 h 341"/>
              <a:gd name="T42" fmla="*/ 334 w 334"/>
              <a:gd name="T43" fmla="*/ 121 h 341"/>
              <a:gd name="T44" fmla="*/ 291 w 334"/>
              <a:gd name="T45" fmla="*/ 121 h 341"/>
              <a:gd name="T46" fmla="*/ 334 w 334"/>
              <a:gd name="T47" fmla="*/ 163 h 341"/>
              <a:gd name="T48" fmla="*/ 291 w 334"/>
              <a:gd name="T49" fmla="*/ 163 h 341"/>
              <a:gd name="T50" fmla="*/ 334 w 334"/>
              <a:gd name="T51" fmla="*/ 213 h 341"/>
              <a:gd name="T52" fmla="*/ 291 w 334"/>
              <a:gd name="T53" fmla="*/ 213 h 341"/>
              <a:gd name="T54" fmla="*/ 334 w 334"/>
              <a:gd name="T55" fmla="*/ 256 h 341"/>
              <a:gd name="T56" fmla="*/ 291 w 334"/>
              <a:gd name="T57" fmla="*/ 256 h 341"/>
              <a:gd name="T58" fmla="*/ 36 w 334"/>
              <a:gd name="T59" fmla="*/ 78 h 341"/>
              <a:gd name="T60" fmla="*/ 0 w 334"/>
              <a:gd name="T61" fmla="*/ 78 h 341"/>
              <a:gd name="T62" fmla="*/ 36 w 334"/>
              <a:gd name="T63" fmla="*/ 121 h 341"/>
              <a:gd name="T64" fmla="*/ 0 w 334"/>
              <a:gd name="T65" fmla="*/ 121 h 341"/>
              <a:gd name="T66" fmla="*/ 36 w 334"/>
              <a:gd name="T67" fmla="*/ 163 h 341"/>
              <a:gd name="T68" fmla="*/ 0 w 334"/>
              <a:gd name="T69" fmla="*/ 163 h 341"/>
              <a:gd name="T70" fmla="*/ 36 w 334"/>
              <a:gd name="T71" fmla="*/ 213 h 341"/>
              <a:gd name="T72" fmla="*/ 0 w 334"/>
              <a:gd name="T73" fmla="*/ 213 h 341"/>
              <a:gd name="T74" fmla="*/ 36 w 334"/>
              <a:gd name="T75" fmla="*/ 256 h 341"/>
              <a:gd name="T76" fmla="*/ 0 w 334"/>
              <a:gd name="T77" fmla="*/ 256 h 341"/>
              <a:gd name="T78" fmla="*/ 78 w 334"/>
              <a:gd name="T79" fmla="*/ 298 h 341"/>
              <a:gd name="T80" fmla="*/ 78 w 334"/>
              <a:gd name="T81" fmla="*/ 341 h 341"/>
              <a:gd name="T82" fmla="*/ 121 w 334"/>
              <a:gd name="T83" fmla="*/ 298 h 341"/>
              <a:gd name="T84" fmla="*/ 121 w 334"/>
              <a:gd name="T85" fmla="*/ 341 h 341"/>
              <a:gd name="T86" fmla="*/ 163 w 334"/>
              <a:gd name="T87" fmla="*/ 341 h 341"/>
              <a:gd name="T88" fmla="*/ 163 w 334"/>
              <a:gd name="T89" fmla="*/ 298 h 341"/>
              <a:gd name="T90" fmla="*/ 206 w 334"/>
              <a:gd name="T91" fmla="*/ 298 h 341"/>
              <a:gd name="T92" fmla="*/ 206 w 334"/>
              <a:gd name="T93" fmla="*/ 341 h 341"/>
              <a:gd name="T94" fmla="*/ 256 w 334"/>
              <a:gd name="T95" fmla="*/ 298 h 341"/>
              <a:gd name="T96" fmla="*/ 256 w 334"/>
              <a:gd name="T97" fmla="*/ 341 h 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34" h="341">
                <a:moveTo>
                  <a:pt x="267" y="298"/>
                </a:moveTo>
                <a:cubicBezTo>
                  <a:pt x="60" y="298"/>
                  <a:pt x="60" y="298"/>
                  <a:pt x="60" y="298"/>
                </a:cubicBezTo>
                <a:cubicBezTo>
                  <a:pt x="48" y="298"/>
                  <a:pt x="36" y="286"/>
                  <a:pt x="36" y="273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45"/>
                  <a:pt x="48" y="36"/>
                  <a:pt x="60" y="36"/>
                </a:cubicBezTo>
                <a:cubicBezTo>
                  <a:pt x="267" y="36"/>
                  <a:pt x="267" y="36"/>
                  <a:pt x="267" y="36"/>
                </a:cubicBezTo>
                <a:cubicBezTo>
                  <a:pt x="282" y="36"/>
                  <a:pt x="291" y="45"/>
                  <a:pt x="291" y="61"/>
                </a:cubicBezTo>
                <a:cubicBezTo>
                  <a:pt x="291" y="273"/>
                  <a:pt x="291" y="273"/>
                  <a:pt x="291" y="273"/>
                </a:cubicBezTo>
                <a:cubicBezTo>
                  <a:pt x="291" y="286"/>
                  <a:pt x="282" y="298"/>
                  <a:pt x="267" y="298"/>
                </a:cubicBezTo>
                <a:close/>
                <a:moveTo>
                  <a:pt x="78" y="36"/>
                </a:moveTo>
                <a:cubicBezTo>
                  <a:pt x="78" y="0"/>
                  <a:pt x="78" y="0"/>
                  <a:pt x="78" y="0"/>
                </a:cubicBezTo>
                <a:moveTo>
                  <a:pt x="121" y="36"/>
                </a:moveTo>
                <a:cubicBezTo>
                  <a:pt x="121" y="0"/>
                  <a:pt x="121" y="0"/>
                  <a:pt x="121" y="0"/>
                </a:cubicBezTo>
                <a:moveTo>
                  <a:pt x="163" y="0"/>
                </a:moveTo>
                <a:cubicBezTo>
                  <a:pt x="163" y="36"/>
                  <a:pt x="163" y="36"/>
                  <a:pt x="163" y="36"/>
                </a:cubicBezTo>
                <a:moveTo>
                  <a:pt x="206" y="0"/>
                </a:moveTo>
                <a:cubicBezTo>
                  <a:pt x="206" y="36"/>
                  <a:pt x="206" y="36"/>
                  <a:pt x="206" y="36"/>
                </a:cubicBezTo>
                <a:moveTo>
                  <a:pt x="256" y="0"/>
                </a:moveTo>
                <a:cubicBezTo>
                  <a:pt x="256" y="36"/>
                  <a:pt x="256" y="36"/>
                  <a:pt x="256" y="36"/>
                </a:cubicBezTo>
                <a:moveTo>
                  <a:pt x="334" y="78"/>
                </a:moveTo>
                <a:cubicBezTo>
                  <a:pt x="291" y="78"/>
                  <a:pt x="291" y="78"/>
                  <a:pt x="291" y="78"/>
                </a:cubicBezTo>
                <a:moveTo>
                  <a:pt x="334" y="121"/>
                </a:moveTo>
                <a:cubicBezTo>
                  <a:pt x="291" y="121"/>
                  <a:pt x="291" y="121"/>
                  <a:pt x="291" y="121"/>
                </a:cubicBezTo>
                <a:moveTo>
                  <a:pt x="334" y="163"/>
                </a:moveTo>
                <a:cubicBezTo>
                  <a:pt x="291" y="163"/>
                  <a:pt x="291" y="163"/>
                  <a:pt x="291" y="163"/>
                </a:cubicBezTo>
                <a:moveTo>
                  <a:pt x="334" y="213"/>
                </a:moveTo>
                <a:cubicBezTo>
                  <a:pt x="291" y="213"/>
                  <a:pt x="291" y="213"/>
                  <a:pt x="291" y="213"/>
                </a:cubicBezTo>
                <a:moveTo>
                  <a:pt x="334" y="256"/>
                </a:moveTo>
                <a:cubicBezTo>
                  <a:pt x="291" y="256"/>
                  <a:pt x="291" y="256"/>
                  <a:pt x="291" y="256"/>
                </a:cubicBezTo>
                <a:moveTo>
                  <a:pt x="36" y="78"/>
                </a:moveTo>
                <a:cubicBezTo>
                  <a:pt x="0" y="78"/>
                  <a:pt x="0" y="78"/>
                  <a:pt x="0" y="78"/>
                </a:cubicBezTo>
                <a:moveTo>
                  <a:pt x="36" y="121"/>
                </a:moveTo>
                <a:cubicBezTo>
                  <a:pt x="0" y="121"/>
                  <a:pt x="0" y="121"/>
                  <a:pt x="0" y="121"/>
                </a:cubicBezTo>
                <a:moveTo>
                  <a:pt x="36" y="163"/>
                </a:moveTo>
                <a:cubicBezTo>
                  <a:pt x="0" y="163"/>
                  <a:pt x="0" y="163"/>
                  <a:pt x="0" y="163"/>
                </a:cubicBezTo>
                <a:moveTo>
                  <a:pt x="36" y="213"/>
                </a:moveTo>
                <a:cubicBezTo>
                  <a:pt x="0" y="213"/>
                  <a:pt x="0" y="213"/>
                  <a:pt x="0" y="213"/>
                </a:cubicBezTo>
                <a:moveTo>
                  <a:pt x="36" y="256"/>
                </a:moveTo>
                <a:cubicBezTo>
                  <a:pt x="0" y="256"/>
                  <a:pt x="0" y="256"/>
                  <a:pt x="0" y="256"/>
                </a:cubicBezTo>
                <a:moveTo>
                  <a:pt x="78" y="298"/>
                </a:moveTo>
                <a:cubicBezTo>
                  <a:pt x="78" y="341"/>
                  <a:pt x="78" y="341"/>
                  <a:pt x="78" y="341"/>
                </a:cubicBezTo>
                <a:moveTo>
                  <a:pt x="121" y="298"/>
                </a:moveTo>
                <a:cubicBezTo>
                  <a:pt x="121" y="341"/>
                  <a:pt x="121" y="341"/>
                  <a:pt x="121" y="341"/>
                </a:cubicBezTo>
                <a:moveTo>
                  <a:pt x="163" y="341"/>
                </a:moveTo>
                <a:cubicBezTo>
                  <a:pt x="163" y="298"/>
                  <a:pt x="163" y="298"/>
                  <a:pt x="163" y="298"/>
                </a:cubicBezTo>
                <a:moveTo>
                  <a:pt x="206" y="298"/>
                </a:moveTo>
                <a:cubicBezTo>
                  <a:pt x="206" y="341"/>
                  <a:pt x="206" y="341"/>
                  <a:pt x="206" y="341"/>
                </a:cubicBezTo>
                <a:moveTo>
                  <a:pt x="256" y="298"/>
                </a:moveTo>
                <a:cubicBezTo>
                  <a:pt x="256" y="341"/>
                  <a:pt x="256" y="341"/>
                  <a:pt x="256" y="341"/>
                </a:cubicBez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Manufacturing_E99C" title="Icon of a robotic arm">
            <a:extLst>
              <a:ext uri="{FF2B5EF4-FFF2-40B4-BE49-F238E27FC236}">
                <a16:creationId xmlns:a16="http://schemas.microsoft.com/office/drawing/2014/main" id="{68995B64-568B-47CF-86BD-AD8412CF69E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36829" y="5343289"/>
            <a:ext cx="366711" cy="358477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fitbit" title="Icon of a fitness band">
            <a:extLst>
              <a:ext uri="{FF2B5EF4-FFF2-40B4-BE49-F238E27FC236}">
                <a16:creationId xmlns:a16="http://schemas.microsoft.com/office/drawing/2014/main" id="{6D7E8425-C520-4488-A9E9-E9AEA9EC03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25381" y="4171648"/>
            <a:ext cx="189608" cy="358477"/>
          </a:xfrm>
          <a:custGeom>
            <a:avLst/>
            <a:gdLst>
              <a:gd name="T0" fmla="*/ 0 w 176"/>
              <a:gd name="T1" fmla="*/ 268 h 335"/>
              <a:gd name="T2" fmla="*/ 0 w 176"/>
              <a:gd name="T3" fmla="*/ 46 h 335"/>
              <a:gd name="T4" fmla="*/ 45 w 176"/>
              <a:gd name="T5" fmla="*/ 0 h 335"/>
              <a:gd name="T6" fmla="*/ 131 w 176"/>
              <a:gd name="T7" fmla="*/ 0 h 335"/>
              <a:gd name="T8" fmla="*/ 176 w 176"/>
              <a:gd name="T9" fmla="*/ 156 h 335"/>
              <a:gd name="T10" fmla="*/ 176 w 176"/>
              <a:gd name="T11" fmla="*/ 43 h 335"/>
              <a:gd name="T12" fmla="*/ 131 w 176"/>
              <a:gd name="T13" fmla="*/ 0 h 335"/>
              <a:gd name="T14" fmla="*/ 86 w 176"/>
              <a:gd name="T15" fmla="*/ 43 h 335"/>
              <a:gd name="T16" fmla="*/ 86 w 176"/>
              <a:gd name="T17" fmla="*/ 252 h 335"/>
              <a:gd name="T18" fmla="*/ 85 w 176"/>
              <a:gd name="T19" fmla="*/ 264 h 335"/>
              <a:gd name="T20" fmla="*/ 85 w 176"/>
              <a:gd name="T21" fmla="*/ 290 h 335"/>
              <a:gd name="T22" fmla="*/ 131 w 176"/>
              <a:gd name="T23" fmla="*/ 335 h 335"/>
              <a:gd name="T24" fmla="*/ 176 w 176"/>
              <a:gd name="T25" fmla="*/ 290 h 335"/>
              <a:gd name="T26" fmla="*/ 176 w 176"/>
              <a:gd name="T27" fmla="*/ 258 h 335"/>
              <a:gd name="T28" fmla="*/ 0 w 176"/>
              <a:gd name="T29" fmla="*/ 264 h 335"/>
              <a:gd name="T30" fmla="*/ 0 w 176"/>
              <a:gd name="T31" fmla="*/ 290 h 335"/>
              <a:gd name="T32" fmla="*/ 45 w 176"/>
              <a:gd name="T33" fmla="*/ 335 h 335"/>
              <a:gd name="T34" fmla="*/ 131 w 176"/>
              <a:gd name="T35" fmla="*/ 335 h 335"/>
              <a:gd name="T36" fmla="*/ 43 w 176"/>
              <a:gd name="T37" fmla="*/ 102 h 335"/>
              <a:gd name="T38" fmla="*/ 37 w 176"/>
              <a:gd name="T39" fmla="*/ 107 h 335"/>
              <a:gd name="T40" fmla="*/ 43 w 176"/>
              <a:gd name="T41" fmla="*/ 113 h 335"/>
              <a:gd name="T42" fmla="*/ 49 w 176"/>
              <a:gd name="T43" fmla="*/ 107 h 335"/>
              <a:gd name="T44" fmla="*/ 43 w 176"/>
              <a:gd name="T45" fmla="*/ 102 h 335"/>
              <a:gd name="T46" fmla="*/ 43 w 176"/>
              <a:gd name="T47" fmla="*/ 163 h 335"/>
              <a:gd name="T48" fmla="*/ 37 w 176"/>
              <a:gd name="T49" fmla="*/ 168 h 335"/>
              <a:gd name="T50" fmla="*/ 43 w 176"/>
              <a:gd name="T51" fmla="*/ 174 h 335"/>
              <a:gd name="T52" fmla="*/ 49 w 176"/>
              <a:gd name="T53" fmla="*/ 168 h 335"/>
              <a:gd name="T54" fmla="*/ 43 w 176"/>
              <a:gd name="T55" fmla="*/ 163 h 335"/>
              <a:gd name="T56" fmla="*/ 43 w 176"/>
              <a:gd name="T57" fmla="*/ 224 h 335"/>
              <a:gd name="T58" fmla="*/ 37 w 176"/>
              <a:gd name="T59" fmla="*/ 230 h 335"/>
              <a:gd name="T60" fmla="*/ 43 w 176"/>
              <a:gd name="T61" fmla="*/ 235 h 335"/>
              <a:gd name="T62" fmla="*/ 49 w 176"/>
              <a:gd name="T63" fmla="*/ 230 h 335"/>
              <a:gd name="T64" fmla="*/ 43 w 176"/>
              <a:gd name="T65" fmla="*/ 224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6" h="335">
                <a:moveTo>
                  <a:pt x="0" y="268"/>
                </a:moveTo>
                <a:cubicBezTo>
                  <a:pt x="0" y="46"/>
                  <a:pt x="0" y="46"/>
                  <a:pt x="0" y="46"/>
                </a:cubicBezTo>
                <a:cubicBezTo>
                  <a:pt x="0" y="20"/>
                  <a:pt x="20" y="0"/>
                  <a:pt x="45" y="0"/>
                </a:cubicBezTo>
                <a:cubicBezTo>
                  <a:pt x="131" y="0"/>
                  <a:pt x="131" y="0"/>
                  <a:pt x="131" y="0"/>
                </a:cubicBezTo>
                <a:moveTo>
                  <a:pt x="176" y="156"/>
                </a:moveTo>
                <a:cubicBezTo>
                  <a:pt x="176" y="43"/>
                  <a:pt x="176" y="43"/>
                  <a:pt x="176" y="43"/>
                </a:cubicBezTo>
                <a:cubicBezTo>
                  <a:pt x="176" y="19"/>
                  <a:pt x="156" y="0"/>
                  <a:pt x="131" y="0"/>
                </a:cubicBezTo>
                <a:cubicBezTo>
                  <a:pt x="106" y="0"/>
                  <a:pt x="86" y="19"/>
                  <a:pt x="86" y="43"/>
                </a:cubicBezTo>
                <a:cubicBezTo>
                  <a:pt x="86" y="252"/>
                  <a:pt x="86" y="252"/>
                  <a:pt x="86" y="252"/>
                </a:cubicBezTo>
                <a:cubicBezTo>
                  <a:pt x="85" y="264"/>
                  <a:pt x="85" y="264"/>
                  <a:pt x="85" y="264"/>
                </a:cubicBezTo>
                <a:cubicBezTo>
                  <a:pt x="85" y="290"/>
                  <a:pt x="85" y="290"/>
                  <a:pt x="85" y="290"/>
                </a:cubicBezTo>
                <a:cubicBezTo>
                  <a:pt x="85" y="315"/>
                  <a:pt x="106" y="335"/>
                  <a:pt x="131" y="335"/>
                </a:cubicBezTo>
                <a:cubicBezTo>
                  <a:pt x="156" y="335"/>
                  <a:pt x="176" y="315"/>
                  <a:pt x="176" y="290"/>
                </a:cubicBezTo>
                <a:cubicBezTo>
                  <a:pt x="176" y="258"/>
                  <a:pt x="176" y="258"/>
                  <a:pt x="176" y="258"/>
                </a:cubicBezTo>
                <a:moveTo>
                  <a:pt x="0" y="264"/>
                </a:moveTo>
                <a:cubicBezTo>
                  <a:pt x="0" y="290"/>
                  <a:pt x="0" y="290"/>
                  <a:pt x="0" y="290"/>
                </a:cubicBezTo>
                <a:cubicBezTo>
                  <a:pt x="0" y="315"/>
                  <a:pt x="20" y="335"/>
                  <a:pt x="45" y="335"/>
                </a:cubicBezTo>
                <a:cubicBezTo>
                  <a:pt x="131" y="335"/>
                  <a:pt x="131" y="335"/>
                  <a:pt x="131" y="335"/>
                </a:cubicBezTo>
                <a:moveTo>
                  <a:pt x="43" y="102"/>
                </a:moveTo>
                <a:cubicBezTo>
                  <a:pt x="40" y="102"/>
                  <a:pt x="37" y="104"/>
                  <a:pt x="37" y="107"/>
                </a:cubicBezTo>
                <a:cubicBezTo>
                  <a:pt x="37" y="111"/>
                  <a:pt x="40" y="113"/>
                  <a:pt x="43" y="113"/>
                </a:cubicBezTo>
                <a:cubicBezTo>
                  <a:pt x="46" y="113"/>
                  <a:pt x="49" y="111"/>
                  <a:pt x="49" y="107"/>
                </a:cubicBezTo>
                <a:cubicBezTo>
                  <a:pt x="49" y="104"/>
                  <a:pt x="46" y="102"/>
                  <a:pt x="43" y="102"/>
                </a:cubicBezTo>
                <a:close/>
                <a:moveTo>
                  <a:pt x="43" y="163"/>
                </a:moveTo>
                <a:cubicBezTo>
                  <a:pt x="40" y="163"/>
                  <a:pt x="37" y="165"/>
                  <a:pt x="37" y="168"/>
                </a:cubicBezTo>
                <a:cubicBezTo>
                  <a:pt x="37" y="172"/>
                  <a:pt x="40" y="174"/>
                  <a:pt x="43" y="174"/>
                </a:cubicBezTo>
                <a:cubicBezTo>
                  <a:pt x="46" y="174"/>
                  <a:pt x="49" y="172"/>
                  <a:pt x="49" y="168"/>
                </a:cubicBezTo>
                <a:cubicBezTo>
                  <a:pt x="49" y="165"/>
                  <a:pt x="46" y="163"/>
                  <a:pt x="43" y="163"/>
                </a:cubicBezTo>
                <a:close/>
                <a:moveTo>
                  <a:pt x="43" y="224"/>
                </a:moveTo>
                <a:cubicBezTo>
                  <a:pt x="40" y="224"/>
                  <a:pt x="37" y="226"/>
                  <a:pt x="37" y="230"/>
                </a:cubicBezTo>
                <a:cubicBezTo>
                  <a:pt x="37" y="233"/>
                  <a:pt x="40" y="235"/>
                  <a:pt x="43" y="235"/>
                </a:cubicBezTo>
                <a:cubicBezTo>
                  <a:pt x="46" y="235"/>
                  <a:pt x="49" y="233"/>
                  <a:pt x="49" y="230"/>
                </a:cubicBezTo>
                <a:cubicBezTo>
                  <a:pt x="49" y="226"/>
                  <a:pt x="46" y="224"/>
                  <a:pt x="43" y="224"/>
                </a:cubicBezTo>
                <a:close/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Freeform 96" title="Icon of a gear with a wrench">
            <a:extLst>
              <a:ext uri="{FF2B5EF4-FFF2-40B4-BE49-F238E27FC236}">
                <a16:creationId xmlns:a16="http://schemas.microsoft.com/office/drawing/2014/main" id="{56F4AFAA-CAE2-4D29-8F03-D21813A381E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53835" y="2995481"/>
            <a:ext cx="332700" cy="306337"/>
          </a:xfrm>
          <a:custGeom>
            <a:avLst/>
            <a:gdLst>
              <a:gd name="T0" fmla="*/ 224 w 356"/>
              <a:gd name="T1" fmla="*/ 273 h 328"/>
              <a:gd name="T2" fmla="*/ 181 w 356"/>
              <a:gd name="T3" fmla="*/ 295 h 328"/>
              <a:gd name="T4" fmla="*/ 181 w 356"/>
              <a:gd name="T5" fmla="*/ 328 h 328"/>
              <a:gd name="T6" fmla="*/ 121 w 356"/>
              <a:gd name="T7" fmla="*/ 328 h 328"/>
              <a:gd name="T8" fmla="*/ 121 w 356"/>
              <a:gd name="T9" fmla="*/ 291 h 328"/>
              <a:gd name="T10" fmla="*/ 57 w 356"/>
              <a:gd name="T11" fmla="*/ 254 h 328"/>
              <a:gd name="T12" fmla="*/ 28 w 356"/>
              <a:gd name="T13" fmla="*/ 269 h 328"/>
              <a:gd name="T14" fmla="*/ 0 w 356"/>
              <a:gd name="T15" fmla="*/ 214 h 328"/>
              <a:gd name="T16" fmla="*/ 28 w 356"/>
              <a:gd name="T17" fmla="*/ 199 h 328"/>
              <a:gd name="T18" fmla="*/ 21 w 356"/>
              <a:gd name="T19" fmla="*/ 162 h 328"/>
              <a:gd name="T20" fmla="*/ 28 w 356"/>
              <a:gd name="T21" fmla="*/ 125 h 328"/>
              <a:gd name="T22" fmla="*/ 0 w 356"/>
              <a:gd name="T23" fmla="*/ 111 h 328"/>
              <a:gd name="T24" fmla="*/ 28 w 356"/>
              <a:gd name="T25" fmla="*/ 55 h 328"/>
              <a:gd name="T26" fmla="*/ 57 w 356"/>
              <a:gd name="T27" fmla="*/ 70 h 328"/>
              <a:gd name="T28" fmla="*/ 121 w 356"/>
              <a:gd name="T29" fmla="*/ 33 h 328"/>
              <a:gd name="T30" fmla="*/ 121 w 356"/>
              <a:gd name="T31" fmla="*/ 0 h 328"/>
              <a:gd name="T32" fmla="*/ 181 w 356"/>
              <a:gd name="T33" fmla="*/ 0 h 328"/>
              <a:gd name="T34" fmla="*/ 181 w 356"/>
              <a:gd name="T35" fmla="*/ 30 h 328"/>
              <a:gd name="T36" fmla="*/ 249 w 356"/>
              <a:gd name="T37" fmla="*/ 70 h 328"/>
              <a:gd name="T38" fmla="*/ 274 w 356"/>
              <a:gd name="T39" fmla="*/ 55 h 328"/>
              <a:gd name="T40" fmla="*/ 306 w 356"/>
              <a:gd name="T41" fmla="*/ 111 h 328"/>
              <a:gd name="T42" fmla="*/ 277 w 356"/>
              <a:gd name="T43" fmla="*/ 125 h 328"/>
              <a:gd name="T44" fmla="*/ 282 w 356"/>
              <a:gd name="T45" fmla="*/ 162 h 328"/>
              <a:gd name="T46" fmla="*/ 279 w 356"/>
              <a:gd name="T47" fmla="*/ 188 h 328"/>
              <a:gd name="T48" fmla="*/ 186 w 356"/>
              <a:gd name="T49" fmla="*/ 100 h 328"/>
              <a:gd name="T50" fmla="*/ 150 w 356"/>
              <a:gd name="T51" fmla="*/ 89 h 328"/>
              <a:gd name="T52" fmla="*/ 75 w 356"/>
              <a:gd name="T53" fmla="*/ 166 h 328"/>
              <a:gd name="T54" fmla="*/ 107 w 356"/>
              <a:gd name="T55" fmla="*/ 231 h 328"/>
              <a:gd name="T56" fmla="*/ 209 w 356"/>
              <a:gd name="T57" fmla="*/ 238 h 328"/>
              <a:gd name="T58" fmla="*/ 310 w 356"/>
              <a:gd name="T59" fmla="*/ 302 h 328"/>
              <a:gd name="T60" fmla="*/ 348 w 356"/>
              <a:gd name="T61" fmla="*/ 294 h 328"/>
              <a:gd name="T62" fmla="*/ 340 w 356"/>
              <a:gd name="T63" fmla="*/ 256 h 328"/>
              <a:gd name="T64" fmla="*/ 237 w 356"/>
              <a:gd name="T65" fmla="*/ 195 h 328"/>
              <a:gd name="T66" fmla="*/ 235 w 356"/>
              <a:gd name="T67" fmla="*/ 194 h 328"/>
              <a:gd name="T68" fmla="*/ 234 w 356"/>
              <a:gd name="T69" fmla="*/ 179 h 328"/>
              <a:gd name="T70" fmla="*/ 172 w 356"/>
              <a:gd name="T71" fmla="*/ 139 h 328"/>
              <a:gd name="T72" fmla="*/ 145 w 356"/>
              <a:gd name="T73" fmla="*/ 153 h 328"/>
              <a:gd name="T74" fmla="*/ 194 w 356"/>
              <a:gd name="T75" fmla="*/ 183 h 328"/>
              <a:gd name="T76" fmla="*/ 182 w 356"/>
              <a:gd name="T77" fmla="*/ 199 h 328"/>
              <a:gd name="T78" fmla="*/ 135 w 356"/>
              <a:gd name="T79" fmla="*/ 169 h 328"/>
              <a:gd name="T80" fmla="*/ 132 w 356"/>
              <a:gd name="T81" fmla="*/ 201 h 328"/>
              <a:gd name="T82" fmla="*/ 194 w 356"/>
              <a:gd name="T83" fmla="*/ 241 h 328"/>
              <a:gd name="T84" fmla="*/ 207 w 356"/>
              <a:gd name="T85" fmla="*/ 237 h 328"/>
              <a:gd name="T86" fmla="*/ 209 w 356"/>
              <a:gd name="T87" fmla="*/ 23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56" h="328">
                <a:moveTo>
                  <a:pt x="224" y="273"/>
                </a:moveTo>
                <a:cubicBezTo>
                  <a:pt x="213" y="284"/>
                  <a:pt x="195" y="291"/>
                  <a:pt x="181" y="295"/>
                </a:cubicBezTo>
                <a:cubicBezTo>
                  <a:pt x="181" y="295"/>
                  <a:pt x="181" y="295"/>
                  <a:pt x="181" y="328"/>
                </a:cubicBezTo>
                <a:cubicBezTo>
                  <a:pt x="181" y="328"/>
                  <a:pt x="181" y="328"/>
                  <a:pt x="121" y="328"/>
                </a:cubicBezTo>
                <a:cubicBezTo>
                  <a:pt x="121" y="328"/>
                  <a:pt x="121" y="328"/>
                  <a:pt x="121" y="291"/>
                </a:cubicBezTo>
                <a:cubicBezTo>
                  <a:pt x="96" y="287"/>
                  <a:pt x="75" y="273"/>
                  <a:pt x="57" y="254"/>
                </a:cubicBezTo>
                <a:cubicBezTo>
                  <a:pt x="57" y="254"/>
                  <a:pt x="57" y="254"/>
                  <a:pt x="28" y="269"/>
                </a:cubicBezTo>
                <a:cubicBezTo>
                  <a:pt x="28" y="269"/>
                  <a:pt x="28" y="269"/>
                  <a:pt x="0" y="214"/>
                </a:cubicBezTo>
                <a:cubicBezTo>
                  <a:pt x="0" y="214"/>
                  <a:pt x="0" y="214"/>
                  <a:pt x="28" y="199"/>
                </a:cubicBezTo>
                <a:cubicBezTo>
                  <a:pt x="25" y="188"/>
                  <a:pt x="21" y="177"/>
                  <a:pt x="21" y="162"/>
                </a:cubicBezTo>
                <a:cubicBezTo>
                  <a:pt x="21" y="151"/>
                  <a:pt x="25" y="136"/>
                  <a:pt x="28" y="125"/>
                </a:cubicBezTo>
                <a:cubicBezTo>
                  <a:pt x="28" y="125"/>
                  <a:pt x="28" y="125"/>
                  <a:pt x="0" y="111"/>
                </a:cubicBezTo>
                <a:cubicBezTo>
                  <a:pt x="0" y="111"/>
                  <a:pt x="0" y="111"/>
                  <a:pt x="28" y="55"/>
                </a:cubicBezTo>
                <a:cubicBezTo>
                  <a:pt x="28" y="55"/>
                  <a:pt x="28" y="55"/>
                  <a:pt x="57" y="70"/>
                </a:cubicBezTo>
                <a:cubicBezTo>
                  <a:pt x="75" y="52"/>
                  <a:pt x="96" y="37"/>
                  <a:pt x="121" y="33"/>
                </a:cubicBezTo>
                <a:cubicBezTo>
                  <a:pt x="121" y="33"/>
                  <a:pt x="121" y="33"/>
                  <a:pt x="121" y="0"/>
                </a:cubicBezTo>
                <a:cubicBezTo>
                  <a:pt x="121" y="0"/>
                  <a:pt x="121" y="0"/>
                  <a:pt x="181" y="0"/>
                </a:cubicBezTo>
                <a:cubicBezTo>
                  <a:pt x="181" y="0"/>
                  <a:pt x="181" y="0"/>
                  <a:pt x="181" y="30"/>
                </a:cubicBezTo>
                <a:cubicBezTo>
                  <a:pt x="206" y="37"/>
                  <a:pt x="231" y="52"/>
                  <a:pt x="249" y="70"/>
                </a:cubicBezTo>
                <a:cubicBezTo>
                  <a:pt x="249" y="70"/>
                  <a:pt x="249" y="70"/>
                  <a:pt x="274" y="55"/>
                </a:cubicBezTo>
                <a:cubicBezTo>
                  <a:pt x="274" y="55"/>
                  <a:pt x="274" y="55"/>
                  <a:pt x="306" y="111"/>
                </a:cubicBezTo>
                <a:cubicBezTo>
                  <a:pt x="306" y="111"/>
                  <a:pt x="306" y="111"/>
                  <a:pt x="277" y="125"/>
                </a:cubicBezTo>
                <a:cubicBezTo>
                  <a:pt x="281" y="136"/>
                  <a:pt x="282" y="150"/>
                  <a:pt x="282" y="162"/>
                </a:cubicBezTo>
                <a:cubicBezTo>
                  <a:pt x="282" y="169"/>
                  <a:pt x="282" y="178"/>
                  <a:pt x="279" y="188"/>
                </a:cubicBezTo>
                <a:moveTo>
                  <a:pt x="186" y="100"/>
                </a:moveTo>
                <a:cubicBezTo>
                  <a:pt x="176" y="93"/>
                  <a:pt x="165" y="89"/>
                  <a:pt x="150" y="89"/>
                </a:cubicBezTo>
                <a:cubicBezTo>
                  <a:pt x="107" y="89"/>
                  <a:pt x="75" y="126"/>
                  <a:pt x="75" y="166"/>
                </a:cubicBezTo>
                <a:cubicBezTo>
                  <a:pt x="75" y="195"/>
                  <a:pt x="85" y="217"/>
                  <a:pt x="107" y="231"/>
                </a:cubicBezTo>
                <a:moveTo>
                  <a:pt x="209" y="238"/>
                </a:moveTo>
                <a:cubicBezTo>
                  <a:pt x="310" y="302"/>
                  <a:pt x="310" y="302"/>
                  <a:pt x="310" y="302"/>
                </a:cubicBezTo>
                <a:cubicBezTo>
                  <a:pt x="323" y="310"/>
                  <a:pt x="340" y="307"/>
                  <a:pt x="348" y="294"/>
                </a:cubicBezTo>
                <a:cubicBezTo>
                  <a:pt x="356" y="282"/>
                  <a:pt x="353" y="265"/>
                  <a:pt x="340" y="256"/>
                </a:cubicBezTo>
                <a:cubicBezTo>
                  <a:pt x="237" y="195"/>
                  <a:pt x="237" y="195"/>
                  <a:pt x="237" y="195"/>
                </a:cubicBezTo>
                <a:cubicBezTo>
                  <a:pt x="235" y="194"/>
                  <a:pt x="235" y="194"/>
                  <a:pt x="235" y="194"/>
                </a:cubicBezTo>
                <a:cubicBezTo>
                  <a:pt x="236" y="189"/>
                  <a:pt x="235" y="184"/>
                  <a:pt x="234" y="179"/>
                </a:cubicBezTo>
                <a:cubicBezTo>
                  <a:pt x="228" y="151"/>
                  <a:pt x="200" y="132"/>
                  <a:pt x="172" y="139"/>
                </a:cubicBezTo>
                <a:cubicBezTo>
                  <a:pt x="162" y="141"/>
                  <a:pt x="152" y="146"/>
                  <a:pt x="145" y="153"/>
                </a:cubicBezTo>
                <a:cubicBezTo>
                  <a:pt x="194" y="183"/>
                  <a:pt x="194" y="183"/>
                  <a:pt x="194" y="183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35" y="169"/>
                  <a:pt x="135" y="169"/>
                  <a:pt x="135" y="169"/>
                </a:cubicBezTo>
                <a:cubicBezTo>
                  <a:pt x="131" y="179"/>
                  <a:pt x="129" y="190"/>
                  <a:pt x="132" y="201"/>
                </a:cubicBezTo>
                <a:cubicBezTo>
                  <a:pt x="138" y="229"/>
                  <a:pt x="165" y="247"/>
                  <a:pt x="194" y="241"/>
                </a:cubicBezTo>
                <a:cubicBezTo>
                  <a:pt x="198" y="240"/>
                  <a:pt x="203" y="239"/>
                  <a:pt x="207" y="237"/>
                </a:cubicBezTo>
                <a:lnTo>
                  <a:pt x="209" y="238"/>
                </a:lnTo>
                <a:close/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47491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93C9841-9C40-4B79-9004-E5F5A946E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3" y="1649905"/>
            <a:ext cx="7454643" cy="3558191"/>
          </a:xfrm>
        </p:spPr>
        <p:txBody>
          <a:bodyPr anchor="ctr"/>
          <a:lstStyle/>
          <a:p>
            <a:r>
              <a:rPr lang="en-US"/>
              <a:t>Accelerating Retail Insights </a:t>
            </a:r>
          </a:p>
        </p:txBody>
      </p:sp>
    </p:spTree>
    <p:extLst>
      <p:ext uri="{BB962C8B-B14F-4D97-AF65-F5344CB8AC3E}">
        <p14:creationId xmlns:p14="http://schemas.microsoft.com/office/powerpoint/2010/main" val="279390727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7927A5FF-55F7-4564-8E73-DC956E394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abling Intelligent Retai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06FF6BD-DAF2-465F-BEAA-2F12F0B809F0}"/>
              </a:ext>
            </a:extLst>
          </p:cNvPr>
          <p:cNvSpPr txBox="1">
            <a:spLocks/>
          </p:cNvSpPr>
          <p:nvPr/>
        </p:nvSpPr>
        <p:spPr>
          <a:xfrm>
            <a:off x="418644" y="1087629"/>
            <a:ext cx="11617325" cy="441146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353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196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8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9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pc="0">
                <a:solidFill>
                  <a:schemeClr val="tx2"/>
                </a:solidFill>
              </a:rPr>
              <a:t>Your customers. Your employees. Your data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C3EB04A-CB83-4526-8C97-90C822FF8FA2}"/>
              </a:ext>
            </a:extLst>
          </p:cNvPr>
          <p:cNvGrpSpPr/>
          <p:nvPr/>
        </p:nvGrpSpPr>
        <p:grpSpPr>
          <a:xfrm>
            <a:off x="418642" y="2201863"/>
            <a:ext cx="2203704" cy="4227513"/>
            <a:chOff x="418642" y="2201863"/>
            <a:chExt cx="2203704" cy="422751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EF4BEE1-FA2F-4AEA-8D3B-B4B74412C9E7}"/>
                </a:ext>
              </a:extLst>
            </p:cNvPr>
            <p:cNvGrpSpPr/>
            <p:nvPr/>
          </p:nvGrpSpPr>
          <p:grpSpPr>
            <a:xfrm>
              <a:off x="418642" y="2201863"/>
              <a:ext cx="2200010" cy="4227513"/>
              <a:chOff x="418642" y="2201863"/>
              <a:chExt cx="2200010" cy="4227513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838C052E-1318-44C9-9ACB-95178BFFA813}"/>
                  </a:ext>
                </a:extLst>
              </p:cNvPr>
              <p:cNvSpPr/>
              <p:nvPr/>
            </p:nvSpPr>
            <p:spPr bwMode="auto">
              <a:xfrm>
                <a:off x="418644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239677F-D6C8-465D-A458-9844228F2D96}"/>
                  </a:ext>
                </a:extLst>
              </p:cNvPr>
              <p:cNvSpPr/>
              <p:nvPr/>
            </p:nvSpPr>
            <p:spPr bwMode="auto">
              <a:xfrm>
                <a:off x="418643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Know your customers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81428109-3F6E-4E83-9F81-66DC1B0A5293}"/>
                  </a:ext>
                </a:extLst>
              </p:cNvPr>
              <p:cNvSpPr/>
              <p:nvPr/>
            </p:nvSpPr>
            <p:spPr bwMode="auto">
              <a:xfrm>
                <a:off x="418642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  <a:t>Enable customer</a:t>
                </a:r>
                <a:b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</a:br>
                <a: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  <a:t>first retail 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AABB04E-6C2E-4BCD-BED8-22C7B76B5396}"/>
                </a:ext>
              </a:extLst>
            </p:cNvPr>
            <p:cNvGrpSpPr/>
            <p:nvPr/>
          </p:nvGrpSpPr>
          <p:grpSpPr>
            <a:xfrm>
              <a:off x="632581" y="2415802"/>
              <a:ext cx="1772130" cy="1772130"/>
              <a:chOff x="691038" y="2474259"/>
              <a:chExt cx="1655216" cy="1655216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1EC1A6D1-CFA4-47B1-86D6-0D04993F1F9D}"/>
                  </a:ext>
                </a:extLst>
              </p:cNvPr>
              <p:cNvSpPr/>
              <p:nvPr/>
            </p:nvSpPr>
            <p:spPr bwMode="auto">
              <a:xfrm>
                <a:off x="691038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38EEAB42-628F-4074-87BE-06B10D6AC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47547" y="2577891"/>
                <a:ext cx="1342198" cy="1342194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BA8A9F-A415-4BFD-9B0A-17CE8D8B372B}"/>
                </a:ext>
              </a:extLst>
            </p:cNvPr>
            <p:cNvSpPr/>
            <p:nvPr/>
          </p:nvSpPr>
          <p:spPr bwMode="auto">
            <a:xfrm>
              <a:off x="418642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0B46AB6-3E72-4EB4-B935-A3173597E018}"/>
              </a:ext>
            </a:extLst>
          </p:cNvPr>
          <p:cNvGrpSpPr/>
          <p:nvPr/>
        </p:nvGrpSpPr>
        <p:grpSpPr>
          <a:xfrm>
            <a:off x="2705220" y="2201863"/>
            <a:ext cx="2203704" cy="4227513"/>
            <a:chOff x="2705220" y="2201863"/>
            <a:chExt cx="2203704" cy="422751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76B5CD3-9296-4987-8CE3-ED467E4142DB}"/>
                </a:ext>
              </a:extLst>
            </p:cNvPr>
            <p:cNvGrpSpPr/>
            <p:nvPr/>
          </p:nvGrpSpPr>
          <p:grpSpPr>
            <a:xfrm>
              <a:off x="2705220" y="2201863"/>
              <a:ext cx="2200010" cy="4227513"/>
              <a:chOff x="2705220" y="2201863"/>
              <a:chExt cx="2200010" cy="422751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6AF31A6-C379-45C5-A586-B443786BC03E}"/>
                  </a:ext>
                </a:extLst>
              </p:cNvPr>
              <p:cNvSpPr/>
              <p:nvPr/>
            </p:nvSpPr>
            <p:spPr bwMode="auto">
              <a:xfrm>
                <a:off x="2705222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851DB18-01B4-4221-A3CE-EA652D2E17D0}"/>
                  </a:ext>
                </a:extLst>
              </p:cNvPr>
              <p:cNvSpPr/>
              <p:nvPr/>
            </p:nvSpPr>
            <p:spPr bwMode="auto">
              <a:xfrm>
                <a:off x="2705221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Empower your employees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3BB0AE2-C962-46B7-99C2-F662801AAC17}"/>
                  </a:ext>
                </a:extLst>
              </p:cNvPr>
              <p:cNvSpPr/>
              <p:nvPr/>
            </p:nvSpPr>
            <p:spPr bwMode="auto">
              <a:xfrm>
                <a:off x="2705220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Enable your brand </a:t>
                </a:r>
                <a:b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</a:b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ambassadors to delight your customer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33C52DD-5626-4EBC-AE8B-3419AF50B28D}"/>
                </a:ext>
              </a:extLst>
            </p:cNvPr>
            <p:cNvGrpSpPr/>
            <p:nvPr/>
          </p:nvGrpSpPr>
          <p:grpSpPr>
            <a:xfrm>
              <a:off x="2877163" y="2415802"/>
              <a:ext cx="1856122" cy="1772130"/>
              <a:chOff x="2938390" y="2474259"/>
              <a:chExt cx="1733668" cy="165521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40F530DD-3717-4AC8-A6E9-AA5AA9FDC95F}"/>
                  </a:ext>
                </a:extLst>
              </p:cNvPr>
              <p:cNvSpPr/>
              <p:nvPr/>
            </p:nvSpPr>
            <p:spPr bwMode="auto">
              <a:xfrm>
                <a:off x="2977616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A195B369-F689-41D7-BDF0-91EC1AD752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938390" y="2635624"/>
                <a:ext cx="1733668" cy="1332486"/>
              </a:xfrm>
              <a:prstGeom prst="rect">
                <a:avLst/>
              </a:prstGeom>
            </p:spPr>
          </p:pic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FE98778-58C7-4667-B630-9F7988625832}"/>
                </a:ext>
              </a:extLst>
            </p:cNvPr>
            <p:cNvSpPr/>
            <p:nvPr/>
          </p:nvSpPr>
          <p:spPr bwMode="auto">
            <a:xfrm>
              <a:off x="2705220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9171B1-4D95-4DE8-9055-5FB661B153AA}"/>
              </a:ext>
            </a:extLst>
          </p:cNvPr>
          <p:cNvGrpSpPr/>
          <p:nvPr/>
        </p:nvGrpSpPr>
        <p:grpSpPr>
          <a:xfrm>
            <a:off x="4991797" y="2201863"/>
            <a:ext cx="2203705" cy="4227513"/>
            <a:chOff x="4991797" y="2201863"/>
            <a:chExt cx="2203705" cy="422751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E4ECA0C-A51E-4DA5-A18C-163540626407}"/>
                </a:ext>
              </a:extLst>
            </p:cNvPr>
            <p:cNvGrpSpPr/>
            <p:nvPr/>
          </p:nvGrpSpPr>
          <p:grpSpPr>
            <a:xfrm>
              <a:off x="4991797" y="2201863"/>
              <a:ext cx="2200011" cy="4227513"/>
              <a:chOff x="4991797" y="2201863"/>
              <a:chExt cx="2200011" cy="4227513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BB3C2A8-DCC5-4022-9F58-03564F635082}"/>
                  </a:ext>
                </a:extLst>
              </p:cNvPr>
              <p:cNvSpPr/>
              <p:nvPr/>
            </p:nvSpPr>
            <p:spPr bwMode="auto">
              <a:xfrm>
                <a:off x="4991800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60004E1-F6E5-499B-8016-319FD034170B}"/>
                  </a:ext>
                </a:extLst>
              </p:cNvPr>
              <p:cNvSpPr/>
              <p:nvPr/>
            </p:nvSpPr>
            <p:spPr bwMode="auto">
              <a:xfrm>
                <a:off x="4991798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Deliver intelligent supply chain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A52AB91-87F6-4863-847F-D69CD9A4B307}"/>
                  </a:ext>
                </a:extLst>
              </p:cNvPr>
              <p:cNvSpPr/>
              <p:nvPr/>
            </p:nvSpPr>
            <p:spPr bwMode="auto">
              <a:xfrm>
                <a:off x="4991797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Close the gap between demand and fulfillment to delight your customers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63720AC-6ED0-4D7C-8A25-E093E48E44A8}"/>
                </a:ext>
              </a:extLst>
            </p:cNvPr>
            <p:cNvGrpSpPr/>
            <p:nvPr/>
          </p:nvGrpSpPr>
          <p:grpSpPr>
            <a:xfrm>
              <a:off x="5146337" y="2415802"/>
              <a:ext cx="1890930" cy="1772130"/>
              <a:chOff x="5208713" y="2474259"/>
              <a:chExt cx="1766178" cy="1655216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D508407-E2E3-47EB-9AFE-0470D2E61F22}"/>
                  </a:ext>
                </a:extLst>
              </p:cNvPr>
              <p:cNvSpPr/>
              <p:nvPr/>
            </p:nvSpPr>
            <p:spPr bwMode="auto">
              <a:xfrm>
                <a:off x="5264194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0D56C8B8-E01C-4F2B-8A05-3430981974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208713" y="2483259"/>
                <a:ext cx="1766178" cy="1637216"/>
              </a:xfrm>
              <a:prstGeom prst="rect">
                <a:avLst/>
              </a:prstGeom>
            </p:spPr>
          </p:pic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4CA8469-931B-4811-BC98-0B7B34F7B4B1}"/>
                </a:ext>
              </a:extLst>
            </p:cNvPr>
            <p:cNvSpPr/>
            <p:nvPr/>
          </p:nvSpPr>
          <p:spPr bwMode="auto">
            <a:xfrm>
              <a:off x="4991798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F1CB5F-5FCE-491E-8EFD-A405B116BD39}"/>
              </a:ext>
            </a:extLst>
          </p:cNvPr>
          <p:cNvGrpSpPr/>
          <p:nvPr/>
        </p:nvGrpSpPr>
        <p:grpSpPr>
          <a:xfrm>
            <a:off x="7278375" y="2201863"/>
            <a:ext cx="2203705" cy="4227513"/>
            <a:chOff x="7278375" y="2201863"/>
            <a:chExt cx="2203705" cy="422751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3DDCFCD-465C-47F1-B736-F8806C7CDC3D}"/>
                </a:ext>
              </a:extLst>
            </p:cNvPr>
            <p:cNvGrpSpPr/>
            <p:nvPr/>
          </p:nvGrpSpPr>
          <p:grpSpPr>
            <a:xfrm>
              <a:off x="7278375" y="2201863"/>
              <a:ext cx="2200011" cy="4227513"/>
              <a:chOff x="7278375" y="2201863"/>
              <a:chExt cx="2200011" cy="4227513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5BBF212-ACA1-4C98-AE70-0A94FF0BE8CF}"/>
                  </a:ext>
                </a:extLst>
              </p:cNvPr>
              <p:cNvSpPr/>
              <p:nvPr/>
            </p:nvSpPr>
            <p:spPr bwMode="auto">
              <a:xfrm>
                <a:off x="7278378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CEB400E-54FE-4FFC-B1CF-01CE7E52F2E4}"/>
                  </a:ext>
                </a:extLst>
              </p:cNvPr>
              <p:cNvSpPr/>
              <p:nvPr/>
            </p:nvSpPr>
            <p:spPr bwMode="auto">
              <a:xfrm>
                <a:off x="7278376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Reimagine</a:t>
                </a:r>
                <a:br>
                  <a:rPr lang="en-US">
                    <a:solidFill>
                      <a:schemeClr val="tx1"/>
                    </a:solidFill>
                    <a:latin typeface="+mj-lt"/>
                  </a:rPr>
                </a:br>
                <a:r>
                  <a:rPr lang="en-US">
                    <a:solidFill>
                      <a:schemeClr val="tx1"/>
                    </a:solidFill>
                    <a:latin typeface="+mj-lt"/>
                  </a:rPr>
                  <a:t>retail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F24CDBA-B307-4DB2-A3F8-A22407FA9F12}"/>
                  </a:ext>
                </a:extLst>
              </p:cNvPr>
              <p:cNvSpPr/>
              <p:nvPr/>
            </p:nvSpPr>
            <p:spPr bwMode="auto">
              <a:xfrm>
                <a:off x="7278375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Imagine the impossible and then make it happen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BCBE74D-54EB-4F0E-8C32-BFD489860038}"/>
                </a:ext>
              </a:extLst>
            </p:cNvPr>
            <p:cNvGrpSpPr/>
            <p:nvPr/>
          </p:nvGrpSpPr>
          <p:grpSpPr>
            <a:xfrm>
              <a:off x="7492315" y="2415802"/>
              <a:ext cx="1772130" cy="1772130"/>
              <a:chOff x="7550772" y="2474259"/>
              <a:chExt cx="1655216" cy="1655216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88A7D50-DE33-4529-9056-A65FD536F6DD}"/>
                  </a:ext>
                </a:extLst>
              </p:cNvPr>
              <p:cNvSpPr/>
              <p:nvPr/>
            </p:nvSpPr>
            <p:spPr bwMode="auto">
              <a:xfrm>
                <a:off x="7550772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4BBA2654-FDF1-4381-B084-B9925F1BFB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612760" y="2517824"/>
                <a:ext cx="1531240" cy="1568086"/>
              </a:xfrm>
              <a:prstGeom prst="rect">
                <a:avLst/>
              </a:prstGeom>
            </p:spPr>
          </p:pic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8A1A616-E683-4572-B5CE-456C285B4861}"/>
                </a:ext>
              </a:extLst>
            </p:cNvPr>
            <p:cNvSpPr/>
            <p:nvPr/>
          </p:nvSpPr>
          <p:spPr bwMode="auto">
            <a:xfrm>
              <a:off x="7278376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E1D047C-E477-4605-9381-D226D94838BA}"/>
              </a:ext>
            </a:extLst>
          </p:cNvPr>
          <p:cNvGrpSpPr/>
          <p:nvPr/>
        </p:nvGrpSpPr>
        <p:grpSpPr>
          <a:xfrm>
            <a:off x="9564953" y="2201863"/>
            <a:ext cx="2203704" cy="4227513"/>
            <a:chOff x="9564953" y="2201863"/>
            <a:chExt cx="2203704" cy="422751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3DAE99D-478E-468A-85D9-FC63DEE820CA}"/>
                </a:ext>
              </a:extLst>
            </p:cNvPr>
            <p:cNvGrpSpPr/>
            <p:nvPr/>
          </p:nvGrpSpPr>
          <p:grpSpPr>
            <a:xfrm>
              <a:off x="9564954" y="2201863"/>
              <a:ext cx="2200009" cy="4227513"/>
              <a:chOff x="9564954" y="2201863"/>
              <a:chExt cx="2200009" cy="422751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D1215E0-6DD0-46C6-B4E4-1F6D9BAD85D8}"/>
                  </a:ext>
                </a:extLst>
              </p:cNvPr>
              <p:cNvSpPr/>
              <p:nvPr/>
            </p:nvSpPr>
            <p:spPr bwMode="auto">
              <a:xfrm>
                <a:off x="9564955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E607F4E-BCF6-4424-B1E8-8682A41EB8A3}"/>
                  </a:ext>
                </a:extLst>
              </p:cNvPr>
              <p:cNvSpPr/>
              <p:nvPr/>
            </p:nvSpPr>
            <p:spPr bwMode="auto">
              <a:xfrm>
                <a:off x="9564954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Be</a:t>
                </a:r>
                <a:br>
                  <a:rPr lang="en-US">
                    <a:solidFill>
                      <a:schemeClr val="tx1"/>
                    </a:solidFill>
                    <a:latin typeface="+mj-lt"/>
                  </a:rPr>
                </a:br>
                <a:r>
                  <a:rPr lang="en-US">
                    <a:solidFill>
                      <a:schemeClr val="tx1"/>
                    </a:solidFill>
                    <a:latin typeface="+mj-lt"/>
                  </a:rPr>
                  <a:t>prepared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C0A83548-51B9-493C-B9E5-1EFA9B6AC986}"/>
                  </a:ext>
                </a:extLst>
              </p:cNvPr>
              <p:cNvSpPr/>
              <p:nvPr/>
            </p:nvSpPr>
            <p:spPr bwMode="auto">
              <a:xfrm>
                <a:off x="9716947" y="5185612"/>
                <a:ext cx="1875099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Flexibility to react to new customer needs </a:t>
                </a:r>
              </a:p>
            </p:txBody>
          </p:sp>
        </p:grp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458C3B8-0834-49B2-8708-9541FD99EA53}"/>
                </a:ext>
              </a:extLst>
            </p:cNvPr>
            <p:cNvSpPr/>
            <p:nvPr/>
          </p:nvSpPr>
          <p:spPr bwMode="auto">
            <a:xfrm>
              <a:off x="9778894" y="2415802"/>
              <a:ext cx="1772130" cy="17721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B3008BD-5CCD-4C51-BD9E-C73D2940DF51}"/>
                </a:ext>
              </a:extLst>
            </p:cNvPr>
            <p:cNvSpPr/>
            <p:nvPr/>
          </p:nvSpPr>
          <p:spPr bwMode="auto">
            <a:xfrm>
              <a:off x="9564953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72822AD5-A0C4-4A0F-BF1C-B098F67F3174}"/>
              </a:ext>
            </a:extLst>
          </p:cNvPr>
          <p:cNvSpPr/>
          <p:nvPr/>
        </p:nvSpPr>
        <p:spPr bwMode="auto">
          <a:xfrm>
            <a:off x="427037" y="1782121"/>
            <a:ext cx="11337924" cy="4699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ynapse (Connecting Data and AI)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70A74420-4FF8-431D-9C6F-E963BC4930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87912" y="2552021"/>
            <a:ext cx="1354092" cy="144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9992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5BD042E0-9032-4294-8103-5C9014B2F7EF}"/>
              </a:ext>
            </a:extLst>
          </p:cNvPr>
          <p:cNvSpPr/>
          <p:nvPr/>
        </p:nvSpPr>
        <p:spPr bwMode="auto">
          <a:xfrm>
            <a:off x="2306979" y="2526111"/>
            <a:ext cx="2745712" cy="274570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3727CF0-D1D0-1F4D-8396-58AF0E33CAA8}"/>
              </a:ext>
            </a:extLst>
          </p:cNvPr>
          <p:cNvSpPr/>
          <p:nvPr/>
        </p:nvSpPr>
        <p:spPr bwMode="auto">
          <a:xfrm>
            <a:off x="7139310" y="2526111"/>
            <a:ext cx="2745712" cy="274570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BA5912-E23C-4112-B094-061104441AF4}"/>
              </a:ext>
            </a:extLst>
          </p:cNvPr>
          <p:cNvSpPr txBox="1"/>
          <p:nvPr/>
        </p:nvSpPr>
        <p:spPr>
          <a:xfrm>
            <a:off x="5548027" y="3612733"/>
            <a:ext cx="1095946" cy="5724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O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7D213AD-763A-449E-87CE-385927FE2AF5}"/>
              </a:ext>
            </a:extLst>
          </p:cNvPr>
          <p:cNvSpPr txBox="1">
            <a:spLocks/>
          </p:cNvSpPr>
          <p:nvPr/>
        </p:nvSpPr>
        <p:spPr>
          <a:xfrm>
            <a:off x="2337260" y="3279806"/>
            <a:ext cx="2685151" cy="12383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cap="none" spc="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Experimentation </a:t>
            </a:r>
            <a:endParaRPr kumimoji="0" lang="en-US" sz="1600" b="0" i="0" u="none" strike="noStrike" kern="1200" cap="none" spc="0" normalizeH="0" baseline="0" noProof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</a:endParaRP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Fast exploration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emi-structured data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7FBB97-C3DF-9640-A6A0-555AEC623B8B}"/>
              </a:ext>
            </a:extLst>
          </p:cNvPr>
          <p:cNvSpPr txBox="1">
            <a:spLocks/>
          </p:cNvSpPr>
          <p:nvPr/>
        </p:nvSpPr>
        <p:spPr>
          <a:xfrm>
            <a:off x="7290805" y="3279806"/>
            <a:ext cx="2442723" cy="12383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cap="none" spc="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roven security &amp; privacy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pendable performance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Operational data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B6232F-0A2F-43B6-90D6-68C73106731B}"/>
              </a:ext>
            </a:extLst>
          </p:cNvPr>
          <p:cNvSpPr txBox="1"/>
          <p:nvPr/>
        </p:nvSpPr>
        <p:spPr>
          <a:xfrm>
            <a:off x="2171075" y="5407093"/>
            <a:ext cx="3017520" cy="553998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lvl="0" algn="ctr">
              <a:spcAft>
                <a:spcPts val="600"/>
              </a:spcAft>
              <a:defRPr/>
            </a:pPr>
            <a:r>
              <a:rPr lang="en-US" sz="2400">
                <a:latin typeface="Segoe UI Semibold"/>
              </a:rPr>
              <a:t>Data Lak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484F74B-7F81-4F7B-8361-2814548E8114}"/>
              </a:ext>
            </a:extLst>
          </p:cNvPr>
          <p:cNvSpPr txBox="1"/>
          <p:nvPr/>
        </p:nvSpPr>
        <p:spPr>
          <a:xfrm>
            <a:off x="7003406" y="5407093"/>
            <a:ext cx="3017520" cy="553998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R="0" indent="0" algn="ctr" fontAlgn="auto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400">
                <a:latin typeface="Segoe UI Semibold"/>
              </a:rPr>
              <a:t>Data Warehous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620580-70F4-4295-AF3D-33B7B304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Businesses are forced to maintain </a:t>
            </a:r>
            <a:br>
              <a:rPr lang="en-US"/>
            </a:br>
            <a:r>
              <a:rPr lang="en-US"/>
              <a:t>two critical, yet independent analytics system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A709BB-3151-495E-AAD1-C39EE3FFCE73}"/>
              </a:ext>
            </a:extLst>
          </p:cNvPr>
          <p:cNvSpPr txBox="1"/>
          <p:nvPr/>
        </p:nvSpPr>
        <p:spPr>
          <a:xfrm>
            <a:off x="2171075" y="1836839"/>
            <a:ext cx="3017520" cy="553998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lvl="0" algn="ctr">
              <a:spcAft>
                <a:spcPts val="600"/>
              </a:spcAft>
              <a:defRPr/>
            </a:pPr>
            <a:r>
              <a:rPr lang="en-US" sz="2400">
                <a:latin typeface="Segoe UI Semibold"/>
              </a:rPr>
              <a:t>Big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595473B-725E-432C-9AFB-7E8BE9C9C4DB}"/>
              </a:ext>
            </a:extLst>
          </p:cNvPr>
          <p:cNvSpPr txBox="1"/>
          <p:nvPr/>
        </p:nvSpPr>
        <p:spPr>
          <a:xfrm>
            <a:off x="7003406" y="1836839"/>
            <a:ext cx="3017520" cy="553998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lvl="0" algn="ctr">
              <a:spcAft>
                <a:spcPts val="1200"/>
              </a:spcAft>
              <a:defRPr/>
            </a:pPr>
            <a:r>
              <a:rPr lang="en-US" sz="2400">
                <a:solidFill>
                  <a:srgbClr val="0078D3"/>
                </a:solidFill>
                <a:latin typeface="+mj-lt"/>
              </a:rPr>
              <a:t>Relational Data</a:t>
            </a:r>
          </a:p>
        </p:txBody>
      </p:sp>
    </p:spTree>
    <p:extLst>
      <p:ext uri="{BB962C8B-B14F-4D97-AF65-F5344CB8AC3E}">
        <p14:creationId xmlns:p14="http://schemas.microsoft.com/office/powerpoint/2010/main" val="22368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ardrop 18">
            <a:extLst>
              <a:ext uri="{FF2B5EF4-FFF2-40B4-BE49-F238E27FC236}">
                <a16:creationId xmlns:a16="http://schemas.microsoft.com/office/drawing/2014/main" id="{A0352E40-0B97-4312-BF4B-E62D1FDF62A6}"/>
              </a:ext>
            </a:extLst>
          </p:cNvPr>
          <p:cNvSpPr/>
          <p:nvPr/>
        </p:nvSpPr>
        <p:spPr bwMode="auto">
          <a:xfrm rot="13500000">
            <a:off x="4723147" y="2257171"/>
            <a:ext cx="2745706" cy="2745708"/>
          </a:xfrm>
          <a:prstGeom prst="teardrop">
            <a:avLst/>
          </a:prstGeom>
          <a:noFill/>
          <a:ln w="762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E4A96358-03F3-4873-B53E-5DFEC1DD2A15}"/>
              </a:ext>
            </a:extLst>
          </p:cNvPr>
          <p:cNvSpPr/>
          <p:nvPr/>
        </p:nvSpPr>
        <p:spPr bwMode="auto">
          <a:xfrm rot="2700000">
            <a:off x="4725833" y="2257172"/>
            <a:ext cx="2745708" cy="2745706"/>
          </a:xfrm>
          <a:prstGeom prst="teardrop">
            <a:avLst/>
          </a:prstGeom>
          <a:noFill/>
          <a:ln w="762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AA7F7F-A678-4C0D-9374-1B36B4D7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Azure brings these two worlds together, </a:t>
            </a:r>
            <a:br>
              <a:rPr lang="en-US"/>
            </a:br>
            <a:r>
              <a:rPr lang="en-US"/>
              <a:t>in a single service, to provide limitless analy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42A983-D4AB-48C1-AF34-AB6547ADB852}"/>
              </a:ext>
            </a:extLst>
          </p:cNvPr>
          <p:cNvSpPr txBox="1"/>
          <p:nvPr/>
        </p:nvSpPr>
        <p:spPr>
          <a:xfrm>
            <a:off x="1" y="5644345"/>
            <a:ext cx="12192000" cy="517065"/>
          </a:xfrm>
          <a:prstGeom prst="rect">
            <a:avLst/>
          </a:prstGeom>
          <a:noFill/>
        </p:spPr>
        <p:txBody>
          <a:bodyPr wrap="square" lIns="91440" tIns="91440" rIns="91440" bIns="9144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ta warehousing &amp; big data analytics—all in one service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4E54C896-79A9-4C30-B7B7-1AD7207AFB14}"/>
              </a:ext>
            </a:extLst>
          </p:cNvPr>
          <p:cNvSpPr/>
          <p:nvPr/>
        </p:nvSpPr>
        <p:spPr bwMode="auto">
          <a:xfrm>
            <a:off x="254000" y="1676400"/>
            <a:ext cx="11684000" cy="3505200"/>
          </a:xfrm>
          <a:custGeom>
            <a:avLst/>
            <a:gdLst>
              <a:gd name="connsiteX0" fmla="*/ 0 w 12192000"/>
              <a:gd name="connsiteY0" fmla="*/ 0 h 3657600"/>
              <a:gd name="connsiteX1" fmla="*/ 12192000 w 12192000"/>
              <a:gd name="connsiteY1" fmla="*/ 0 h 3657600"/>
              <a:gd name="connsiteX2" fmla="*/ 12192000 w 12192000"/>
              <a:gd name="connsiteY2" fmla="*/ 3657600 h 3657600"/>
              <a:gd name="connsiteX3" fmla="*/ 0 w 12192000"/>
              <a:gd name="connsiteY3" fmla="*/ 3657600 h 3657600"/>
              <a:gd name="connsiteX4" fmla="*/ 0 w 12192000"/>
              <a:gd name="connsiteY4" fmla="*/ 0 h 3657600"/>
              <a:gd name="connsiteX5" fmla="*/ 6096000 w 12192000"/>
              <a:gd name="connsiteY5" fmla="*/ 613679 h 3657600"/>
              <a:gd name="connsiteX6" fmla="*/ 4679852 w 12192000"/>
              <a:gd name="connsiteY6" fmla="*/ 2029826 h 3657600"/>
              <a:gd name="connsiteX7" fmla="*/ 6096000 w 12192000"/>
              <a:gd name="connsiteY7" fmla="*/ 3445973 h 3657600"/>
              <a:gd name="connsiteX8" fmla="*/ 7512148 w 12192000"/>
              <a:gd name="connsiteY8" fmla="*/ 2029826 h 3657600"/>
              <a:gd name="connsiteX9" fmla="*/ 6096000 w 12192000"/>
              <a:gd name="connsiteY9" fmla="*/ 613679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657600">
                <a:moveTo>
                  <a:pt x="0" y="0"/>
                </a:moveTo>
                <a:lnTo>
                  <a:pt x="12192000" y="0"/>
                </a:lnTo>
                <a:lnTo>
                  <a:pt x="12192000" y="3657600"/>
                </a:lnTo>
                <a:lnTo>
                  <a:pt x="0" y="3657600"/>
                </a:lnTo>
                <a:lnTo>
                  <a:pt x="0" y="0"/>
                </a:lnTo>
                <a:close/>
                <a:moveTo>
                  <a:pt x="6096000" y="613679"/>
                </a:moveTo>
                <a:cubicBezTo>
                  <a:pt x="5313883" y="613679"/>
                  <a:pt x="4679852" y="1247710"/>
                  <a:pt x="4679852" y="2029826"/>
                </a:cubicBezTo>
                <a:cubicBezTo>
                  <a:pt x="4679852" y="2811942"/>
                  <a:pt x="5313883" y="3445973"/>
                  <a:pt x="6096000" y="3445973"/>
                </a:cubicBezTo>
                <a:cubicBezTo>
                  <a:pt x="6878117" y="3445973"/>
                  <a:pt x="7512148" y="2811942"/>
                  <a:pt x="7512148" y="2029826"/>
                </a:cubicBezTo>
                <a:cubicBezTo>
                  <a:pt x="7512148" y="1247710"/>
                  <a:pt x="6878117" y="613679"/>
                  <a:pt x="6096000" y="613679"/>
                </a:cubicBezTo>
                <a:close/>
              </a:path>
            </a:pathLst>
          </a:cu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7EC882-629D-4C77-9769-1E4DEB639759}"/>
              </a:ext>
            </a:extLst>
          </p:cNvPr>
          <p:cNvSpPr/>
          <p:nvPr/>
        </p:nvSpPr>
        <p:spPr bwMode="auto">
          <a:xfrm>
            <a:off x="4723143" y="2257171"/>
            <a:ext cx="1372856" cy="2745708"/>
          </a:xfrm>
          <a:custGeom>
            <a:avLst/>
            <a:gdLst>
              <a:gd name="connsiteX0" fmla="*/ 0 w 2745712"/>
              <a:gd name="connsiteY0" fmla="*/ 1372854 h 2745708"/>
              <a:gd name="connsiteX1" fmla="*/ 1372856 w 2745712"/>
              <a:gd name="connsiteY1" fmla="*/ 0 h 2745708"/>
              <a:gd name="connsiteX2" fmla="*/ 2745712 w 2745712"/>
              <a:gd name="connsiteY2" fmla="*/ 1372854 h 2745708"/>
              <a:gd name="connsiteX3" fmla="*/ 1372856 w 2745712"/>
              <a:gd name="connsiteY3" fmla="*/ 2745708 h 2745708"/>
              <a:gd name="connsiteX4" fmla="*/ 0 w 2745712"/>
              <a:gd name="connsiteY4" fmla="*/ 1372854 h 2745708"/>
              <a:gd name="connsiteX0" fmla="*/ 2745712 w 2837152"/>
              <a:gd name="connsiteY0" fmla="*/ 1372854 h 2745708"/>
              <a:gd name="connsiteX1" fmla="*/ 1372856 w 2837152"/>
              <a:gd name="connsiteY1" fmla="*/ 2745708 h 2745708"/>
              <a:gd name="connsiteX2" fmla="*/ 0 w 2837152"/>
              <a:gd name="connsiteY2" fmla="*/ 1372854 h 2745708"/>
              <a:gd name="connsiteX3" fmla="*/ 1372856 w 2837152"/>
              <a:gd name="connsiteY3" fmla="*/ 0 h 2745708"/>
              <a:gd name="connsiteX4" fmla="*/ 2837152 w 2837152"/>
              <a:gd name="connsiteY4" fmla="*/ 1464294 h 2745708"/>
              <a:gd name="connsiteX0" fmla="*/ 2745712 w 2745712"/>
              <a:gd name="connsiteY0" fmla="*/ 1372854 h 2745708"/>
              <a:gd name="connsiteX1" fmla="*/ 1372856 w 2745712"/>
              <a:gd name="connsiteY1" fmla="*/ 2745708 h 2745708"/>
              <a:gd name="connsiteX2" fmla="*/ 0 w 2745712"/>
              <a:gd name="connsiteY2" fmla="*/ 1372854 h 2745708"/>
              <a:gd name="connsiteX3" fmla="*/ 1372856 w 2745712"/>
              <a:gd name="connsiteY3" fmla="*/ 0 h 2745708"/>
              <a:gd name="connsiteX0" fmla="*/ 1372856 w 1372856"/>
              <a:gd name="connsiteY0" fmla="*/ 2745708 h 2745708"/>
              <a:gd name="connsiteX1" fmla="*/ 0 w 1372856"/>
              <a:gd name="connsiteY1" fmla="*/ 1372854 h 2745708"/>
              <a:gd name="connsiteX2" fmla="*/ 1372856 w 1372856"/>
              <a:gd name="connsiteY2" fmla="*/ 0 h 2745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72856" h="2745708">
                <a:moveTo>
                  <a:pt x="1372856" y="2745708"/>
                </a:moveTo>
                <a:cubicBezTo>
                  <a:pt x="614649" y="2745708"/>
                  <a:pt x="0" y="2131060"/>
                  <a:pt x="0" y="1372854"/>
                </a:cubicBezTo>
                <a:cubicBezTo>
                  <a:pt x="0" y="614648"/>
                  <a:pt x="614649" y="0"/>
                  <a:pt x="1372856" y="0"/>
                </a:cubicBezTo>
              </a:path>
            </a:pathLst>
          </a:custGeom>
          <a:noFill/>
          <a:ln w="762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D6B4175-4C2B-48E8-A487-BC643FF68952}"/>
              </a:ext>
            </a:extLst>
          </p:cNvPr>
          <p:cNvSpPr/>
          <p:nvPr/>
        </p:nvSpPr>
        <p:spPr bwMode="auto">
          <a:xfrm>
            <a:off x="6095999" y="2257171"/>
            <a:ext cx="1372856" cy="2745708"/>
          </a:xfrm>
          <a:custGeom>
            <a:avLst/>
            <a:gdLst>
              <a:gd name="connsiteX0" fmla="*/ 0 w 2745712"/>
              <a:gd name="connsiteY0" fmla="*/ 1372854 h 2745708"/>
              <a:gd name="connsiteX1" fmla="*/ 1372856 w 2745712"/>
              <a:gd name="connsiteY1" fmla="*/ 0 h 2745708"/>
              <a:gd name="connsiteX2" fmla="*/ 2745712 w 2745712"/>
              <a:gd name="connsiteY2" fmla="*/ 1372854 h 2745708"/>
              <a:gd name="connsiteX3" fmla="*/ 1372856 w 2745712"/>
              <a:gd name="connsiteY3" fmla="*/ 2745708 h 2745708"/>
              <a:gd name="connsiteX4" fmla="*/ 0 w 2745712"/>
              <a:gd name="connsiteY4" fmla="*/ 1372854 h 2745708"/>
              <a:gd name="connsiteX0" fmla="*/ 0 w 2745712"/>
              <a:gd name="connsiteY0" fmla="*/ 1372854 h 2745708"/>
              <a:gd name="connsiteX1" fmla="*/ 1372856 w 2745712"/>
              <a:gd name="connsiteY1" fmla="*/ 0 h 2745708"/>
              <a:gd name="connsiteX2" fmla="*/ 2745712 w 2745712"/>
              <a:gd name="connsiteY2" fmla="*/ 1372854 h 2745708"/>
              <a:gd name="connsiteX3" fmla="*/ 1372856 w 2745712"/>
              <a:gd name="connsiteY3" fmla="*/ 2745708 h 2745708"/>
              <a:gd name="connsiteX4" fmla="*/ 91440 w 2745712"/>
              <a:gd name="connsiteY4" fmla="*/ 1464294 h 2745708"/>
              <a:gd name="connsiteX0" fmla="*/ 0 w 2745712"/>
              <a:gd name="connsiteY0" fmla="*/ 1372854 h 2745708"/>
              <a:gd name="connsiteX1" fmla="*/ 1372856 w 2745712"/>
              <a:gd name="connsiteY1" fmla="*/ 0 h 2745708"/>
              <a:gd name="connsiteX2" fmla="*/ 2745712 w 2745712"/>
              <a:gd name="connsiteY2" fmla="*/ 1372854 h 2745708"/>
              <a:gd name="connsiteX3" fmla="*/ 1372856 w 2745712"/>
              <a:gd name="connsiteY3" fmla="*/ 2745708 h 2745708"/>
              <a:gd name="connsiteX0" fmla="*/ 0 w 1372856"/>
              <a:gd name="connsiteY0" fmla="*/ 0 h 2745708"/>
              <a:gd name="connsiteX1" fmla="*/ 1372856 w 1372856"/>
              <a:gd name="connsiteY1" fmla="*/ 1372854 h 2745708"/>
              <a:gd name="connsiteX2" fmla="*/ 0 w 1372856"/>
              <a:gd name="connsiteY2" fmla="*/ 2745708 h 2745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72856" h="2745708">
                <a:moveTo>
                  <a:pt x="0" y="0"/>
                </a:moveTo>
                <a:cubicBezTo>
                  <a:pt x="758207" y="0"/>
                  <a:pt x="1372856" y="614648"/>
                  <a:pt x="1372856" y="1372854"/>
                </a:cubicBezTo>
                <a:cubicBezTo>
                  <a:pt x="1372856" y="2131060"/>
                  <a:pt x="758207" y="2745708"/>
                  <a:pt x="0" y="2745708"/>
                </a:cubicBezTo>
              </a:path>
            </a:pathLst>
          </a:custGeom>
          <a:noFill/>
          <a:ln w="762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6BB921C-7509-754A-8024-C8D5BDB254BB}"/>
              </a:ext>
            </a:extLst>
          </p:cNvPr>
          <p:cNvSpPr txBox="1">
            <a:spLocks/>
          </p:cNvSpPr>
          <p:nvPr/>
        </p:nvSpPr>
        <p:spPr>
          <a:xfrm>
            <a:off x="4478161" y="3522303"/>
            <a:ext cx="3235678" cy="215444"/>
          </a:xfrm>
          <a:prstGeom prst="rect">
            <a:avLst/>
          </a:prstGeom>
        </p:spPr>
        <p:txBody>
          <a:bodyPr vert="horz" wrap="square" lIns="91440" tIns="91440" rIns="91440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cap="none" spc="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zure</a:t>
            </a:r>
            <a:b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ynapse</a:t>
            </a:r>
            <a:b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nalytics</a:t>
            </a:r>
          </a:p>
        </p:txBody>
      </p:sp>
    </p:spTree>
    <p:extLst>
      <p:ext uri="{BB962C8B-B14F-4D97-AF65-F5344CB8AC3E}">
        <p14:creationId xmlns:p14="http://schemas.microsoft.com/office/powerpoint/2010/main" val="3792461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DE73AE1C-CE51-4F5A-980A-451076BADD0D}"/>
              </a:ext>
            </a:extLst>
          </p:cNvPr>
          <p:cNvSpPr/>
          <p:nvPr/>
        </p:nvSpPr>
        <p:spPr bwMode="auto">
          <a:xfrm>
            <a:off x="588262" y="1268553"/>
            <a:ext cx="11018520" cy="45601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90500" dist="50800" dir="2400000" algn="ctr" rotWithShape="0">
              <a:srgbClr val="000000">
                <a:alpha val="2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9371189D-F82F-4481-9AA2-1D2762BC44DC}"/>
              </a:ext>
            </a:extLst>
          </p:cNvPr>
          <p:cNvSpPr txBox="1">
            <a:spLocks/>
          </p:cNvSpPr>
          <p:nvPr/>
        </p:nvSpPr>
        <p:spPr>
          <a:xfrm>
            <a:off x="426424" y="311759"/>
            <a:ext cx="11336039" cy="443198"/>
          </a:xfrm>
          <a:prstGeom prst="rect">
            <a:avLst/>
          </a:prstGeom>
        </p:spPr>
        <p:txBody>
          <a:bodyPr/>
          <a:lstStyle>
            <a:lvl1pPr algn="l" defTabSz="91436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3200" b="0" kern="1200" cap="none" spc="-49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BI + Analytics unlock the door to AI, machine learning, and real-time insights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642D8F-5478-46BC-BDC9-E0D59597F6B5}"/>
              </a:ext>
            </a:extLst>
          </p:cNvPr>
          <p:cNvSpPr txBox="1"/>
          <p:nvPr/>
        </p:nvSpPr>
        <p:spPr>
          <a:xfrm>
            <a:off x="588263" y="6053708"/>
            <a:ext cx="579867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artner “IT Glossary_Predictive Analytics” http://www.gartner.com/it-glossary/predictive-analysis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C8B65F3-4DE9-4F12-B72B-48CFA04D31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7079" y="6053708"/>
            <a:ext cx="1854091" cy="509640"/>
          </a:xfrm>
          <a:prstGeom prst="rect">
            <a:avLst/>
          </a:prstGeom>
        </p:spPr>
      </p:pic>
      <p:graphicFrame>
        <p:nvGraphicFramePr>
          <p:cNvPr id="64" name="Table 12">
            <a:extLst>
              <a:ext uri="{FF2B5EF4-FFF2-40B4-BE49-F238E27FC236}">
                <a16:creationId xmlns:a16="http://schemas.microsoft.com/office/drawing/2014/main" id="{F5707A2D-7B48-4109-A796-A03B27562D0F}"/>
              </a:ext>
            </a:extLst>
          </p:cNvPr>
          <p:cNvGraphicFramePr>
            <a:graphicFrameLocks noGrp="1"/>
          </p:cNvGraphicFramePr>
          <p:nvPr/>
        </p:nvGraphicFramePr>
        <p:xfrm>
          <a:off x="2661138" y="4684426"/>
          <a:ext cx="720162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543">
                  <a:extLst>
                    <a:ext uri="{9D8B030D-6E8A-4147-A177-3AD203B41FA5}">
                      <a16:colId xmlns:a16="http://schemas.microsoft.com/office/drawing/2014/main" val="3936119966"/>
                    </a:ext>
                  </a:extLst>
                </a:gridCol>
                <a:gridCol w="2400543">
                  <a:extLst>
                    <a:ext uri="{9D8B030D-6E8A-4147-A177-3AD203B41FA5}">
                      <a16:colId xmlns:a16="http://schemas.microsoft.com/office/drawing/2014/main" val="3134134582"/>
                    </a:ext>
                  </a:extLst>
                </a:gridCol>
                <a:gridCol w="2400543">
                  <a:extLst>
                    <a:ext uri="{9D8B030D-6E8A-4147-A177-3AD203B41FA5}">
                      <a16:colId xmlns:a16="http://schemas.microsoft.com/office/drawing/2014/main" val="26326189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Hindsigh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Insigh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Foresigh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97987"/>
                  </a:ext>
                </a:extLst>
              </a:tr>
            </a:tbl>
          </a:graphicData>
        </a:graphic>
      </p:graphicFrame>
      <p:grpSp>
        <p:nvGrpSpPr>
          <p:cNvPr id="65" name="Group 64">
            <a:extLst>
              <a:ext uri="{FF2B5EF4-FFF2-40B4-BE49-F238E27FC236}">
                <a16:creationId xmlns:a16="http://schemas.microsoft.com/office/drawing/2014/main" id="{1ED8D8C4-7777-462C-AEC8-DCA2BA55E8E7}"/>
              </a:ext>
            </a:extLst>
          </p:cNvPr>
          <p:cNvGrpSpPr/>
          <p:nvPr/>
        </p:nvGrpSpPr>
        <p:grpSpPr>
          <a:xfrm>
            <a:off x="900458" y="1746555"/>
            <a:ext cx="10325852" cy="3819068"/>
            <a:chOff x="900458" y="1746555"/>
            <a:chExt cx="10325852" cy="3819068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9489458D-BB26-4D72-A034-C3E57E94EA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18431" y="1746555"/>
              <a:ext cx="0" cy="3361516"/>
            </a:xfrm>
            <a:prstGeom prst="straightConnector1">
              <a:avLst/>
            </a:prstGeom>
            <a:noFill/>
            <a:ln w="38100" cap="rnd" cmpd="sng" algn="ctr">
              <a:solidFill>
                <a:schemeClr val="bg1"/>
              </a:solidFill>
              <a:prstDash val="solid"/>
              <a:headEnd type="none" w="lg" len="med"/>
              <a:tailEnd type="arrow" w="lg" len="med"/>
            </a:ln>
            <a:effectLst/>
          </p:spPr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C7767BFE-B165-450F-A30F-FC487FE03098}"/>
                </a:ext>
              </a:extLst>
            </p:cNvPr>
            <p:cNvCxnSpPr>
              <a:cxnSpLocks/>
            </p:cNvCxnSpPr>
            <p:nvPr/>
          </p:nvCxnSpPr>
          <p:spPr>
            <a:xfrm>
              <a:off x="1318431" y="5108071"/>
              <a:ext cx="9907879" cy="0"/>
            </a:xfrm>
            <a:prstGeom prst="straightConnector1">
              <a:avLst/>
            </a:prstGeom>
            <a:noFill/>
            <a:ln w="38100" cap="rnd" cmpd="sng" algn="ctr">
              <a:solidFill>
                <a:schemeClr val="bg1"/>
              </a:solidFill>
              <a:prstDash val="solid"/>
              <a:headEnd type="none" w="lg" len="med"/>
              <a:tailEnd type="arrow" w="lg" len="med"/>
            </a:ln>
            <a:effectLst/>
          </p:spPr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DDA505A-F2F6-472A-AA01-204FAE63250B}"/>
                </a:ext>
              </a:extLst>
            </p:cNvPr>
            <p:cNvSpPr txBox="1"/>
            <p:nvPr/>
          </p:nvSpPr>
          <p:spPr>
            <a:xfrm rot="16200000">
              <a:off x="584256" y="3288814"/>
              <a:ext cx="90940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Value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808F1D4-B72E-45AE-90D6-3BA4D6B85276}"/>
                </a:ext>
              </a:extLst>
            </p:cNvPr>
            <p:cNvSpPr txBox="1"/>
            <p:nvPr/>
          </p:nvSpPr>
          <p:spPr>
            <a:xfrm>
              <a:off x="5709816" y="5288624"/>
              <a:ext cx="112510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ifficulty</a:t>
              </a:r>
            </a:p>
          </p:txBody>
        </p: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2BD1B6EE-369D-47EB-8532-68B22700220A}"/>
                </a:ext>
              </a:extLst>
            </p:cNvPr>
            <p:cNvCxnSpPr/>
            <p:nvPr/>
          </p:nvCxnSpPr>
          <p:spPr>
            <a:xfrm flipV="1">
              <a:off x="1334216" y="1830285"/>
              <a:ext cx="9505093" cy="3251571"/>
            </a:xfrm>
            <a:prstGeom prst="straightConnector1">
              <a:avLst/>
            </a:prstGeom>
            <a:noFill/>
            <a:ln w="25400" cap="rnd" cmpd="sng" algn="ctr">
              <a:solidFill>
                <a:schemeClr val="bg1"/>
              </a:solidFill>
              <a:prstDash val="lgDash"/>
              <a:headEnd type="none" w="lg" len="med"/>
              <a:tailEnd type="arrow" w="lg" len="med"/>
            </a:ln>
            <a:effectLst/>
          </p:spPr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B777BC2-0B37-409B-851C-0E74E725ED62}"/>
                </a:ext>
              </a:extLst>
            </p:cNvPr>
            <p:cNvSpPr txBox="1"/>
            <p:nvPr/>
          </p:nvSpPr>
          <p:spPr>
            <a:xfrm rot="20460000">
              <a:off x="7799050" y="2544415"/>
              <a:ext cx="1280160" cy="2154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Optimizatio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5E75186-41A5-4057-AB24-3B2B48B97AA3}"/>
                </a:ext>
              </a:extLst>
            </p:cNvPr>
            <p:cNvSpPr txBox="1"/>
            <p:nvPr/>
          </p:nvSpPr>
          <p:spPr>
            <a:xfrm rot="20460000">
              <a:off x="2413984" y="4376241"/>
              <a:ext cx="1188720" cy="2154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Information</a:t>
              </a:r>
            </a:p>
          </p:txBody>
        </p:sp>
      </p:grpSp>
      <p:sp>
        <p:nvSpPr>
          <p:cNvPr id="73" name="Oval 72">
            <a:extLst>
              <a:ext uri="{FF2B5EF4-FFF2-40B4-BE49-F238E27FC236}">
                <a16:creationId xmlns:a16="http://schemas.microsoft.com/office/drawing/2014/main" id="{E2EAD52C-930E-4380-B429-A8076BD32598}"/>
              </a:ext>
            </a:extLst>
          </p:cNvPr>
          <p:cNvSpPr/>
          <p:nvPr/>
        </p:nvSpPr>
        <p:spPr bwMode="auto">
          <a:xfrm>
            <a:off x="3778691" y="4037455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headEnd type="none" w="med" len="med"/>
            <a:tailEnd type="none" w="med" len="med"/>
          </a:ln>
          <a:effectLst>
            <a:outerShdw blurRad="190500" dist="50800" dir="2400000" algn="ctr" rotWithShape="0">
              <a:srgbClr val="000000">
                <a:alpha val="2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01BEDF7-18D4-4CDE-9159-5C037A847EA7}"/>
              </a:ext>
            </a:extLst>
          </p:cNvPr>
          <p:cNvSpPr/>
          <p:nvPr/>
        </p:nvSpPr>
        <p:spPr bwMode="auto">
          <a:xfrm>
            <a:off x="5557730" y="3461878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headEnd type="none" w="med" len="med"/>
            <a:tailEnd type="none" w="med" len="med"/>
          </a:ln>
          <a:effectLst>
            <a:outerShdw blurRad="190500" dist="50800" dir="2400000" algn="ctr" rotWithShape="0">
              <a:srgbClr val="000000">
                <a:alpha val="2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FE4D622-151B-4A7A-B425-DD947B7F24F6}"/>
              </a:ext>
            </a:extLst>
          </p:cNvPr>
          <p:cNvSpPr/>
          <p:nvPr/>
        </p:nvSpPr>
        <p:spPr bwMode="auto">
          <a:xfrm>
            <a:off x="7336769" y="2817275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headEnd type="none" w="med" len="med"/>
            <a:tailEnd type="none" w="med" len="med"/>
          </a:ln>
          <a:effectLst>
            <a:outerShdw blurRad="190500" dist="50800" dir="2400000" algn="ctr" rotWithShape="0">
              <a:srgbClr val="000000">
                <a:alpha val="2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A24C9E3C-F925-4058-A6B3-68D99AB39BAA}"/>
              </a:ext>
            </a:extLst>
          </p:cNvPr>
          <p:cNvSpPr/>
          <p:nvPr/>
        </p:nvSpPr>
        <p:spPr bwMode="auto">
          <a:xfrm>
            <a:off x="9115807" y="2223678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headEnd type="none" w="med" len="med"/>
            <a:tailEnd type="none" w="med" len="med"/>
          </a:ln>
          <a:effectLst>
            <a:outerShdw blurRad="190500" dist="50800" dir="2400000" algn="ctr" rotWithShape="0">
              <a:srgbClr val="000000">
                <a:alpha val="2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6887FC1-A0B3-4600-9E0D-E2644200C657}"/>
              </a:ext>
            </a:extLst>
          </p:cNvPr>
          <p:cNvCxnSpPr>
            <a:cxnSpLocks/>
            <a:stCxn id="73" idx="0"/>
          </p:cNvCxnSpPr>
          <p:nvPr/>
        </p:nvCxnSpPr>
        <p:spPr>
          <a:xfrm flipV="1">
            <a:off x="3915851" y="3599038"/>
            <a:ext cx="0" cy="438417"/>
          </a:xfrm>
          <a:prstGeom prst="line">
            <a:avLst/>
          </a:prstGeom>
          <a:ln w="15875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B185103-98D3-4E39-B8FD-BEDC18D8393C}"/>
              </a:ext>
            </a:extLst>
          </p:cNvPr>
          <p:cNvCxnSpPr>
            <a:cxnSpLocks/>
            <a:stCxn id="74" idx="0"/>
          </p:cNvCxnSpPr>
          <p:nvPr/>
        </p:nvCxnSpPr>
        <p:spPr>
          <a:xfrm flipV="1">
            <a:off x="5694890" y="3091595"/>
            <a:ext cx="0" cy="370283"/>
          </a:xfrm>
          <a:prstGeom prst="line">
            <a:avLst/>
          </a:prstGeom>
          <a:ln w="15875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1C84C1E-0C26-40FB-873E-7376BB7ACF68}"/>
              </a:ext>
            </a:extLst>
          </p:cNvPr>
          <p:cNvCxnSpPr>
            <a:cxnSpLocks/>
            <a:stCxn id="75" idx="0"/>
          </p:cNvCxnSpPr>
          <p:nvPr/>
        </p:nvCxnSpPr>
        <p:spPr>
          <a:xfrm flipV="1">
            <a:off x="7473929" y="2427593"/>
            <a:ext cx="0" cy="389682"/>
          </a:xfrm>
          <a:prstGeom prst="line">
            <a:avLst/>
          </a:prstGeom>
          <a:ln w="15875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D672610-1377-475B-8626-7E874476A420}"/>
              </a:ext>
            </a:extLst>
          </p:cNvPr>
          <p:cNvCxnSpPr>
            <a:cxnSpLocks/>
            <a:stCxn id="76" idx="0"/>
          </p:cNvCxnSpPr>
          <p:nvPr/>
        </p:nvCxnSpPr>
        <p:spPr>
          <a:xfrm flipV="1">
            <a:off x="9252967" y="1746555"/>
            <a:ext cx="0" cy="477123"/>
          </a:xfrm>
          <a:prstGeom prst="line">
            <a:avLst/>
          </a:prstGeom>
          <a:ln w="15875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2902B67A-D8A4-4557-A38E-0C65AB5B6CA2}"/>
              </a:ext>
            </a:extLst>
          </p:cNvPr>
          <p:cNvSpPr txBox="1"/>
          <p:nvPr/>
        </p:nvSpPr>
        <p:spPr>
          <a:xfrm>
            <a:off x="2430423" y="3336896"/>
            <a:ext cx="1497380" cy="4462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hat happened?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criptive Analysi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A8E3D0D-A824-4E7F-BE64-D27AAF87E70E}"/>
              </a:ext>
            </a:extLst>
          </p:cNvPr>
          <p:cNvSpPr txBox="1"/>
          <p:nvPr/>
        </p:nvSpPr>
        <p:spPr>
          <a:xfrm>
            <a:off x="4209462" y="2798634"/>
            <a:ext cx="1497380" cy="4462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hy did it happen?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agnostic Analysi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34D1E1C-D68B-4EF1-84CD-1F72B04C531F}"/>
              </a:ext>
            </a:extLst>
          </p:cNvPr>
          <p:cNvSpPr txBox="1"/>
          <p:nvPr/>
        </p:nvSpPr>
        <p:spPr>
          <a:xfrm>
            <a:off x="5970792" y="2154468"/>
            <a:ext cx="1515089" cy="4462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hat will happen?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dictive Analysi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A1A4B11-3A39-4E97-8051-53910B29E47D}"/>
              </a:ext>
            </a:extLst>
          </p:cNvPr>
          <p:cNvSpPr txBox="1"/>
          <p:nvPr/>
        </p:nvSpPr>
        <p:spPr>
          <a:xfrm>
            <a:off x="7037120" y="1535352"/>
            <a:ext cx="2227799" cy="4462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can we make it happen?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scriptive Analysi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ECE41D1-43A5-4CEC-BC75-B583885F73BE}"/>
              </a:ext>
            </a:extLst>
          </p:cNvPr>
          <p:cNvSpPr/>
          <p:nvPr/>
        </p:nvSpPr>
        <p:spPr bwMode="auto">
          <a:xfrm>
            <a:off x="4792371" y="1626366"/>
            <a:ext cx="6406508" cy="3467922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100000"/>
                  <a:alpha val="35000"/>
                </a:schemeClr>
              </a:gs>
            </a:gsLst>
            <a:lin ang="5400000" scaled="0"/>
          </a:gradFill>
          <a:ln>
            <a:noFill/>
          </a:ln>
          <a:effectLst/>
        </p:spPr>
        <p:txBody>
          <a:bodyPr rot="0" spcFirstLastPara="0" vertOverflow="overflow" horzOverflow="overflow" vert="horz" wrap="square" lIns="182880" tIns="146304" rIns="182880" bIns="8229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D1465FD-E4F8-4EE1-BDC3-6C57C69E3B9F}"/>
              </a:ext>
            </a:extLst>
          </p:cNvPr>
          <p:cNvSpPr txBox="1"/>
          <p:nvPr/>
        </p:nvSpPr>
        <p:spPr>
          <a:xfrm>
            <a:off x="7518023" y="3769367"/>
            <a:ext cx="238883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FF0000"/>
                </a:solidFill>
                <a:latin typeface="+mj-lt"/>
              </a:rPr>
              <a:t>Analytic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2B64E38-815E-4BF2-BE01-8D81E0D8CAFC}"/>
              </a:ext>
            </a:extLst>
          </p:cNvPr>
          <p:cNvSpPr/>
          <p:nvPr/>
        </p:nvSpPr>
        <p:spPr bwMode="auto">
          <a:xfrm>
            <a:off x="1322265" y="1640149"/>
            <a:ext cx="3468560" cy="3469196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2">
                  <a:lumMod val="100000"/>
                  <a:alpha val="50000"/>
                </a:schemeClr>
              </a:gs>
            </a:gsLst>
            <a:lin ang="5400000" scaled="0"/>
          </a:gradFill>
          <a:ln>
            <a:noFill/>
          </a:ln>
          <a:effectLst/>
        </p:spPr>
        <p:txBody>
          <a:bodyPr rot="0" spcFirstLastPara="0" vertOverflow="overflow" horzOverflow="overflow" vert="horz" wrap="square" lIns="182880" tIns="146304" rIns="182880" bIns="8229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kern="0">
              <a:solidFill>
                <a:schemeClr val="bg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167518A-C120-46CB-B723-65DDD4716734}"/>
              </a:ext>
            </a:extLst>
          </p:cNvPr>
          <p:cNvSpPr txBox="1"/>
          <p:nvPr/>
        </p:nvSpPr>
        <p:spPr>
          <a:xfrm>
            <a:off x="1402286" y="3773701"/>
            <a:ext cx="2388834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FF0000"/>
                </a:solidFill>
                <a:latin typeface="+mj-lt"/>
              </a:rPr>
              <a:t>BI</a:t>
            </a:r>
          </a:p>
        </p:txBody>
      </p:sp>
    </p:spTree>
    <p:extLst>
      <p:ext uri="{BB962C8B-B14F-4D97-AF65-F5344CB8AC3E}">
        <p14:creationId xmlns:p14="http://schemas.microsoft.com/office/powerpoint/2010/main" val="376050273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Pentagon 4">
            <a:extLst>
              <a:ext uri="{FF2B5EF4-FFF2-40B4-BE49-F238E27FC236}">
                <a16:creationId xmlns:a16="http://schemas.microsoft.com/office/drawing/2014/main" id="{9FFC6087-A617-4F27-AED8-A3A36380CEEC}"/>
              </a:ext>
            </a:extLst>
          </p:cNvPr>
          <p:cNvSpPr/>
          <p:nvPr/>
        </p:nvSpPr>
        <p:spPr bwMode="auto">
          <a:xfrm>
            <a:off x="427037" y="1611310"/>
            <a:ext cx="2951861" cy="4818065"/>
          </a:xfrm>
          <a:prstGeom prst="homePlate">
            <a:avLst>
              <a:gd name="adj" fmla="val 24667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1CEBB8-5DB5-4208-B4E1-A54661638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al Big Data Model: Separate services, little unification</a:t>
            </a:r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B7FEB94-C87B-4684-BB5E-2AC36D2CA0FD}"/>
              </a:ext>
            </a:extLst>
          </p:cNvPr>
          <p:cNvGrpSpPr/>
          <p:nvPr/>
        </p:nvGrpSpPr>
        <p:grpSpPr>
          <a:xfrm>
            <a:off x="643546" y="2355982"/>
            <a:ext cx="2189725" cy="3328721"/>
            <a:chOff x="643546" y="2154321"/>
            <a:chExt cx="2189725" cy="332872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8E1E576-AD9C-4CE3-87F5-1AE5DBD0BCC9}"/>
                </a:ext>
              </a:extLst>
            </p:cNvPr>
            <p:cNvGrpSpPr/>
            <p:nvPr/>
          </p:nvGrpSpPr>
          <p:grpSpPr>
            <a:xfrm>
              <a:off x="674206" y="3111495"/>
              <a:ext cx="2159065" cy="457200"/>
              <a:chOff x="674206" y="3337557"/>
              <a:chExt cx="2159065" cy="457200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D997ECA-DF8E-4CBB-8713-B2777926BE50}"/>
                  </a:ext>
                </a:extLst>
              </p:cNvPr>
              <p:cNvSpPr txBox="1"/>
              <p:nvPr/>
            </p:nvSpPr>
            <p:spPr>
              <a:xfrm>
                <a:off x="1187351" y="3337557"/>
                <a:ext cx="164592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Media (unstructured)</a:t>
                </a:r>
              </a:p>
            </p:txBody>
          </p:sp>
          <p:grpSp>
            <p:nvGrpSpPr>
              <p:cNvPr id="139" name="Graphic 101" descr="movie, training, video">
                <a:extLst>
                  <a:ext uri="{FF2B5EF4-FFF2-40B4-BE49-F238E27FC236}">
                    <a16:creationId xmlns:a16="http://schemas.microsoft.com/office/drawing/2014/main" id="{623A63BF-3286-4820-96F2-86E483AF4B5C}"/>
                  </a:ext>
                </a:extLst>
              </p:cNvPr>
              <p:cNvGrpSpPr/>
              <p:nvPr/>
            </p:nvGrpSpPr>
            <p:grpSpPr>
              <a:xfrm>
                <a:off x="674206" y="3433808"/>
                <a:ext cx="264698" cy="264698"/>
                <a:chOff x="747087" y="5745480"/>
                <a:chExt cx="369480" cy="369480"/>
              </a:xfrm>
            </p:grpSpPr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E4F927D-0008-4E0A-8942-162C8358BCC7}"/>
                    </a:ext>
                  </a:extLst>
                </p:cNvPr>
                <p:cNvSpPr/>
                <p:nvPr/>
              </p:nvSpPr>
              <p:spPr>
                <a:xfrm>
                  <a:off x="788757" y="5757172"/>
                  <a:ext cx="285680" cy="354244"/>
                </a:xfrm>
                <a:custGeom>
                  <a:avLst/>
                  <a:gdLst>
                    <a:gd name="connsiteX0" fmla="*/ 1119 w 285680"/>
                    <a:gd name="connsiteY0" fmla="*/ 356044 h 354243"/>
                    <a:gd name="connsiteX1" fmla="*/ 37840 w 285680"/>
                    <a:gd name="connsiteY1" fmla="*/ 356044 h 354243"/>
                    <a:gd name="connsiteX2" fmla="*/ 144164 w 285680"/>
                    <a:gd name="connsiteY2" fmla="*/ 95224 h 354243"/>
                    <a:gd name="connsiteX3" fmla="*/ 250743 w 285680"/>
                    <a:gd name="connsiteY3" fmla="*/ 356300 h 354243"/>
                    <a:gd name="connsiteX4" fmla="*/ 287464 w 285680"/>
                    <a:gd name="connsiteY4" fmla="*/ 356300 h 354243"/>
                    <a:gd name="connsiteX5" fmla="*/ 144100 w 285680"/>
                    <a:gd name="connsiteY5" fmla="*/ 1119 h 354243"/>
                    <a:gd name="connsiteX6" fmla="*/ 1119 w 285680"/>
                    <a:gd name="connsiteY6" fmla="*/ 356044 h 354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5680" h="354243">
                      <a:moveTo>
                        <a:pt x="1119" y="356044"/>
                      </a:moveTo>
                      <a:lnTo>
                        <a:pt x="37840" y="356044"/>
                      </a:lnTo>
                      <a:lnTo>
                        <a:pt x="144164" y="95224"/>
                      </a:lnTo>
                      <a:lnTo>
                        <a:pt x="250743" y="356300"/>
                      </a:lnTo>
                      <a:lnTo>
                        <a:pt x="287464" y="356300"/>
                      </a:lnTo>
                      <a:lnTo>
                        <a:pt x="144100" y="1119"/>
                      </a:lnTo>
                      <a:lnTo>
                        <a:pt x="1119" y="356044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7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Freeform: Shape 145">
                  <a:extLst>
                    <a:ext uri="{FF2B5EF4-FFF2-40B4-BE49-F238E27FC236}">
                      <a16:creationId xmlns:a16="http://schemas.microsoft.com/office/drawing/2014/main" id="{8194EBB8-0CA7-4DF2-BB82-59E6E6BF5B07}"/>
                    </a:ext>
                  </a:extLst>
                </p:cNvPr>
                <p:cNvSpPr/>
                <p:nvPr/>
              </p:nvSpPr>
              <p:spPr>
                <a:xfrm>
                  <a:off x="749606" y="5746667"/>
                  <a:ext cx="365671" cy="232353"/>
                </a:xfrm>
                <a:custGeom>
                  <a:avLst/>
                  <a:gdLst>
                    <a:gd name="connsiteX0" fmla="*/ 1119 w 365670"/>
                    <a:gd name="connsiteY0" fmla="*/ 231871 h 232353"/>
                    <a:gd name="connsiteX1" fmla="*/ 365511 w 365670"/>
                    <a:gd name="connsiteY1" fmla="*/ 231871 h 232353"/>
                    <a:gd name="connsiteX2" fmla="*/ 365511 w 365670"/>
                    <a:gd name="connsiteY2" fmla="*/ 1119 h 232353"/>
                    <a:gd name="connsiteX3" fmla="*/ 1119 w 365670"/>
                    <a:gd name="connsiteY3" fmla="*/ 1119 h 232353"/>
                    <a:gd name="connsiteX4" fmla="*/ 1119 w 365670"/>
                    <a:gd name="connsiteY4" fmla="*/ 231871 h 232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670" h="232353">
                      <a:moveTo>
                        <a:pt x="1119" y="231871"/>
                      </a:moveTo>
                      <a:lnTo>
                        <a:pt x="365511" y="231871"/>
                      </a:lnTo>
                      <a:lnTo>
                        <a:pt x="365511" y="1119"/>
                      </a:lnTo>
                      <a:lnTo>
                        <a:pt x="1119" y="1119"/>
                      </a:lnTo>
                      <a:lnTo>
                        <a:pt x="1119" y="231871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 w="37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69324E81-AB92-4C31-BCC3-3244F053B582}"/>
                    </a:ext>
                  </a:extLst>
                </p:cNvPr>
                <p:cNvSpPr/>
                <p:nvPr/>
              </p:nvSpPr>
              <p:spPr>
                <a:xfrm>
                  <a:off x="906596" y="5818251"/>
                  <a:ext cx="68563" cy="83800"/>
                </a:xfrm>
                <a:custGeom>
                  <a:avLst/>
                  <a:gdLst>
                    <a:gd name="connsiteX0" fmla="*/ 69443 w 68563"/>
                    <a:gd name="connsiteY0" fmla="*/ 42062 h 83799"/>
                    <a:gd name="connsiteX1" fmla="*/ 1119 w 68563"/>
                    <a:gd name="connsiteY1" fmla="*/ 83133 h 83799"/>
                    <a:gd name="connsiteX2" fmla="*/ 1119 w 68563"/>
                    <a:gd name="connsiteY2" fmla="*/ 1119 h 83799"/>
                    <a:gd name="connsiteX3" fmla="*/ 69443 w 68563"/>
                    <a:gd name="connsiteY3" fmla="*/ 42062 h 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563" h="83799">
                      <a:moveTo>
                        <a:pt x="69443" y="42062"/>
                      </a:moveTo>
                      <a:lnTo>
                        <a:pt x="1119" y="83133"/>
                      </a:lnTo>
                      <a:lnTo>
                        <a:pt x="1119" y="1119"/>
                      </a:lnTo>
                      <a:lnTo>
                        <a:pt x="69443" y="42062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73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3E700FF-EB6C-4D19-9BD3-1B02001CADD7}"/>
                </a:ext>
              </a:extLst>
            </p:cNvPr>
            <p:cNvGrpSpPr/>
            <p:nvPr/>
          </p:nvGrpSpPr>
          <p:grpSpPr>
            <a:xfrm>
              <a:off x="678519" y="4068669"/>
              <a:ext cx="2154752" cy="457200"/>
              <a:chOff x="678519" y="4245928"/>
              <a:chExt cx="2154752" cy="457200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C2B45CB5-9776-4587-B6E3-E1185F4F9B9A}"/>
                  </a:ext>
                </a:extLst>
              </p:cNvPr>
              <p:cNvSpPr txBox="1"/>
              <p:nvPr/>
            </p:nvSpPr>
            <p:spPr>
              <a:xfrm>
                <a:off x="1187351" y="4245928"/>
                <a:ext cx="164592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Files (unstructured)</a:t>
                </a:r>
              </a:p>
            </p:txBody>
          </p:sp>
          <p:grpSp>
            <p:nvGrpSpPr>
              <p:cNvPr id="149" name="Graphic 89" descr="resources, folder">
                <a:extLst>
                  <a:ext uri="{FF2B5EF4-FFF2-40B4-BE49-F238E27FC236}">
                    <a16:creationId xmlns:a16="http://schemas.microsoft.com/office/drawing/2014/main" id="{DFD4AF1B-14B4-485E-AE74-FB373772B559}"/>
                  </a:ext>
                </a:extLst>
              </p:cNvPr>
              <p:cNvGrpSpPr/>
              <p:nvPr/>
            </p:nvGrpSpPr>
            <p:grpSpPr>
              <a:xfrm>
                <a:off x="678519" y="4346492"/>
                <a:ext cx="256072" cy="256072"/>
                <a:chOff x="3561905" y="3975100"/>
                <a:chExt cx="357440" cy="357440"/>
              </a:xfrm>
            </p:grpSpPr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D88071F4-D8CF-41EB-B787-E08259D73FEF}"/>
                    </a:ext>
                  </a:extLst>
                </p:cNvPr>
                <p:cNvSpPr/>
                <p:nvPr/>
              </p:nvSpPr>
              <p:spPr>
                <a:xfrm>
                  <a:off x="3580236" y="3995263"/>
                  <a:ext cx="316906" cy="239522"/>
                </a:xfrm>
                <a:custGeom>
                  <a:avLst/>
                  <a:gdLst>
                    <a:gd name="connsiteX0" fmla="*/ 317902 w 316905"/>
                    <a:gd name="connsiteY0" fmla="*/ 19973 h 239521"/>
                    <a:gd name="connsiteX1" fmla="*/ 114072 w 316905"/>
                    <a:gd name="connsiteY1" fmla="*/ 19973 h 239521"/>
                    <a:gd name="connsiteX2" fmla="*/ 96332 w 316905"/>
                    <a:gd name="connsiteY2" fmla="*/ 1054 h 239521"/>
                    <a:gd name="connsiteX3" fmla="*/ 1054 w 316905"/>
                    <a:gd name="connsiteY3" fmla="*/ 1054 h 239521"/>
                    <a:gd name="connsiteX4" fmla="*/ 1054 w 316905"/>
                    <a:gd name="connsiteY4" fmla="*/ 241109 h 239521"/>
                    <a:gd name="connsiteX5" fmla="*/ 317902 w 316905"/>
                    <a:gd name="connsiteY5" fmla="*/ 241109 h 239521"/>
                    <a:gd name="connsiteX6" fmla="*/ 317902 w 316905"/>
                    <a:gd name="connsiteY6" fmla="*/ 19973 h 23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6905" h="239521">
                      <a:moveTo>
                        <a:pt x="317902" y="19973"/>
                      </a:moveTo>
                      <a:lnTo>
                        <a:pt x="114072" y="19973"/>
                      </a:lnTo>
                      <a:lnTo>
                        <a:pt x="96332" y="1054"/>
                      </a:lnTo>
                      <a:lnTo>
                        <a:pt x="1054" y="1054"/>
                      </a:lnTo>
                      <a:lnTo>
                        <a:pt x="1054" y="241109"/>
                      </a:lnTo>
                      <a:lnTo>
                        <a:pt x="317902" y="241109"/>
                      </a:lnTo>
                      <a:lnTo>
                        <a:pt x="317902" y="19973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582C59C2-2F6B-401C-91A7-14EB7D574C60}"/>
                    </a:ext>
                  </a:extLst>
                </p:cNvPr>
                <p:cNvSpPr/>
                <p:nvPr/>
              </p:nvSpPr>
              <p:spPr>
                <a:xfrm>
                  <a:off x="3561319" y="4051775"/>
                  <a:ext cx="353755" cy="261631"/>
                </a:xfrm>
                <a:custGeom>
                  <a:avLst/>
                  <a:gdLst>
                    <a:gd name="connsiteX0" fmla="*/ 354809 w 353755"/>
                    <a:gd name="connsiteY0" fmla="*/ 1054 h 261631"/>
                    <a:gd name="connsiteX1" fmla="*/ 1054 w 353755"/>
                    <a:gd name="connsiteY1" fmla="*/ 1054 h 261631"/>
                    <a:gd name="connsiteX2" fmla="*/ 1054 w 353755"/>
                    <a:gd name="connsiteY2" fmla="*/ 260648 h 261631"/>
                    <a:gd name="connsiteX3" fmla="*/ 354809 w 353755"/>
                    <a:gd name="connsiteY3" fmla="*/ 260648 h 261631"/>
                    <a:gd name="connsiteX4" fmla="*/ 354809 w 353755"/>
                    <a:gd name="connsiteY4" fmla="*/ 1054 h 261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3755" h="261631">
                      <a:moveTo>
                        <a:pt x="354809" y="1054"/>
                      </a:moveTo>
                      <a:lnTo>
                        <a:pt x="1054" y="1054"/>
                      </a:lnTo>
                      <a:lnTo>
                        <a:pt x="1054" y="260648"/>
                      </a:lnTo>
                      <a:lnTo>
                        <a:pt x="354809" y="260648"/>
                      </a:lnTo>
                      <a:lnTo>
                        <a:pt x="354809" y="1054"/>
                      </a:lnTo>
                      <a:close/>
                    </a:path>
                  </a:pathLst>
                </a:custGeom>
                <a:solidFill>
                  <a:srgbClr val="0078D7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669671A-F754-4AFE-8A10-04798FC59CB1}"/>
                </a:ext>
              </a:extLst>
            </p:cNvPr>
            <p:cNvGrpSpPr/>
            <p:nvPr/>
          </p:nvGrpSpPr>
          <p:grpSpPr>
            <a:xfrm>
              <a:off x="678251" y="2154321"/>
              <a:ext cx="2155020" cy="457200"/>
              <a:chOff x="678251" y="2454897"/>
              <a:chExt cx="2155020" cy="457200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D0D97FB9-1BA7-427F-A488-5A8B63C1E39D}"/>
                  </a:ext>
                </a:extLst>
              </p:cNvPr>
              <p:cNvSpPr txBox="1"/>
              <p:nvPr/>
            </p:nvSpPr>
            <p:spPr>
              <a:xfrm>
                <a:off x="1187351" y="2454897"/>
                <a:ext cx="164592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Logs (unstructured)</a:t>
                </a:r>
              </a:p>
            </p:txBody>
          </p:sp>
          <p:grpSp>
            <p:nvGrpSpPr>
              <p:cNvPr id="152" name="Graphic 117" descr=" whitepapers">
                <a:extLst>
                  <a:ext uri="{FF2B5EF4-FFF2-40B4-BE49-F238E27FC236}">
                    <a16:creationId xmlns:a16="http://schemas.microsoft.com/office/drawing/2014/main" id="{4C9CC2F4-A545-4B03-ABD8-28CBB8864252}"/>
                  </a:ext>
                </a:extLst>
              </p:cNvPr>
              <p:cNvGrpSpPr/>
              <p:nvPr/>
            </p:nvGrpSpPr>
            <p:grpSpPr>
              <a:xfrm>
                <a:off x="678251" y="2555193"/>
                <a:ext cx="256608" cy="256608"/>
                <a:chOff x="692742" y="5791200"/>
                <a:chExt cx="358188" cy="358188"/>
              </a:xfrm>
            </p:grpSpPr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D6EFB394-3FFA-4FE6-9D2E-938E37416ADE}"/>
                    </a:ext>
                  </a:extLst>
                </p:cNvPr>
                <p:cNvSpPr/>
                <p:nvPr/>
              </p:nvSpPr>
              <p:spPr>
                <a:xfrm>
                  <a:off x="750047" y="5793375"/>
                  <a:ext cx="243716" cy="354495"/>
                </a:xfrm>
                <a:custGeom>
                  <a:avLst/>
                  <a:gdLst>
                    <a:gd name="connsiteX0" fmla="*/ 1056 w 243715"/>
                    <a:gd name="connsiteY0" fmla="*/ 355552 h 354495"/>
                    <a:gd name="connsiteX1" fmla="*/ 244745 w 243715"/>
                    <a:gd name="connsiteY1" fmla="*/ 355552 h 354495"/>
                    <a:gd name="connsiteX2" fmla="*/ 244745 w 243715"/>
                    <a:gd name="connsiteY2" fmla="*/ 1056 h 354495"/>
                    <a:gd name="connsiteX3" fmla="*/ 1056 w 243715"/>
                    <a:gd name="connsiteY3" fmla="*/ 1056 h 354495"/>
                    <a:gd name="connsiteX4" fmla="*/ 1056 w 243715"/>
                    <a:gd name="connsiteY4" fmla="*/ 355552 h 354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3715" h="354495">
                      <a:moveTo>
                        <a:pt x="1056" y="355552"/>
                      </a:moveTo>
                      <a:lnTo>
                        <a:pt x="244745" y="355552"/>
                      </a:lnTo>
                      <a:lnTo>
                        <a:pt x="244745" y="1056"/>
                      </a:lnTo>
                      <a:lnTo>
                        <a:pt x="1056" y="1056"/>
                      </a:lnTo>
                      <a:lnTo>
                        <a:pt x="1056" y="355552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3995DDCD-470C-4EC5-B780-9BF24C5B8899}"/>
                    </a:ext>
                  </a:extLst>
                </p:cNvPr>
                <p:cNvSpPr/>
                <p:nvPr/>
              </p:nvSpPr>
              <p:spPr>
                <a:xfrm>
                  <a:off x="787727" y="5830244"/>
                  <a:ext cx="169862" cy="36927"/>
                </a:xfrm>
                <a:custGeom>
                  <a:avLst/>
                  <a:gdLst>
                    <a:gd name="connsiteX0" fmla="*/ 1056 w 169862"/>
                    <a:gd name="connsiteY0" fmla="*/ 38800 h 36926"/>
                    <a:gd name="connsiteX1" fmla="*/ 169008 w 169862"/>
                    <a:gd name="connsiteY1" fmla="*/ 38800 h 36926"/>
                    <a:gd name="connsiteX2" fmla="*/ 169008 w 169862"/>
                    <a:gd name="connsiteY2" fmla="*/ 1056 h 36926"/>
                    <a:gd name="connsiteX3" fmla="*/ 1056 w 169862"/>
                    <a:gd name="connsiteY3" fmla="*/ 1056 h 36926"/>
                    <a:gd name="connsiteX4" fmla="*/ 1056 w 169862"/>
                    <a:gd name="connsiteY4" fmla="*/ 38800 h 3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862" h="36926">
                      <a:moveTo>
                        <a:pt x="1056" y="38800"/>
                      </a:moveTo>
                      <a:lnTo>
                        <a:pt x="169008" y="38800"/>
                      </a:lnTo>
                      <a:lnTo>
                        <a:pt x="169008" y="1056"/>
                      </a:lnTo>
                      <a:lnTo>
                        <a:pt x="1056" y="1056"/>
                      </a:lnTo>
                      <a:lnTo>
                        <a:pt x="1056" y="388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3C0091EC-DDBF-4021-A87A-3964CA3B50F3}"/>
                    </a:ext>
                  </a:extLst>
                </p:cNvPr>
                <p:cNvSpPr/>
                <p:nvPr/>
              </p:nvSpPr>
              <p:spPr>
                <a:xfrm>
                  <a:off x="787727" y="5886831"/>
                  <a:ext cx="169862" cy="36927"/>
                </a:xfrm>
                <a:custGeom>
                  <a:avLst/>
                  <a:gdLst>
                    <a:gd name="connsiteX0" fmla="*/ 1056 w 169862"/>
                    <a:gd name="connsiteY0" fmla="*/ 38801 h 36926"/>
                    <a:gd name="connsiteX1" fmla="*/ 169008 w 169862"/>
                    <a:gd name="connsiteY1" fmla="*/ 38801 h 36926"/>
                    <a:gd name="connsiteX2" fmla="*/ 169008 w 169862"/>
                    <a:gd name="connsiteY2" fmla="*/ 1056 h 36926"/>
                    <a:gd name="connsiteX3" fmla="*/ 1056 w 169862"/>
                    <a:gd name="connsiteY3" fmla="*/ 1056 h 36926"/>
                    <a:gd name="connsiteX4" fmla="*/ 1056 w 169862"/>
                    <a:gd name="connsiteY4" fmla="*/ 38801 h 3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862" h="36926">
                      <a:moveTo>
                        <a:pt x="1056" y="38801"/>
                      </a:moveTo>
                      <a:lnTo>
                        <a:pt x="169008" y="38801"/>
                      </a:lnTo>
                      <a:lnTo>
                        <a:pt x="169008" y="1056"/>
                      </a:lnTo>
                      <a:lnTo>
                        <a:pt x="1056" y="1056"/>
                      </a:lnTo>
                      <a:lnTo>
                        <a:pt x="1056" y="38801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75FAEA7A-C13F-4473-BF5B-3CB7F9931B32}"/>
                    </a:ext>
                  </a:extLst>
                </p:cNvPr>
                <p:cNvSpPr/>
                <p:nvPr/>
              </p:nvSpPr>
              <p:spPr>
                <a:xfrm>
                  <a:off x="787727" y="5941615"/>
                  <a:ext cx="169862" cy="36927"/>
                </a:xfrm>
                <a:custGeom>
                  <a:avLst/>
                  <a:gdLst>
                    <a:gd name="connsiteX0" fmla="*/ 1056 w 169862"/>
                    <a:gd name="connsiteY0" fmla="*/ 38801 h 36926"/>
                    <a:gd name="connsiteX1" fmla="*/ 169008 w 169862"/>
                    <a:gd name="connsiteY1" fmla="*/ 38801 h 36926"/>
                    <a:gd name="connsiteX2" fmla="*/ 169008 w 169862"/>
                    <a:gd name="connsiteY2" fmla="*/ 1056 h 36926"/>
                    <a:gd name="connsiteX3" fmla="*/ 1056 w 169862"/>
                    <a:gd name="connsiteY3" fmla="*/ 1056 h 36926"/>
                    <a:gd name="connsiteX4" fmla="*/ 1056 w 169862"/>
                    <a:gd name="connsiteY4" fmla="*/ 38801 h 3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862" h="36926">
                      <a:moveTo>
                        <a:pt x="1056" y="38801"/>
                      </a:moveTo>
                      <a:lnTo>
                        <a:pt x="169008" y="38801"/>
                      </a:lnTo>
                      <a:lnTo>
                        <a:pt x="169008" y="1056"/>
                      </a:lnTo>
                      <a:lnTo>
                        <a:pt x="1056" y="1056"/>
                      </a:lnTo>
                      <a:lnTo>
                        <a:pt x="1056" y="38801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261A6D69-FA01-4EE2-B895-390E3FF8772E}"/>
                    </a:ext>
                  </a:extLst>
                </p:cNvPr>
                <p:cNvSpPr/>
                <p:nvPr/>
              </p:nvSpPr>
              <p:spPr>
                <a:xfrm>
                  <a:off x="787727" y="5997509"/>
                  <a:ext cx="169862" cy="36927"/>
                </a:xfrm>
                <a:custGeom>
                  <a:avLst/>
                  <a:gdLst>
                    <a:gd name="connsiteX0" fmla="*/ 1056 w 169862"/>
                    <a:gd name="connsiteY0" fmla="*/ 38801 h 36926"/>
                    <a:gd name="connsiteX1" fmla="*/ 169008 w 169862"/>
                    <a:gd name="connsiteY1" fmla="*/ 38801 h 36926"/>
                    <a:gd name="connsiteX2" fmla="*/ 169008 w 169862"/>
                    <a:gd name="connsiteY2" fmla="*/ 1056 h 36926"/>
                    <a:gd name="connsiteX3" fmla="*/ 1056 w 169862"/>
                    <a:gd name="connsiteY3" fmla="*/ 1056 h 36926"/>
                    <a:gd name="connsiteX4" fmla="*/ 1056 w 169862"/>
                    <a:gd name="connsiteY4" fmla="*/ 38801 h 3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9862" h="36926">
                      <a:moveTo>
                        <a:pt x="1056" y="38801"/>
                      </a:moveTo>
                      <a:lnTo>
                        <a:pt x="169008" y="38801"/>
                      </a:lnTo>
                      <a:lnTo>
                        <a:pt x="169008" y="1056"/>
                      </a:lnTo>
                      <a:lnTo>
                        <a:pt x="1056" y="1056"/>
                      </a:lnTo>
                      <a:lnTo>
                        <a:pt x="1056" y="38801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9128143B-BFB2-4BC9-AF14-086EBA4B1175}"/>
                    </a:ext>
                  </a:extLst>
                </p:cNvPr>
                <p:cNvSpPr/>
                <p:nvPr/>
              </p:nvSpPr>
              <p:spPr>
                <a:xfrm>
                  <a:off x="787727" y="6055280"/>
                  <a:ext cx="92316" cy="36927"/>
                </a:xfrm>
                <a:custGeom>
                  <a:avLst/>
                  <a:gdLst>
                    <a:gd name="connsiteX0" fmla="*/ 1056 w 92316"/>
                    <a:gd name="connsiteY0" fmla="*/ 38800 h 36926"/>
                    <a:gd name="connsiteX1" fmla="*/ 94328 w 92316"/>
                    <a:gd name="connsiteY1" fmla="*/ 38800 h 36926"/>
                    <a:gd name="connsiteX2" fmla="*/ 94328 w 92316"/>
                    <a:gd name="connsiteY2" fmla="*/ 1056 h 36926"/>
                    <a:gd name="connsiteX3" fmla="*/ 1056 w 92316"/>
                    <a:gd name="connsiteY3" fmla="*/ 1056 h 36926"/>
                    <a:gd name="connsiteX4" fmla="*/ 1056 w 92316"/>
                    <a:gd name="connsiteY4" fmla="*/ 38800 h 3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316" h="36926">
                      <a:moveTo>
                        <a:pt x="1056" y="38800"/>
                      </a:moveTo>
                      <a:lnTo>
                        <a:pt x="94328" y="38800"/>
                      </a:lnTo>
                      <a:lnTo>
                        <a:pt x="94328" y="1056"/>
                      </a:lnTo>
                      <a:lnTo>
                        <a:pt x="1056" y="1056"/>
                      </a:lnTo>
                      <a:lnTo>
                        <a:pt x="1056" y="38800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36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D8B4720-10A7-43E4-B533-B86D6AFDCD3C}"/>
                </a:ext>
              </a:extLst>
            </p:cNvPr>
            <p:cNvGrpSpPr/>
            <p:nvPr/>
          </p:nvGrpSpPr>
          <p:grpSpPr>
            <a:xfrm>
              <a:off x="643546" y="5025842"/>
              <a:ext cx="2189725" cy="457200"/>
              <a:chOff x="643546" y="5152930"/>
              <a:chExt cx="2189725" cy="457200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3DC9C6A-B0E3-4CBC-AFAC-DC299027BAD7}"/>
                  </a:ext>
                </a:extLst>
              </p:cNvPr>
              <p:cNvSpPr txBox="1"/>
              <p:nvPr/>
            </p:nvSpPr>
            <p:spPr>
              <a:xfrm>
                <a:off x="1187351" y="5152930"/>
                <a:ext cx="164592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usiness / custom apps </a:t>
                </a: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(structured)</a:t>
                </a:r>
              </a:p>
            </p:txBody>
          </p:sp>
          <p:grpSp>
            <p:nvGrpSpPr>
              <p:cNvPr id="159" name="Graphic 106" descr="calendar, events">
                <a:extLst>
                  <a:ext uri="{FF2B5EF4-FFF2-40B4-BE49-F238E27FC236}">
                    <a16:creationId xmlns:a16="http://schemas.microsoft.com/office/drawing/2014/main" id="{7A400AD9-7935-4680-AC54-CD305FB54AB2}"/>
                  </a:ext>
                </a:extLst>
              </p:cNvPr>
              <p:cNvGrpSpPr/>
              <p:nvPr/>
            </p:nvGrpSpPr>
            <p:grpSpPr>
              <a:xfrm>
                <a:off x="643546" y="5218522"/>
                <a:ext cx="326018" cy="326016"/>
                <a:chOff x="3471062" y="3907483"/>
                <a:chExt cx="503947" cy="503947"/>
              </a:xfrm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2D247780-23E3-414E-A652-39A98AB1E927}"/>
                    </a:ext>
                  </a:extLst>
                </p:cNvPr>
                <p:cNvSpPr/>
                <p:nvPr/>
              </p:nvSpPr>
              <p:spPr>
                <a:xfrm>
                  <a:off x="3473935" y="3968225"/>
                  <a:ext cx="498752" cy="384454"/>
                </a:xfrm>
                <a:custGeom>
                  <a:avLst/>
                  <a:gdLst>
                    <a:gd name="connsiteX0" fmla="*/ 2089 w 498751"/>
                    <a:gd name="connsiteY0" fmla="*/ 386127 h 384454"/>
                    <a:gd name="connsiteX1" fmla="*/ 500841 w 498751"/>
                    <a:gd name="connsiteY1" fmla="*/ 386127 h 384454"/>
                    <a:gd name="connsiteX2" fmla="*/ 500841 w 498751"/>
                    <a:gd name="connsiteY2" fmla="*/ 2089 h 384454"/>
                    <a:gd name="connsiteX3" fmla="*/ 2089 w 498751"/>
                    <a:gd name="connsiteY3" fmla="*/ 2089 h 384454"/>
                    <a:gd name="connsiteX4" fmla="*/ 2089 w 498751"/>
                    <a:gd name="connsiteY4" fmla="*/ 386127 h 384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8751" h="384454">
                      <a:moveTo>
                        <a:pt x="2089" y="386127"/>
                      </a:moveTo>
                      <a:lnTo>
                        <a:pt x="500841" y="386127"/>
                      </a:lnTo>
                      <a:lnTo>
                        <a:pt x="500841" y="2089"/>
                      </a:lnTo>
                      <a:lnTo>
                        <a:pt x="2089" y="2089"/>
                      </a:lnTo>
                      <a:lnTo>
                        <a:pt x="2089" y="386127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72D13CA5-59D1-47BA-887C-F3BC663F77E1}"/>
                    </a:ext>
                  </a:extLst>
                </p:cNvPr>
                <p:cNvSpPr/>
                <p:nvPr/>
              </p:nvSpPr>
              <p:spPr>
                <a:xfrm>
                  <a:off x="3473935" y="3957733"/>
                  <a:ext cx="498752" cy="51953"/>
                </a:xfrm>
                <a:custGeom>
                  <a:avLst/>
                  <a:gdLst>
                    <a:gd name="connsiteX0" fmla="*/ 2089 w 498751"/>
                    <a:gd name="connsiteY0" fmla="*/ 54064 h 51953"/>
                    <a:gd name="connsiteX1" fmla="*/ 500666 w 498751"/>
                    <a:gd name="connsiteY1" fmla="*/ 54064 h 51953"/>
                    <a:gd name="connsiteX2" fmla="*/ 500666 w 498751"/>
                    <a:gd name="connsiteY2" fmla="*/ 2089 h 51953"/>
                    <a:gd name="connsiteX3" fmla="*/ 2089 w 498751"/>
                    <a:gd name="connsiteY3" fmla="*/ 2089 h 51953"/>
                    <a:gd name="connsiteX4" fmla="*/ 2089 w 498751"/>
                    <a:gd name="connsiteY4" fmla="*/ 54064 h 5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8751" h="51953">
                      <a:moveTo>
                        <a:pt x="2089" y="54064"/>
                      </a:moveTo>
                      <a:lnTo>
                        <a:pt x="500666" y="54064"/>
                      </a:lnTo>
                      <a:lnTo>
                        <a:pt x="500666" y="2089"/>
                      </a:lnTo>
                      <a:lnTo>
                        <a:pt x="2089" y="2089"/>
                      </a:lnTo>
                      <a:lnTo>
                        <a:pt x="2089" y="54064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38078F16-4009-4FD6-A51D-1A30DB8493D6}"/>
                    </a:ext>
                  </a:extLst>
                </p:cNvPr>
                <p:cNvSpPr/>
                <p:nvPr/>
              </p:nvSpPr>
              <p:spPr>
                <a:xfrm>
                  <a:off x="3538948" y="3972081"/>
                  <a:ext cx="25977" cy="25977"/>
                </a:xfrm>
                <a:custGeom>
                  <a:avLst/>
                  <a:gdLst>
                    <a:gd name="connsiteX0" fmla="*/ 14776 w 25976"/>
                    <a:gd name="connsiteY0" fmla="*/ 27464 h 25976"/>
                    <a:gd name="connsiteX1" fmla="*/ 27464 w 25976"/>
                    <a:gd name="connsiteY1" fmla="*/ 14776 h 25976"/>
                    <a:gd name="connsiteX2" fmla="*/ 14776 w 25976"/>
                    <a:gd name="connsiteY2" fmla="*/ 2089 h 25976"/>
                    <a:gd name="connsiteX3" fmla="*/ 2089 w 25976"/>
                    <a:gd name="connsiteY3" fmla="*/ 14776 h 25976"/>
                    <a:gd name="connsiteX4" fmla="*/ 14776 w 25976"/>
                    <a:gd name="connsiteY4" fmla="*/ 27464 h 25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976" h="25976">
                      <a:moveTo>
                        <a:pt x="14776" y="27464"/>
                      </a:moveTo>
                      <a:cubicBezTo>
                        <a:pt x="21783" y="27464"/>
                        <a:pt x="27464" y="21784"/>
                        <a:pt x="27464" y="14776"/>
                      </a:cubicBezTo>
                      <a:cubicBezTo>
                        <a:pt x="27464" y="7769"/>
                        <a:pt x="21783" y="2089"/>
                        <a:pt x="14776" y="2089"/>
                      </a:cubicBezTo>
                      <a:cubicBezTo>
                        <a:pt x="7769" y="2089"/>
                        <a:pt x="2089" y="7769"/>
                        <a:pt x="2089" y="14776"/>
                      </a:cubicBezTo>
                      <a:cubicBezTo>
                        <a:pt x="2089" y="21784"/>
                        <a:pt x="7769" y="27464"/>
                        <a:pt x="14776" y="274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35D74486-2513-44DB-A6EC-9C408AF2B353}"/>
                    </a:ext>
                  </a:extLst>
                </p:cNvPr>
                <p:cNvSpPr/>
                <p:nvPr/>
              </p:nvSpPr>
              <p:spPr>
                <a:xfrm>
                  <a:off x="3499572" y="3972081"/>
                  <a:ext cx="25977" cy="25977"/>
                </a:xfrm>
                <a:custGeom>
                  <a:avLst/>
                  <a:gdLst>
                    <a:gd name="connsiteX0" fmla="*/ 14776 w 25976"/>
                    <a:gd name="connsiteY0" fmla="*/ 27464 h 25976"/>
                    <a:gd name="connsiteX1" fmla="*/ 27464 w 25976"/>
                    <a:gd name="connsiteY1" fmla="*/ 14776 h 25976"/>
                    <a:gd name="connsiteX2" fmla="*/ 14776 w 25976"/>
                    <a:gd name="connsiteY2" fmla="*/ 2089 h 25976"/>
                    <a:gd name="connsiteX3" fmla="*/ 2089 w 25976"/>
                    <a:gd name="connsiteY3" fmla="*/ 14776 h 25976"/>
                    <a:gd name="connsiteX4" fmla="*/ 14776 w 25976"/>
                    <a:gd name="connsiteY4" fmla="*/ 27464 h 25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976" h="25976">
                      <a:moveTo>
                        <a:pt x="14776" y="27464"/>
                      </a:moveTo>
                      <a:cubicBezTo>
                        <a:pt x="21784" y="27464"/>
                        <a:pt x="27464" y="21784"/>
                        <a:pt x="27464" y="14776"/>
                      </a:cubicBezTo>
                      <a:cubicBezTo>
                        <a:pt x="27464" y="7769"/>
                        <a:pt x="21784" y="2089"/>
                        <a:pt x="14776" y="2089"/>
                      </a:cubicBezTo>
                      <a:cubicBezTo>
                        <a:pt x="7769" y="2089"/>
                        <a:pt x="2089" y="7769"/>
                        <a:pt x="2089" y="14776"/>
                      </a:cubicBezTo>
                      <a:cubicBezTo>
                        <a:pt x="2089" y="21784"/>
                        <a:pt x="7769" y="27464"/>
                        <a:pt x="14776" y="274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25261F61-B400-49A9-B231-25D21F3405B4}"/>
                    </a:ext>
                  </a:extLst>
                </p:cNvPr>
                <p:cNvSpPr/>
                <p:nvPr/>
              </p:nvSpPr>
              <p:spPr>
                <a:xfrm>
                  <a:off x="3579196" y="3972081"/>
                  <a:ext cx="25977" cy="25977"/>
                </a:xfrm>
                <a:custGeom>
                  <a:avLst/>
                  <a:gdLst>
                    <a:gd name="connsiteX0" fmla="*/ 14776 w 25976"/>
                    <a:gd name="connsiteY0" fmla="*/ 27464 h 25976"/>
                    <a:gd name="connsiteX1" fmla="*/ 27464 w 25976"/>
                    <a:gd name="connsiteY1" fmla="*/ 14776 h 25976"/>
                    <a:gd name="connsiteX2" fmla="*/ 14776 w 25976"/>
                    <a:gd name="connsiteY2" fmla="*/ 2089 h 25976"/>
                    <a:gd name="connsiteX3" fmla="*/ 2089 w 25976"/>
                    <a:gd name="connsiteY3" fmla="*/ 14776 h 25976"/>
                    <a:gd name="connsiteX4" fmla="*/ 14776 w 25976"/>
                    <a:gd name="connsiteY4" fmla="*/ 27464 h 25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976" h="25976">
                      <a:moveTo>
                        <a:pt x="14776" y="27464"/>
                      </a:moveTo>
                      <a:cubicBezTo>
                        <a:pt x="21784" y="27464"/>
                        <a:pt x="27464" y="21784"/>
                        <a:pt x="27464" y="14776"/>
                      </a:cubicBezTo>
                      <a:cubicBezTo>
                        <a:pt x="27464" y="7769"/>
                        <a:pt x="21784" y="2089"/>
                        <a:pt x="14776" y="2089"/>
                      </a:cubicBezTo>
                      <a:cubicBezTo>
                        <a:pt x="7769" y="2089"/>
                        <a:pt x="2089" y="7769"/>
                        <a:pt x="2089" y="14776"/>
                      </a:cubicBezTo>
                      <a:cubicBezTo>
                        <a:pt x="2089" y="21784"/>
                        <a:pt x="7769" y="27464"/>
                        <a:pt x="14776" y="274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93C1C301-6B9B-4708-BA56-DC44287D775B}"/>
                    </a:ext>
                  </a:extLst>
                </p:cNvPr>
                <p:cNvSpPr/>
                <p:nvPr/>
              </p:nvSpPr>
              <p:spPr>
                <a:xfrm>
                  <a:off x="3538598" y="4062045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8A658F8F-1402-403F-84C0-4E2BB069AB9B}"/>
                    </a:ext>
                  </a:extLst>
                </p:cNvPr>
                <p:cNvSpPr/>
                <p:nvPr/>
              </p:nvSpPr>
              <p:spPr>
                <a:xfrm>
                  <a:off x="3669851" y="4062045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D7EF4ED1-A55F-46BC-915F-C6640C3D1259}"/>
                    </a:ext>
                  </a:extLst>
                </p:cNvPr>
                <p:cNvSpPr/>
                <p:nvPr/>
              </p:nvSpPr>
              <p:spPr>
                <a:xfrm>
                  <a:off x="3801185" y="4062045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5C393502-BE00-4222-BF0A-0B339615074C}"/>
                    </a:ext>
                  </a:extLst>
                </p:cNvPr>
                <p:cNvSpPr/>
                <p:nvPr/>
              </p:nvSpPr>
              <p:spPr>
                <a:xfrm>
                  <a:off x="3538598" y="4193370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AA90F405-D977-409F-B9FC-76015801615F}"/>
                    </a:ext>
                  </a:extLst>
                </p:cNvPr>
                <p:cNvSpPr/>
                <p:nvPr/>
              </p:nvSpPr>
              <p:spPr>
                <a:xfrm>
                  <a:off x="3669851" y="4193370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81C5169B-E213-40D8-9F6E-ED5BE293A378}"/>
                    </a:ext>
                  </a:extLst>
                </p:cNvPr>
                <p:cNvSpPr/>
                <p:nvPr/>
              </p:nvSpPr>
              <p:spPr>
                <a:xfrm>
                  <a:off x="3801185" y="4193370"/>
                  <a:ext cx="109102" cy="109102"/>
                </a:xfrm>
                <a:custGeom>
                  <a:avLst/>
                  <a:gdLst>
                    <a:gd name="connsiteX0" fmla="*/ 107877 w 109101"/>
                    <a:gd name="connsiteY0" fmla="*/ 2089 h 109101"/>
                    <a:gd name="connsiteX1" fmla="*/ 2089 w 109101"/>
                    <a:gd name="connsiteY1" fmla="*/ 2089 h 109101"/>
                    <a:gd name="connsiteX2" fmla="*/ 2089 w 109101"/>
                    <a:gd name="connsiteY2" fmla="*/ 107177 h 109101"/>
                    <a:gd name="connsiteX3" fmla="*/ 107877 w 109101"/>
                    <a:gd name="connsiteY3" fmla="*/ 107177 h 109101"/>
                    <a:gd name="connsiteX4" fmla="*/ 107877 w 109101"/>
                    <a:gd name="connsiteY4" fmla="*/ 2089 h 1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101" h="109101">
                      <a:moveTo>
                        <a:pt x="107877" y="2089"/>
                      </a:moveTo>
                      <a:lnTo>
                        <a:pt x="2089" y="2089"/>
                      </a:lnTo>
                      <a:lnTo>
                        <a:pt x="2089" y="107177"/>
                      </a:lnTo>
                      <a:lnTo>
                        <a:pt x="107877" y="107177"/>
                      </a:lnTo>
                      <a:lnTo>
                        <a:pt x="107877" y="2089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51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E396BA1-AA6D-4331-85C1-8B4C8E5E0E04}"/>
              </a:ext>
            </a:extLst>
          </p:cNvPr>
          <p:cNvGrpSpPr/>
          <p:nvPr/>
        </p:nvGrpSpPr>
        <p:grpSpPr>
          <a:xfrm>
            <a:off x="3133036" y="2773642"/>
            <a:ext cx="1923076" cy="2493400"/>
            <a:chOff x="3133036" y="2773642"/>
            <a:chExt cx="1923076" cy="2493400"/>
          </a:xfrm>
        </p:grpSpPr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E861FD9E-FBFD-42B4-B14A-E3FADD4206DC}"/>
                </a:ext>
              </a:extLst>
            </p:cNvPr>
            <p:cNvSpPr/>
            <p:nvPr/>
          </p:nvSpPr>
          <p:spPr bwMode="auto">
            <a:xfrm>
              <a:off x="3133036" y="2773642"/>
              <a:ext cx="1923076" cy="2493400"/>
            </a:xfrm>
            <a:prstGeom prst="chevron">
              <a:avLst>
                <a:gd name="adj" fmla="val 19837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3A09D95-782C-42E0-99BA-A1C34EBBC039}"/>
                </a:ext>
              </a:extLst>
            </p:cNvPr>
            <p:cNvSpPr txBox="1"/>
            <p:nvPr/>
          </p:nvSpPr>
          <p:spPr>
            <a:xfrm>
              <a:off x="3807637" y="3060387"/>
              <a:ext cx="57387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051">
                        <a:srgbClr val="0078D4"/>
                      </a:gs>
                      <a:gs pos="15000">
                        <a:srgbClr val="0078D4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Ingest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4FB72CD-E36E-4541-8C13-9DBA5007343B}"/>
                </a:ext>
              </a:extLst>
            </p:cNvPr>
            <p:cNvSpPr txBox="1"/>
            <p:nvPr/>
          </p:nvSpPr>
          <p:spPr>
            <a:xfrm>
              <a:off x="3653716" y="4626200"/>
              <a:ext cx="881716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ata Factory</a:t>
              </a:r>
            </a:p>
          </p:txBody>
        </p:sp>
        <p:grpSp>
          <p:nvGrpSpPr>
            <p:cNvPr id="171" name="Group 11" descr="Data Factory">
              <a:extLst>
                <a:ext uri="{FF2B5EF4-FFF2-40B4-BE49-F238E27FC236}">
                  <a16:creationId xmlns:a16="http://schemas.microsoft.com/office/drawing/2014/main" id="{E7342FF6-9642-4737-B9CB-C48A8E9B43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69149" y="3794917"/>
              <a:ext cx="450850" cy="450850"/>
              <a:chOff x="3412" y="2579"/>
              <a:chExt cx="284" cy="284"/>
            </a:xfrm>
          </p:grpSpPr>
          <p:sp>
            <p:nvSpPr>
              <p:cNvPr id="172" name="Freeform 12">
                <a:extLst>
                  <a:ext uri="{FF2B5EF4-FFF2-40B4-BE49-F238E27FC236}">
                    <a16:creationId xmlns:a16="http://schemas.microsoft.com/office/drawing/2014/main" id="{5AE5E220-1249-4613-A359-BDE371EFD3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2" y="2579"/>
                <a:ext cx="284" cy="284"/>
              </a:xfrm>
              <a:custGeom>
                <a:avLst/>
                <a:gdLst>
                  <a:gd name="T0" fmla="*/ 148 w 189"/>
                  <a:gd name="T1" fmla="*/ 158 h 189"/>
                  <a:gd name="T2" fmla="*/ 169 w 189"/>
                  <a:gd name="T3" fmla="*/ 158 h 189"/>
                  <a:gd name="T4" fmla="*/ 169 w 189"/>
                  <a:gd name="T5" fmla="*/ 138 h 189"/>
                  <a:gd name="T6" fmla="*/ 148 w 189"/>
                  <a:gd name="T7" fmla="*/ 138 h 189"/>
                  <a:gd name="T8" fmla="*/ 148 w 189"/>
                  <a:gd name="T9" fmla="*/ 158 h 189"/>
                  <a:gd name="T10" fmla="*/ 74 w 189"/>
                  <a:gd name="T11" fmla="*/ 158 h 189"/>
                  <a:gd name="T12" fmla="*/ 95 w 189"/>
                  <a:gd name="T13" fmla="*/ 158 h 189"/>
                  <a:gd name="T14" fmla="*/ 95 w 189"/>
                  <a:gd name="T15" fmla="*/ 138 h 189"/>
                  <a:gd name="T16" fmla="*/ 74 w 189"/>
                  <a:gd name="T17" fmla="*/ 138 h 189"/>
                  <a:gd name="T18" fmla="*/ 74 w 189"/>
                  <a:gd name="T19" fmla="*/ 158 h 189"/>
                  <a:gd name="T20" fmla="*/ 111 w 189"/>
                  <a:gd name="T21" fmla="*/ 158 h 189"/>
                  <a:gd name="T22" fmla="*/ 132 w 189"/>
                  <a:gd name="T23" fmla="*/ 158 h 189"/>
                  <a:gd name="T24" fmla="*/ 132 w 189"/>
                  <a:gd name="T25" fmla="*/ 138 h 189"/>
                  <a:gd name="T26" fmla="*/ 111 w 189"/>
                  <a:gd name="T27" fmla="*/ 138 h 189"/>
                  <a:gd name="T28" fmla="*/ 111 w 189"/>
                  <a:gd name="T29" fmla="*/ 158 h 189"/>
                  <a:gd name="T30" fmla="*/ 43 w 189"/>
                  <a:gd name="T31" fmla="*/ 24 h 189"/>
                  <a:gd name="T32" fmla="*/ 12 w 189"/>
                  <a:gd name="T33" fmla="*/ 15 h 189"/>
                  <a:gd name="T34" fmla="*/ 43 w 189"/>
                  <a:gd name="T35" fmla="*/ 6 h 189"/>
                  <a:gd name="T36" fmla="*/ 73 w 189"/>
                  <a:gd name="T37" fmla="*/ 15 h 189"/>
                  <a:gd name="T38" fmla="*/ 43 w 189"/>
                  <a:gd name="T39" fmla="*/ 24 h 189"/>
                  <a:gd name="T40" fmla="*/ 189 w 189"/>
                  <a:gd name="T41" fmla="*/ 111 h 189"/>
                  <a:gd name="T42" fmla="*/ 189 w 189"/>
                  <a:gd name="T43" fmla="*/ 65 h 189"/>
                  <a:gd name="T44" fmla="*/ 137 w 189"/>
                  <a:gd name="T45" fmla="*/ 111 h 189"/>
                  <a:gd name="T46" fmla="*/ 136 w 189"/>
                  <a:gd name="T47" fmla="*/ 111 h 189"/>
                  <a:gd name="T48" fmla="*/ 136 w 189"/>
                  <a:gd name="T49" fmla="*/ 65 h 189"/>
                  <a:gd name="T50" fmla="*/ 84 w 189"/>
                  <a:gd name="T51" fmla="*/ 111 h 189"/>
                  <a:gd name="T52" fmla="*/ 84 w 189"/>
                  <a:gd name="T53" fmla="*/ 16 h 189"/>
                  <a:gd name="T54" fmla="*/ 43 w 189"/>
                  <a:gd name="T55" fmla="*/ 0 h 189"/>
                  <a:gd name="T56" fmla="*/ 0 w 189"/>
                  <a:gd name="T57" fmla="*/ 16 h 189"/>
                  <a:gd name="T58" fmla="*/ 0 w 189"/>
                  <a:gd name="T59" fmla="*/ 189 h 189"/>
                  <a:gd name="T60" fmla="*/ 189 w 189"/>
                  <a:gd name="T61" fmla="*/ 189 h 189"/>
                  <a:gd name="T62" fmla="*/ 189 w 189"/>
                  <a:gd name="T63" fmla="*/ 111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189">
                    <a:moveTo>
                      <a:pt x="148" y="158"/>
                    </a:moveTo>
                    <a:cubicBezTo>
                      <a:pt x="169" y="158"/>
                      <a:pt x="169" y="158"/>
                      <a:pt x="169" y="158"/>
                    </a:cubicBezTo>
                    <a:cubicBezTo>
                      <a:pt x="169" y="138"/>
                      <a:pt x="169" y="138"/>
                      <a:pt x="169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lnTo>
                      <a:pt x="148" y="158"/>
                    </a:lnTo>
                    <a:close/>
                    <a:moveTo>
                      <a:pt x="74" y="158"/>
                    </a:moveTo>
                    <a:cubicBezTo>
                      <a:pt x="95" y="158"/>
                      <a:pt x="95" y="158"/>
                      <a:pt x="95" y="158"/>
                    </a:cubicBezTo>
                    <a:cubicBezTo>
                      <a:pt x="95" y="138"/>
                      <a:pt x="95" y="138"/>
                      <a:pt x="95" y="138"/>
                    </a:cubicBezTo>
                    <a:cubicBezTo>
                      <a:pt x="74" y="138"/>
                      <a:pt x="74" y="138"/>
                      <a:pt x="74" y="138"/>
                    </a:cubicBezTo>
                    <a:lnTo>
                      <a:pt x="74" y="158"/>
                    </a:lnTo>
                    <a:close/>
                    <a:moveTo>
                      <a:pt x="111" y="158"/>
                    </a:moveTo>
                    <a:cubicBezTo>
                      <a:pt x="132" y="158"/>
                      <a:pt x="132" y="158"/>
                      <a:pt x="132" y="158"/>
                    </a:cubicBezTo>
                    <a:cubicBezTo>
                      <a:pt x="132" y="138"/>
                      <a:pt x="132" y="138"/>
                      <a:pt x="132" y="138"/>
                    </a:cubicBezTo>
                    <a:cubicBezTo>
                      <a:pt x="111" y="138"/>
                      <a:pt x="111" y="138"/>
                      <a:pt x="111" y="138"/>
                    </a:cubicBezTo>
                    <a:lnTo>
                      <a:pt x="111" y="158"/>
                    </a:lnTo>
                    <a:close/>
                    <a:moveTo>
                      <a:pt x="43" y="24"/>
                    </a:moveTo>
                    <a:cubicBezTo>
                      <a:pt x="25" y="24"/>
                      <a:pt x="12" y="19"/>
                      <a:pt x="12" y="15"/>
                    </a:cubicBezTo>
                    <a:cubicBezTo>
                      <a:pt x="12" y="10"/>
                      <a:pt x="25" y="6"/>
                      <a:pt x="43" y="6"/>
                    </a:cubicBezTo>
                    <a:cubicBezTo>
                      <a:pt x="60" y="6"/>
                      <a:pt x="73" y="10"/>
                      <a:pt x="73" y="15"/>
                    </a:cubicBezTo>
                    <a:cubicBezTo>
                      <a:pt x="73" y="19"/>
                      <a:pt x="59" y="24"/>
                      <a:pt x="43" y="24"/>
                    </a:cubicBezTo>
                    <a:close/>
                    <a:moveTo>
                      <a:pt x="189" y="111"/>
                    </a:moveTo>
                    <a:cubicBezTo>
                      <a:pt x="189" y="65"/>
                      <a:pt x="189" y="65"/>
                      <a:pt x="189" y="65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6" y="65"/>
                      <a:pt x="136" y="65"/>
                      <a:pt x="136" y="65"/>
                    </a:cubicBezTo>
                    <a:cubicBezTo>
                      <a:pt x="84" y="111"/>
                      <a:pt x="84" y="111"/>
                      <a:pt x="84" y="111"/>
                    </a:cubicBezTo>
                    <a:cubicBezTo>
                      <a:pt x="84" y="16"/>
                      <a:pt x="84" y="16"/>
                      <a:pt x="84" y="16"/>
                    </a:cubicBezTo>
                    <a:cubicBezTo>
                      <a:pt x="84" y="8"/>
                      <a:pt x="66" y="0"/>
                      <a:pt x="43" y="0"/>
                    </a:cubicBezTo>
                    <a:cubicBezTo>
                      <a:pt x="19" y="0"/>
                      <a:pt x="0" y="8"/>
                      <a:pt x="0" y="16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189" y="189"/>
                      <a:pt x="189" y="189"/>
                      <a:pt x="189" y="189"/>
                    </a:cubicBezTo>
                    <a:lnTo>
                      <a:pt x="189" y="111"/>
                    </a:lnTo>
                    <a:close/>
                  </a:path>
                </a:pathLst>
              </a:custGeom>
              <a:solidFill>
                <a:srgbClr val="59B3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3">
                <a:extLst>
                  <a:ext uri="{FF2B5EF4-FFF2-40B4-BE49-F238E27FC236}">
                    <a16:creationId xmlns:a16="http://schemas.microsoft.com/office/drawing/2014/main" id="{893A9066-D25B-4AE7-A8D2-936ECA0A8F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2" y="2601"/>
                <a:ext cx="63" cy="262"/>
              </a:xfrm>
              <a:prstGeom prst="rect">
                <a:avLst/>
              </a:prstGeom>
              <a:solidFill>
                <a:srgbClr val="3998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4">
                <a:extLst>
                  <a:ext uri="{FF2B5EF4-FFF2-40B4-BE49-F238E27FC236}">
                    <a16:creationId xmlns:a16="http://schemas.microsoft.com/office/drawing/2014/main" id="{CC715AD2-4832-4EF9-AC66-E9BDAAC7E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2" y="2579"/>
                <a:ext cx="124" cy="45"/>
              </a:xfrm>
              <a:custGeom>
                <a:avLst/>
                <a:gdLst>
                  <a:gd name="T0" fmla="*/ 83 w 83"/>
                  <a:gd name="T1" fmla="*/ 15 h 30"/>
                  <a:gd name="T2" fmla="*/ 41 w 83"/>
                  <a:gd name="T3" fmla="*/ 30 h 30"/>
                  <a:gd name="T4" fmla="*/ 0 w 83"/>
                  <a:gd name="T5" fmla="*/ 15 h 30"/>
                  <a:gd name="T6" fmla="*/ 42 w 83"/>
                  <a:gd name="T7" fmla="*/ 0 h 30"/>
                  <a:gd name="T8" fmla="*/ 83 w 83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30">
                    <a:moveTo>
                      <a:pt x="83" y="15"/>
                    </a:moveTo>
                    <a:cubicBezTo>
                      <a:pt x="83" y="23"/>
                      <a:pt x="65" y="30"/>
                      <a:pt x="41" y="30"/>
                    </a:cubicBezTo>
                    <a:cubicBezTo>
                      <a:pt x="18" y="30"/>
                      <a:pt x="0" y="23"/>
                      <a:pt x="0" y="15"/>
                    </a:cubicBezTo>
                    <a:cubicBezTo>
                      <a:pt x="0" y="7"/>
                      <a:pt x="19" y="0"/>
                      <a:pt x="42" y="0"/>
                    </a:cubicBezTo>
                    <a:cubicBezTo>
                      <a:pt x="65" y="0"/>
                      <a:pt x="83" y="6"/>
                      <a:pt x="83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15">
                <a:extLst>
                  <a:ext uri="{FF2B5EF4-FFF2-40B4-BE49-F238E27FC236}">
                    <a16:creationId xmlns:a16="http://schemas.microsoft.com/office/drawing/2014/main" id="{AAD1A564-A78A-486D-8EA9-EEEE548470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4" y="2585"/>
                <a:ext cx="100" cy="30"/>
              </a:xfrm>
              <a:prstGeom prst="ellipse">
                <a:avLst/>
              </a:prstGeom>
              <a:solidFill>
                <a:srgbClr val="7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6">
                <a:extLst>
                  <a:ext uri="{FF2B5EF4-FFF2-40B4-BE49-F238E27FC236}">
                    <a16:creationId xmlns:a16="http://schemas.microsoft.com/office/drawing/2014/main" id="{0F024B93-AF69-444B-8BCE-D665BA6B7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4" y="2585"/>
                <a:ext cx="100" cy="24"/>
              </a:xfrm>
              <a:custGeom>
                <a:avLst/>
                <a:gdLst>
                  <a:gd name="T0" fmla="*/ 60 w 67"/>
                  <a:gd name="T1" fmla="*/ 16 h 16"/>
                  <a:gd name="T2" fmla="*/ 67 w 67"/>
                  <a:gd name="T3" fmla="*/ 10 h 16"/>
                  <a:gd name="T4" fmla="*/ 33 w 67"/>
                  <a:gd name="T5" fmla="*/ 0 h 16"/>
                  <a:gd name="T6" fmla="*/ 0 w 67"/>
                  <a:gd name="T7" fmla="*/ 10 h 16"/>
                  <a:gd name="T8" fmla="*/ 7 w 67"/>
                  <a:gd name="T9" fmla="*/ 16 h 16"/>
                  <a:gd name="T10" fmla="*/ 34 w 67"/>
                  <a:gd name="T11" fmla="*/ 12 h 16"/>
                  <a:gd name="T12" fmla="*/ 60 w 67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16">
                    <a:moveTo>
                      <a:pt x="60" y="16"/>
                    </a:moveTo>
                    <a:cubicBezTo>
                      <a:pt x="64" y="14"/>
                      <a:pt x="67" y="12"/>
                      <a:pt x="67" y="10"/>
                    </a:cubicBezTo>
                    <a:cubicBezTo>
                      <a:pt x="67" y="4"/>
                      <a:pt x="52" y="0"/>
                      <a:pt x="33" y="0"/>
                    </a:cubicBezTo>
                    <a:cubicBezTo>
                      <a:pt x="15" y="0"/>
                      <a:pt x="0" y="4"/>
                      <a:pt x="0" y="10"/>
                    </a:cubicBezTo>
                    <a:cubicBezTo>
                      <a:pt x="0" y="12"/>
                      <a:pt x="3" y="14"/>
                      <a:pt x="7" y="16"/>
                    </a:cubicBezTo>
                    <a:cubicBezTo>
                      <a:pt x="13" y="14"/>
                      <a:pt x="23" y="12"/>
                      <a:pt x="34" y="12"/>
                    </a:cubicBezTo>
                    <a:cubicBezTo>
                      <a:pt x="44" y="12"/>
                      <a:pt x="54" y="14"/>
                      <a:pt x="60" y="16"/>
                    </a:cubicBezTo>
                    <a:close/>
                  </a:path>
                </a:pathLst>
              </a:custGeom>
              <a:solidFill>
                <a:srgbClr val="B7D3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909FFF2-BE14-424E-A789-5BA4C5109791}"/>
              </a:ext>
            </a:extLst>
          </p:cNvPr>
          <p:cNvGrpSpPr/>
          <p:nvPr/>
        </p:nvGrpSpPr>
        <p:grpSpPr>
          <a:xfrm>
            <a:off x="9841887" y="2773642"/>
            <a:ext cx="1923076" cy="2493400"/>
            <a:chOff x="9841887" y="2773642"/>
            <a:chExt cx="1923076" cy="2493400"/>
          </a:xfrm>
        </p:grpSpPr>
        <p:sp>
          <p:nvSpPr>
            <p:cNvPr id="136" name="Arrow: Chevron 135">
              <a:extLst>
                <a:ext uri="{FF2B5EF4-FFF2-40B4-BE49-F238E27FC236}">
                  <a16:creationId xmlns:a16="http://schemas.microsoft.com/office/drawing/2014/main" id="{F9816361-4EFB-45DB-A91B-C41414EBB7E2}"/>
                </a:ext>
              </a:extLst>
            </p:cNvPr>
            <p:cNvSpPr/>
            <p:nvPr/>
          </p:nvSpPr>
          <p:spPr bwMode="auto">
            <a:xfrm>
              <a:off x="9841887" y="2773642"/>
              <a:ext cx="1923076" cy="2493400"/>
            </a:xfrm>
            <a:prstGeom prst="chevron">
              <a:avLst>
                <a:gd name="adj" fmla="val 19837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8B95595-E267-4394-A2A5-36A01660E315}"/>
                </a:ext>
              </a:extLst>
            </p:cNvPr>
            <p:cNvSpPr txBox="1"/>
            <p:nvPr/>
          </p:nvSpPr>
          <p:spPr>
            <a:xfrm>
              <a:off x="10339099" y="3060387"/>
              <a:ext cx="9286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051">
                        <a:srgbClr val="0078D4"/>
                      </a:gs>
                      <a:gs pos="15000">
                        <a:srgbClr val="0078D4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eport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5ED1F25-9C0A-4CCF-886E-38AC349A9E98}"/>
                </a:ext>
              </a:extLst>
            </p:cNvPr>
            <p:cNvSpPr txBox="1"/>
            <p:nvPr/>
          </p:nvSpPr>
          <p:spPr>
            <a:xfrm>
              <a:off x="10497829" y="4626200"/>
              <a:ext cx="611193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Power BI</a:t>
              </a:r>
            </a:p>
          </p:txBody>
        </p:sp>
        <p:pic>
          <p:nvPicPr>
            <p:cNvPr id="177" name="Graphic 176" descr="Power BI">
              <a:extLst>
                <a:ext uri="{FF2B5EF4-FFF2-40B4-BE49-F238E27FC236}">
                  <a16:creationId xmlns:a16="http://schemas.microsoft.com/office/drawing/2014/main" id="{46638A3F-CF72-4819-BDD9-176922206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541044" y="3757961"/>
              <a:ext cx="524762" cy="52476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AD6999-AC77-430A-BCC3-B3C600D7F69C}"/>
              </a:ext>
            </a:extLst>
          </p:cNvPr>
          <p:cNvGrpSpPr/>
          <p:nvPr/>
        </p:nvGrpSpPr>
        <p:grpSpPr>
          <a:xfrm>
            <a:off x="4810249" y="2773642"/>
            <a:ext cx="1923076" cy="2493400"/>
            <a:chOff x="4810249" y="2773642"/>
            <a:chExt cx="1923076" cy="2493400"/>
          </a:xfrm>
        </p:grpSpPr>
        <p:sp>
          <p:nvSpPr>
            <p:cNvPr id="109" name="Arrow: Chevron 108">
              <a:extLst>
                <a:ext uri="{FF2B5EF4-FFF2-40B4-BE49-F238E27FC236}">
                  <a16:creationId xmlns:a16="http://schemas.microsoft.com/office/drawing/2014/main" id="{9CD09B81-E59B-4DF7-B442-49DEDB9C318D}"/>
                </a:ext>
              </a:extLst>
            </p:cNvPr>
            <p:cNvSpPr/>
            <p:nvPr/>
          </p:nvSpPr>
          <p:spPr bwMode="auto">
            <a:xfrm>
              <a:off x="4810249" y="2773642"/>
              <a:ext cx="1923076" cy="2493400"/>
            </a:xfrm>
            <a:prstGeom prst="chevron">
              <a:avLst>
                <a:gd name="adj" fmla="val 19837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13A440-9107-43D6-91A2-D220E1CB01BF}"/>
                </a:ext>
              </a:extLst>
            </p:cNvPr>
            <p:cNvSpPr txBox="1"/>
            <p:nvPr/>
          </p:nvSpPr>
          <p:spPr>
            <a:xfrm>
              <a:off x="5530183" y="3060387"/>
              <a:ext cx="48320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051">
                        <a:srgbClr val="0078D4"/>
                      </a:gs>
                      <a:gs pos="15000">
                        <a:srgbClr val="0078D4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tor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EC41C1B-B383-42A6-BB27-BAB5FCC4C2F7}"/>
                </a:ext>
              </a:extLst>
            </p:cNvPr>
            <p:cNvSpPr txBox="1"/>
            <p:nvPr/>
          </p:nvSpPr>
          <p:spPr>
            <a:xfrm>
              <a:off x="5187108" y="4626200"/>
              <a:ext cx="1169358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Data Lake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torage</a:t>
              </a:r>
            </a:p>
          </p:txBody>
        </p:sp>
        <p:pic>
          <p:nvPicPr>
            <p:cNvPr id="178" name="Graphic 177" descr="Table Storage">
              <a:extLst>
                <a:ext uri="{FF2B5EF4-FFF2-40B4-BE49-F238E27FC236}">
                  <a16:creationId xmlns:a16="http://schemas.microsoft.com/office/drawing/2014/main" id="{FF659242-414E-469C-8345-9F4BEC368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64801" y="3713357"/>
              <a:ext cx="613974" cy="613972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CE7902C-7B98-456E-9A62-37687CD1A46C}"/>
              </a:ext>
            </a:extLst>
          </p:cNvPr>
          <p:cNvGrpSpPr/>
          <p:nvPr/>
        </p:nvGrpSpPr>
        <p:grpSpPr>
          <a:xfrm>
            <a:off x="8164676" y="2773642"/>
            <a:ext cx="1923076" cy="2493400"/>
            <a:chOff x="8164676" y="2773642"/>
            <a:chExt cx="1923076" cy="2493400"/>
          </a:xfrm>
        </p:grpSpPr>
        <p:sp>
          <p:nvSpPr>
            <p:cNvPr id="134" name="Arrow: Chevron 133">
              <a:extLst>
                <a:ext uri="{FF2B5EF4-FFF2-40B4-BE49-F238E27FC236}">
                  <a16:creationId xmlns:a16="http://schemas.microsoft.com/office/drawing/2014/main" id="{EC87F599-D1E0-4B2A-B92F-D7A1CC3EF479}"/>
                </a:ext>
              </a:extLst>
            </p:cNvPr>
            <p:cNvSpPr/>
            <p:nvPr/>
          </p:nvSpPr>
          <p:spPr bwMode="auto">
            <a:xfrm>
              <a:off x="8164676" y="2773642"/>
              <a:ext cx="1923076" cy="2493400"/>
            </a:xfrm>
            <a:prstGeom prst="chevron">
              <a:avLst>
                <a:gd name="adj" fmla="val 19837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619C2D8-F683-4D68-A37D-23AF4917FA2E}"/>
                </a:ext>
              </a:extLst>
            </p:cNvPr>
            <p:cNvSpPr txBox="1"/>
            <p:nvPr/>
          </p:nvSpPr>
          <p:spPr>
            <a:xfrm>
              <a:off x="8868034" y="3060387"/>
              <a:ext cx="51636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051">
                        <a:srgbClr val="0078D4"/>
                      </a:gs>
                      <a:gs pos="15000">
                        <a:srgbClr val="0078D4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erv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EA219CF-739E-4D60-A70A-928666350496}"/>
                </a:ext>
              </a:extLst>
            </p:cNvPr>
            <p:cNvSpPr txBox="1"/>
            <p:nvPr/>
          </p:nvSpPr>
          <p:spPr>
            <a:xfrm>
              <a:off x="8551986" y="4626200"/>
              <a:ext cx="1148456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SQL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ata Warehouse</a:t>
              </a:r>
            </a:p>
          </p:txBody>
        </p:sp>
        <p:pic>
          <p:nvPicPr>
            <p:cNvPr id="179" name="Picture 178" descr="Data Warehouse">
              <a:extLst>
                <a:ext uri="{FF2B5EF4-FFF2-40B4-BE49-F238E27FC236}">
                  <a16:creationId xmlns:a16="http://schemas.microsoft.com/office/drawing/2014/main" id="{C97B2734-7404-49EA-A0FB-EB5509339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36638" y="3735660"/>
              <a:ext cx="579154" cy="569366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6C448D-4DF8-4D5D-B427-C3F5919E66C7}"/>
              </a:ext>
            </a:extLst>
          </p:cNvPr>
          <p:cNvGrpSpPr/>
          <p:nvPr/>
        </p:nvGrpSpPr>
        <p:grpSpPr>
          <a:xfrm>
            <a:off x="6487463" y="2773642"/>
            <a:ext cx="1923076" cy="2493400"/>
            <a:chOff x="6487463" y="2773642"/>
            <a:chExt cx="1923076" cy="2493400"/>
          </a:xfrm>
        </p:grpSpPr>
        <p:sp>
          <p:nvSpPr>
            <p:cNvPr id="110" name="Arrow: Chevron 109">
              <a:extLst>
                <a:ext uri="{FF2B5EF4-FFF2-40B4-BE49-F238E27FC236}">
                  <a16:creationId xmlns:a16="http://schemas.microsoft.com/office/drawing/2014/main" id="{FCB03302-9A7E-4C6D-90D9-F33D2533CD8E}"/>
                </a:ext>
              </a:extLst>
            </p:cNvPr>
            <p:cNvSpPr/>
            <p:nvPr/>
          </p:nvSpPr>
          <p:spPr bwMode="auto">
            <a:xfrm>
              <a:off x="6487463" y="2773642"/>
              <a:ext cx="1923076" cy="2493400"/>
            </a:xfrm>
            <a:prstGeom prst="chevron">
              <a:avLst>
                <a:gd name="adj" fmla="val 19837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46257A0-189A-4D8A-9961-7183CFA3E765}"/>
                </a:ext>
              </a:extLst>
            </p:cNvPr>
            <p:cNvSpPr txBox="1"/>
            <p:nvPr/>
          </p:nvSpPr>
          <p:spPr>
            <a:xfrm>
              <a:off x="7235898" y="3060387"/>
              <a:ext cx="42620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051">
                        <a:srgbClr val="0078D4"/>
                      </a:gs>
                      <a:gs pos="15000">
                        <a:srgbClr val="0078D4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Prep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0148CA-2966-4758-8D20-F31DB0005059}"/>
                </a:ext>
              </a:extLst>
            </p:cNvPr>
            <p:cNvSpPr txBox="1"/>
            <p:nvPr/>
          </p:nvSpPr>
          <p:spPr>
            <a:xfrm>
              <a:off x="7081112" y="4626200"/>
              <a:ext cx="735779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Databricks</a:t>
              </a:r>
            </a:p>
          </p:txBody>
        </p:sp>
        <p:pic>
          <p:nvPicPr>
            <p:cNvPr id="180" name="Picture 179" descr=" Databricks">
              <a:extLst>
                <a:ext uri="{FF2B5EF4-FFF2-40B4-BE49-F238E27FC236}">
                  <a16:creationId xmlns:a16="http://schemas.microsoft.com/office/drawing/2014/main" id="{CC38E143-CE3F-45E8-BBC5-332142A98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39709" y="3782242"/>
              <a:ext cx="418584" cy="476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49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D0C13963-9B2E-4092-81BF-C86EB7D03ACC}"/>
              </a:ext>
            </a:extLst>
          </p:cNvPr>
          <p:cNvSpPr txBox="1">
            <a:spLocks/>
          </p:cNvSpPr>
          <p:nvPr/>
        </p:nvSpPr>
        <p:spPr>
          <a:xfrm>
            <a:off x="418643" y="554119"/>
            <a:ext cx="11354714" cy="614823"/>
          </a:xfrm>
          <a:prstGeom prst="rect">
            <a:avLst/>
          </a:prstGeom>
        </p:spPr>
        <p:txBody>
          <a:bodyPr/>
          <a:lstStyle>
            <a:lvl1pPr algn="l" defTabSz="91436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3200" b="0" kern="1200" cap="none" spc="-49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Microsoft Azure is the only cloud provider to unify AI, BI, and Analytics creating accelerated time-to-insight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05E506-DA48-40A4-BED9-58C5C7F50A1D}"/>
              </a:ext>
            </a:extLst>
          </p:cNvPr>
          <p:cNvGrpSpPr/>
          <p:nvPr/>
        </p:nvGrpSpPr>
        <p:grpSpPr>
          <a:xfrm>
            <a:off x="4146790" y="2440853"/>
            <a:ext cx="3903646" cy="1485893"/>
            <a:chOff x="1621490" y="2508304"/>
            <a:chExt cx="8802663" cy="3350666"/>
          </a:xfrm>
          <a:noFill/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A5D2AF7-5DED-44D0-A470-CF4EF3267A31}"/>
                </a:ext>
              </a:extLst>
            </p:cNvPr>
            <p:cNvSpPr/>
            <p:nvPr/>
          </p:nvSpPr>
          <p:spPr bwMode="auto">
            <a:xfrm>
              <a:off x="1621490" y="2508304"/>
              <a:ext cx="5461298" cy="3350666"/>
            </a:xfrm>
            <a:custGeom>
              <a:avLst/>
              <a:gdLst>
                <a:gd name="connsiteX0" fmla="*/ 0 w 5461298"/>
                <a:gd name="connsiteY0" fmla="*/ 0 h 3350666"/>
                <a:gd name="connsiteX1" fmla="*/ 4328154 w 5461298"/>
                <a:gd name="connsiteY1" fmla="*/ 0 h 3350666"/>
                <a:gd name="connsiteX2" fmla="*/ 4328154 w 5461298"/>
                <a:gd name="connsiteY2" fmla="*/ 1522766 h 3350666"/>
                <a:gd name="connsiteX3" fmla="*/ 4350139 w 5461298"/>
                <a:gd name="connsiteY3" fmla="*/ 1530424 h 3350666"/>
                <a:gd name="connsiteX4" fmla="*/ 4395493 w 5461298"/>
                <a:gd name="connsiteY4" fmla="*/ 1530424 h 3350666"/>
                <a:gd name="connsiteX5" fmla="*/ 4418169 w 5461298"/>
                <a:gd name="connsiteY5" fmla="*/ 1530424 h 3350666"/>
                <a:gd name="connsiteX6" fmla="*/ 4576906 w 5461298"/>
                <a:gd name="connsiteY6" fmla="*/ 1417207 h 3350666"/>
                <a:gd name="connsiteX7" fmla="*/ 4962411 w 5461298"/>
                <a:gd name="connsiteY7" fmla="*/ 1213417 h 3350666"/>
                <a:gd name="connsiteX8" fmla="*/ 5461298 w 5461298"/>
                <a:gd name="connsiteY8" fmla="*/ 1756858 h 3350666"/>
                <a:gd name="connsiteX9" fmla="*/ 4962411 w 5461298"/>
                <a:gd name="connsiteY9" fmla="*/ 2300298 h 3350666"/>
                <a:gd name="connsiteX10" fmla="*/ 4576906 w 5461298"/>
                <a:gd name="connsiteY10" fmla="*/ 2096509 h 3350666"/>
                <a:gd name="connsiteX11" fmla="*/ 4395493 w 5461298"/>
                <a:gd name="connsiteY11" fmla="*/ 2005935 h 3350666"/>
                <a:gd name="connsiteX12" fmla="*/ 4328154 w 5461298"/>
                <a:gd name="connsiteY12" fmla="*/ 2005935 h 3350666"/>
                <a:gd name="connsiteX13" fmla="*/ 4328154 w 5461298"/>
                <a:gd name="connsiteY13" fmla="*/ 3350666 h 3350666"/>
                <a:gd name="connsiteX14" fmla="*/ 0 w 5461298"/>
                <a:gd name="connsiteY14" fmla="*/ 3350666 h 33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61298" h="3350666">
                  <a:moveTo>
                    <a:pt x="0" y="0"/>
                  </a:moveTo>
                  <a:lnTo>
                    <a:pt x="4328154" y="0"/>
                  </a:lnTo>
                  <a:lnTo>
                    <a:pt x="4328154" y="1522766"/>
                  </a:lnTo>
                  <a:lnTo>
                    <a:pt x="4350139" y="1530424"/>
                  </a:lnTo>
                  <a:cubicBezTo>
                    <a:pt x="4350139" y="1530424"/>
                    <a:pt x="4395493" y="1530424"/>
                    <a:pt x="4395493" y="1530424"/>
                  </a:cubicBezTo>
                  <a:cubicBezTo>
                    <a:pt x="4395493" y="1530424"/>
                    <a:pt x="4395493" y="1530424"/>
                    <a:pt x="4418169" y="1530424"/>
                  </a:cubicBezTo>
                  <a:cubicBezTo>
                    <a:pt x="4486199" y="1530424"/>
                    <a:pt x="4576906" y="1417207"/>
                    <a:pt x="4576906" y="1417207"/>
                  </a:cubicBezTo>
                  <a:cubicBezTo>
                    <a:pt x="4667612" y="1281347"/>
                    <a:pt x="4803673" y="1213417"/>
                    <a:pt x="4962411" y="1213417"/>
                  </a:cubicBezTo>
                  <a:cubicBezTo>
                    <a:pt x="5234530" y="1213417"/>
                    <a:pt x="5461298" y="1462494"/>
                    <a:pt x="5461298" y="1756858"/>
                  </a:cubicBezTo>
                  <a:cubicBezTo>
                    <a:pt x="5461298" y="2051221"/>
                    <a:pt x="5234530" y="2300298"/>
                    <a:pt x="4962411" y="2300298"/>
                  </a:cubicBezTo>
                  <a:cubicBezTo>
                    <a:pt x="4803673" y="2300298"/>
                    <a:pt x="4667612" y="2232369"/>
                    <a:pt x="4576906" y="2096509"/>
                  </a:cubicBezTo>
                  <a:cubicBezTo>
                    <a:pt x="4531552" y="2073866"/>
                    <a:pt x="4463522" y="2005935"/>
                    <a:pt x="4395493" y="2005935"/>
                  </a:cubicBezTo>
                  <a:lnTo>
                    <a:pt x="4328154" y="2005935"/>
                  </a:lnTo>
                  <a:lnTo>
                    <a:pt x="4328154" y="3350666"/>
                  </a:lnTo>
                  <a:lnTo>
                    <a:pt x="0" y="3350666"/>
                  </a:lnTo>
                  <a:close/>
                </a:path>
              </a:pathLst>
            </a:custGeom>
            <a:grpFill/>
            <a:ln w="12700" cap="rnd">
              <a:noFill/>
              <a:miter lim="800000"/>
              <a:headEnd/>
              <a:tailEnd/>
            </a:ln>
            <a:effectLst>
              <a:outerShdw blurRad="254000" algn="tl" rotWithShape="0">
                <a:srgbClr val="0078D4">
                  <a:alpha val="70000"/>
                </a:srgb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24F9FEA-CBE0-4692-ADFC-B864C60BF05C}"/>
                </a:ext>
              </a:extLst>
            </p:cNvPr>
            <p:cNvSpPr/>
            <p:nvPr/>
          </p:nvSpPr>
          <p:spPr bwMode="auto">
            <a:xfrm>
              <a:off x="6095999" y="2508304"/>
              <a:ext cx="4328154" cy="3350666"/>
            </a:xfrm>
            <a:custGeom>
              <a:avLst/>
              <a:gdLst>
                <a:gd name="connsiteX0" fmla="*/ 0 w 4328154"/>
                <a:gd name="connsiteY0" fmla="*/ 0 h 3350666"/>
                <a:gd name="connsiteX1" fmla="*/ 4328154 w 4328154"/>
                <a:gd name="connsiteY1" fmla="*/ 0 h 3350666"/>
                <a:gd name="connsiteX2" fmla="*/ 4328154 w 4328154"/>
                <a:gd name="connsiteY2" fmla="*/ 3350666 h 3350666"/>
                <a:gd name="connsiteX3" fmla="*/ 0 w 4328154"/>
                <a:gd name="connsiteY3" fmla="*/ 3350666 h 3350666"/>
                <a:gd name="connsiteX4" fmla="*/ 0 w 4328154"/>
                <a:gd name="connsiteY4" fmla="*/ 2133297 h 3350666"/>
                <a:gd name="connsiteX5" fmla="*/ 27743 w 4328154"/>
                <a:gd name="connsiteY5" fmla="*/ 2150642 h 3350666"/>
                <a:gd name="connsiteX6" fmla="*/ 483435 w 4328154"/>
                <a:gd name="connsiteY6" fmla="*/ 2391535 h 3350666"/>
                <a:gd name="connsiteX7" fmla="*/ 1073154 w 4328154"/>
                <a:gd name="connsiteY7" fmla="*/ 1749152 h 3350666"/>
                <a:gd name="connsiteX8" fmla="*/ 483435 w 4328154"/>
                <a:gd name="connsiteY8" fmla="*/ 1106769 h 3350666"/>
                <a:gd name="connsiteX9" fmla="*/ 27743 w 4328154"/>
                <a:gd name="connsiteY9" fmla="*/ 1347662 h 3350666"/>
                <a:gd name="connsiteX10" fmla="*/ 9733 w 4328154"/>
                <a:gd name="connsiteY10" fmla="*/ 1368573 h 3350666"/>
                <a:gd name="connsiteX11" fmla="*/ 0 w 4328154"/>
                <a:gd name="connsiteY11" fmla="*/ 1378381 h 33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28154" h="3350666">
                  <a:moveTo>
                    <a:pt x="0" y="0"/>
                  </a:moveTo>
                  <a:lnTo>
                    <a:pt x="4328154" y="0"/>
                  </a:lnTo>
                  <a:lnTo>
                    <a:pt x="4328154" y="3350666"/>
                  </a:lnTo>
                  <a:lnTo>
                    <a:pt x="0" y="3350666"/>
                  </a:lnTo>
                  <a:lnTo>
                    <a:pt x="0" y="2133297"/>
                  </a:lnTo>
                  <a:lnTo>
                    <a:pt x="27743" y="2150642"/>
                  </a:lnTo>
                  <a:cubicBezTo>
                    <a:pt x="134964" y="2311238"/>
                    <a:pt x="295797" y="2391535"/>
                    <a:pt x="483435" y="2391535"/>
                  </a:cubicBezTo>
                  <a:cubicBezTo>
                    <a:pt x="805099" y="2391535"/>
                    <a:pt x="1073154" y="2097109"/>
                    <a:pt x="1073154" y="1749152"/>
                  </a:cubicBezTo>
                  <a:cubicBezTo>
                    <a:pt x="1073154" y="1401195"/>
                    <a:pt x="805099" y="1106769"/>
                    <a:pt x="483435" y="1106769"/>
                  </a:cubicBezTo>
                  <a:cubicBezTo>
                    <a:pt x="295797" y="1106769"/>
                    <a:pt x="134964" y="1187066"/>
                    <a:pt x="27743" y="1347662"/>
                  </a:cubicBezTo>
                  <a:cubicBezTo>
                    <a:pt x="27743" y="1347662"/>
                    <a:pt x="21041" y="1356027"/>
                    <a:pt x="9733" y="1368573"/>
                  </a:cubicBezTo>
                  <a:lnTo>
                    <a:pt x="0" y="1378381"/>
                  </a:lnTo>
                  <a:close/>
                </a:path>
              </a:pathLst>
            </a:custGeom>
            <a:grpFill/>
            <a:ln w="12700" cap="rnd">
              <a:noFill/>
              <a:miter lim="800000"/>
              <a:headEnd/>
              <a:tailEnd/>
            </a:ln>
            <a:effectLst>
              <a:outerShdw blurRad="254000" algn="tl" rotWithShape="0">
                <a:srgbClr val="0078D4">
                  <a:alpha val="70000"/>
                </a:srgb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8" name="1">
            <a:extLst>
              <a:ext uri="{FF2B5EF4-FFF2-40B4-BE49-F238E27FC236}">
                <a16:creationId xmlns:a16="http://schemas.microsoft.com/office/drawing/2014/main" id="{E254E0BE-D346-45B8-87C4-44984A46C78A}"/>
              </a:ext>
            </a:extLst>
          </p:cNvPr>
          <p:cNvSpPr/>
          <p:nvPr/>
        </p:nvSpPr>
        <p:spPr bwMode="auto">
          <a:xfrm>
            <a:off x="2475819" y="1980534"/>
            <a:ext cx="7507224" cy="2500621"/>
          </a:xfrm>
          <a:prstGeom prst="rect">
            <a:avLst/>
          </a:prstGeom>
          <a:solidFill>
            <a:schemeClr val="bg2"/>
          </a:solidFill>
          <a:ln w="12700" cap="rnd">
            <a:solidFill>
              <a:srgbClr val="000000"/>
            </a:solidFill>
            <a:miter lim="800000"/>
            <a:headEnd/>
            <a:tailEnd/>
          </a:ln>
          <a:effectLst>
            <a:outerShdw blurRad="254000" algn="tl" rotWithShape="0">
              <a:srgbClr val="0078D4">
                <a:alpha val="70000"/>
              </a:srgbClr>
            </a:outerShdw>
          </a:effectLst>
        </p:spPr>
        <p:txBody>
          <a:bodyPr wrap="none" rtlCol="0" anchor="t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Segoe UI Semibold"/>
              <a:cs typeface="Segoe UI" panose="020B0502040204020203" pitchFamily="34" charset="0"/>
            </a:endParaRPr>
          </a:p>
          <a:p>
            <a:pPr algn="ctr">
              <a:defRPr/>
            </a:pPr>
            <a:endParaRPr lang="en-US">
              <a:solidFill>
                <a:srgbClr val="FFFFFF"/>
              </a:solidFill>
              <a:latin typeface="Segoe UI Semibold"/>
              <a:cs typeface="Segoe UI" panose="020B0502040204020203" pitchFamily="34" charset="0"/>
            </a:endParaRPr>
          </a:p>
        </p:txBody>
      </p:sp>
      <p:sp>
        <p:nvSpPr>
          <p:cNvPr id="9" name="4">
            <a:extLst>
              <a:ext uri="{FF2B5EF4-FFF2-40B4-BE49-F238E27FC236}">
                <a16:creationId xmlns:a16="http://schemas.microsoft.com/office/drawing/2014/main" id="{AF92CBA2-50D1-4DC9-A1F6-36422D7081C9}"/>
              </a:ext>
            </a:extLst>
          </p:cNvPr>
          <p:cNvSpPr/>
          <p:nvPr/>
        </p:nvSpPr>
        <p:spPr bwMode="auto">
          <a:xfrm>
            <a:off x="2475817" y="4475085"/>
            <a:ext cx="7507224" cy="1616271"/>
          </a:xfrm>
          <a:prstGeom prst="rect">
            <a:avLst/>
          </a:prstGeom>
          <a:solidFill>
            <a:schemeClr val="tx2"/>
          </a:solidFill>
          <a:ln w="12700" cap="rnd">
            <a:solidFill>
              <a:srgbClr val="000000"/>
            </a:solidFill>
            <a:miter lim="800000"/>
            <a:headEnd/>
            <a:tailEnd/>
          </a:ln>
          <a:effectLst>
            <a:outerShdw blurRad="254000" algn="tl" rotWithShape="0">
              <a:srgbClr val="0078D4">
                <a:alpha val="70000"/>
              </a:srgbClr>
            </a:outerShdw>
          </a:effectLst>
        </p:spPr>
        <p:txBody>
          <a:bodyPr wrap="none" rtlCol="0" anchor="t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Segoe UI Semibold"/>
              <a:cs typeface="Segoe UI" panose="020B0502040204020203" pitchFamily="34" charset="0"/>
            </a:endParaRPr>
          </a:p>
          <a:p>
            <a:pPr algn="ctr">
              <a:defRPr/>
            </a:pPr>
            <a:endParaRPr lang="en-US">
              <a:solidFill>
                <a:srgbClr val="FFFFFF"/>
              </a:solidFill>
              <a:latin typeface="Segoe UI Semibold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26B8509-06F7-4E07-B68B-3493D2F846B6}"/>
              </a:ext>
            </a:extLst>
          </p:cNvPr>
          <p:cNvGrpSpPr/>
          <p:nvPr/>
        </p:nvGrpSpPr>
        <p:grpSpPr>
          <a:xfrm>
            <a:off x="217150" y="2689796"/>
            <a:ext cx="2465350" cy="2384106"/>
            <a:chOff x="866362" y="2689796"/>
            <a:chExt cx="2880083" cy="23841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E65129F-9A3E-41A9-87C4-F62C05764D80}"/>
                </a:ext>
              </a:extLst>
            </p:cNvPr>
            <p:cNvSpPr/>
            <p:nvPr/>
          </p:nvSpPr>
          <p:spPr bwMode="auto">
            <a:xfrm>
              <a:off x="1606104" y="3331670"/>
              <a:ext cx="1680164" cy="4584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Cloud data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6D4FD1C-57AB-4154-A641-265F5DC4116A}"/>
                </a:ext>
              </a:extLst>
            </p:cNvPr>
            <p:cNvSpPr/>
            <p:nvPr/>
          </p:nvSpPr>
          <p:spPr bwMode="auto">
            <a:xfrm>
              <a:off x="1606105" y="4615417"/>
              <a:ext cx="1680162" cy="4584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SaaS data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580748F-3D2B-42BD-97BC-8282DCF5ED00}"/>
                </a:ext>
              </a:extLst>
            </p:cNvPr>
            <p:cNvSpPr/>
            <p:nvPr/>
          </p:nvSpPr>
          <p:spPr bwMode="auto">
            <a:xfrm>
              <a:off x="866362" y="2689796"/>
              <a:ext cx="2419906" cy="4584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On-premises data</a:t>
              </a:r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CD506863-7CBD-4C95-8335-4091673F4394}"/>
                </a:ext>
              </a:extLst>
            </p:cNvPr>
            <p:cNvSpPr/>
            <p:nvPr/>
          </p:nvSpPr>
          <p:spPr bwMode="auto">
            <a:xfrm rot="5400000">
              <a:off x="2263483" y="3809029"/>
              <a:ext cx="1905174" cy="145640"/>
            </a:xfrm>
            <a:custGeom>
              <a:avLst/>
              <a:gdLst>
                <a:gd name="connsiteX0" fmla="*/ 0 w 510540"/>
                <a:gd name="connsiteY0" fmla="*/ 0 h 4404360"/>
                <a:gd name="connsiteX1" fmla="*/ 510540 w 510540"/>
                <a:gd name="connsiteY1" fmla="*/ 0 h 4404360"/>
                <a:gd name="connsiteX2" fmla="*/ 510540 w 510540"/>
                <a:gd name="connsiteY2" fmla="*/ 4404360 h 4404360"/>
                <a:gd name="connsiteX3" fmla="*/ 0 w 510540"/>
                <a:gd name="connsiteY3" fmla="*/ 4404360 h 4404360"/>
                <a:gd name="connsiteX4" fmla="*/ 0 w 510540"/>
                <a:gd name="connsiteY4" fmla="*/ 0 h 4404360"/>
                <a:gd name="connsiteX0" fmla="*/ 0 w 510540"/>
                <a:gd name="connsiteY0" fmla="*/ 4404360 h 4495800"/>
                <a:gd name="connsiteX1" fmla="*/ 0 w 510540"/>
                <a:gd name="connsiteY1" fmla="*/ 0 h 4495800"/>
                <a:gd name="connsiteX2" fmla="*/ 510540 w 510540"/>
                <a:gd name="connsiteY2" fmla="*/ 0 h 4495800"/>
                <a:gd name="connsiteX3" fmla="*/ 510540 w 510540"/>
                <a:gd name="connsiteY3" fmla="*/ 4404360 h 4495800"/>
                <a:gd name="connsiteX4" fmla="*/ 91440 w 510540"/>
                <a:gd name="connsiteY4" fmla="*/ 4495800 h 4495800"/>
                <a:gd name="connsiteX0" fmla="*/ 0 w 510540"/>
                <a:gd name="connsiteY0" fmla="*/ 4404360 h 4404360"/>
                <a:gd name="connsiteX1" fmla="*/ 0 w 510540"/>
                <a:gd name="connsiteY1" fmla="*/ 0 h 4404360"/>
                <a:gd name="connsiteX2" fmla="*/ 510540 w 510540"/>
                <a:gd name="connsiteY2" fmla="*/ 0 h 4404360"/>
                <a:gd name="connsiteX3" fmla="*/ 510540 w 510540"/>
                <a:gd name="connsiteY3" fmla="*/ 4404360 h 4404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540" h="4404360">
                  <a:moveTo>
                    <a:pt x="0" y="4404360"/>
                  </a:moveTo>
                  <a:lnTo>
                    <a:pt x="0" y="0"/>
                  </a:lnTo>
                  <a:lnTo>
                    <a:pt x="510540" y="0"/>
                  </a:lnTo>
                  <a:lnTo>
                    <a:pt x="510540" y="440436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7BF5044-FF0E-4E02-B87B-6365209D2C0E}"/>
                </a:ext>
              </a:extLst>
            </p:cNvPr>
            <p:cNvCxnSpPr>
              <a:cxnSpLocks/>
            </p:cNvCxnSpPr>
            <p:nvPr/>
          </p:nvCxnSpPr>
          <p:spPr>
            <a:xfrm>
              <a:off x="3278981" y="3881849"/>
              <a:ext cx="467464" cy="0"/>
            </a:xfrm>
            <a:prstGeom prst="lin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16" name="Rectangle 20">
              <a:extLst>
                <a:ext uri="{FF2B5EF4-FFF2-40B4-BE49-F238E27FC236}">
                  <a16:creationId xmlns:a16="http://schemas.microsoft.com/office/drawing/2014/main" id="{9F85D27B-1DC3-4558-9F4B-C561C6CA0272}"/>
                </a:ext>
              </a:extLst>
            </p:cNvPr>
            <p:cNvSpPr/>
            <p:nvPr/>
          </p:nvSpPr>
          <p:spPr bwMode="auto">
            <a:xfrm rot="8100000">
              <a:off x="3625880" y="3838800"/>
              <a:ext cx="101924" cy="101924"/>
            </a:xfrm>
            <a:custGeom>
              <a:avLst/>
              <a:gdLst>
                <a:gd name="connsiteX0" fmla="*/ 0 w 485775"/>
                <a:gd name="connsiteY0" fmla="*/ 0 h 485775"/>
                <a:gd name="connsiteX1" fmla="*/ 485775 w 485775"/>
                <a:gd name="connsiteY1" fmla="*/ 0 h 485775"/>
                <a:gd name="connsiteX2" fmla="*/ 485775 w 485775"/>
                <a:gd name="connsiteY2" fmla="*/ 485775 h 485775"/>
                <a:gd name="connsiteX3" fmla="*/ 0 w 485775"/>
                <a:gd name="connsiteY3" fmla="*/ 485775 h 485775"/>
                <a:gd name="connsiteX4" fmla="*/ 0 w 485775"/>
                <a:gd name="connsiteY4" fmla="*/ 0 h 485775"/>
                <a:gd name="connsiteX0" fmla="*/ 485775 w 577215"/>
                <a:gd name="connsiteY0" fmla="*/ 485775 h 577215"/>
                <a:gd name="connsiteX1" fmla="*/ 0 w 577215"/>
                <a:gd name="connsiteY1" fmla="*/ 485775 h 577215"/>
                <a:gd name="connsiteX2" fmla="*/ 0 w 577215"/>
                <a:gd name="connsiteY2" fmla="*/ 0 h 577215"/>
                <a:gd name="connsiteX3" fmla="*/ 485775 w 577215"/>
                <a:gd name="connsiteY3" fmla="*/ 0 h 577215"/>
                <a:gd name="connsiteX4" fmla="*/ 577215 w 577215"/>
                <a:gd name="connsiteY4" fmla="*/ 577215 h 577215"/>
                <a:gd name="connsiteX0" fmla="*/ 485775 w 485775"/>
                <a:gd name="connsiteY0" fmla="*/ 485775 h 485775"/>
                <a:gd name="connsiteX1" fmla="*/ 0 w 485775"/>
                <a:gd name="connsiteY1" fmla="*/ 485775 h 485775"/>
                <a:gd name="connsiteX2" fmla="*/ 0 w 485775"/>
                <a:gd name="connsiteY2" fmla="*/ 0 h 485775"/>
                <a:gd name="connsiteX3" fmla="*/ 485775 w 485775"/>
                <a:gd name="connsiteY3" fmla="*/ 0 h 485775"/>
                <a:gd name="connsiteX0" fmla="*/ 0 w 485775"/>
                <a:gd name="connsiteY0" fmla="*/ 485775 h 485775"/>
                <a:gd name="connsiteX1" fmla="*/ 0 w 485775"/>
                <a:gd name="connsiteY1" fmla="*/ 0 h 485775"/>
                <a:gd name="connsiteX2" fmla="*/ 485775 w 485775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5775" h="485775">
                  <a:moveTo>
                    <a:pt x="0" y="485775"/>
                  </a:moveTo>
                  <a:lnTo>
                    <a:pt x="0" y="0"/>
                  </a:lnTo>
                  <a:lnTo>
                    <a:pt x="485775" y="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D6F66F0-A674-4940-91CF-6081DCAEE4F2}"/>
                </a:ext>
              </a:extLst>
            </p:cNvPr>
            <p:cNvSpPr/>
            <p:nvPr/>
          </p:nvSpPr>
          <p:spPr bwMode="auto">
            <a:xfrm>
              <a:off x="1435655" y="3973544"/>
              <a:ext cx="1850612" cy="4584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/>
                  <a:ea typeface="+mn-ea"/>
                  <a:cs typeface="Segoe UI" pitchFamily="34" charset="0"/>
                </a:rPr>
                <a:t>Devices data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824A97F-DA22-4D21-A989-22543FACF985}"/>
                </a:ext>
              </a:extLst>
            </p:cNvPr>
            <p:cNvGrpSpPr/>
            <p:nvPr/>
          </p:nvGrpSpPr>
          <p:grpSpPr>
            <a:xfrm>
              <a:off x="3157538" y="3560912"/>
              <a:ext cx="134937" cy="641874"/>
              <a:chOff x="3157538" y="3560912"/>
              <a:chExt cx="117419" cy="641874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3FEA8628-6CBE-470C-99C8-BB3729E76C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7538" y="3560912"/>
                <a:ext cx="117419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51EBC94E-297B-477B-94A8-345B9D4783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7538" y="4202786"/>
                <a:ext cx="117419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7F7B9134-DCC9-4AD5-8728-E19280CA92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37809" y="5136447"/>
            <a:ext cx="491319" cy="49131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1E54DBE-C693-4FAA-B0E2-E84044CD8E55}"/>
              </a:ext>
            </a:extLst>
          </p:cNvPr>
          <p:cNvSpPr/>
          <p:nvPr/>
        </p:nvSpPr>
        <p:spPr bwMode="auto">
          <a:xfrm>
            <a:off x="5361808" y="5188820"/>
            <a:ext cx="2546252" cy="378565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MS PGothic" panose="020B0600070205080204" pitchFamily="34" charset="-128"/>
                <a:cs typeface="Segoe UI" panose="020B0502040204020203" pitchFamily="34" charset="0"/>
              </a:rPr>
              <a:t>Azure Data Lake Storage</a:t>
            </a:r>
          </a:p>
        </p:txBody>
      </p:sp>
      <p:sp>
        <p:nvSpPr>
          <p:cNvPr id="23" name="Synapse Analytics">
            <a:extLst>
              <a:ext uri="{FF2B5EF4-FFF2-40B4-BE49-F238E27FC236}">
                <a16:creationId xmlns:a16="http://schemas.microsoft.com/office/drawing/2014/main" id="{3AC5F7A6-313F-47F3-B3A6-4E598B745DD3}"/>
              </a:ext>
            </a:extLst>
          </p:cNvPr>
          <p:cNvSpPr txBox="1"/>
          <p:nvPr/>
        </p:nvSpPr>
        <p:spPr>
          <a:xfrm>
            <a:off x="4790919" y="3920567"/>
            <a:ext cx="2800703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R="0" lvl="0" indent="0" algn="r" defTabSz="9327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kumimoji="0" sz="2200" b="0" i="0" u="none" strike="noStrike" cap="none" spc="0" normalizeH="0" baseline="0">
                <a:ln>
                  <a:noFill/>
                </a:ln>
                <a:gradFill>
                  <a:gsLst>
                    <a:gs pos="2913">
                      <a:srgbClr val="FFFFFF"/>
                    </a:gs>
                    <a:gs pos="24272">
                      <a:srgbClr val="FFFFFF"/>
                    </a:gs>
                  </a:gsLst>
                  <a:path path="shape">
                    <a:fillToRect l="50000" t="50000" r="50000" b="50000"/>
                  </a:path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228600" marR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457200" marR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661988" marR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855663" marR="0" indent="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defRPr/>
            </a:pPr>
            <a:r>
              <a:rPr lang="en-US" sz="2000">
                <a:solidFill>
                  <a:schemeClr val="tx1"/>
                </a:solidFill>
                <a:latin typeface="Segoe UI Semibold"/>
                <a:cs typeface="Segoe UI" panose="020B0502040204020203" pitchFamily="34" charset="0"/>
              </a:rPr>
              <a:t>Azure Synapse Analytics</a:t>
            </a:r>
          </a:p>
        </p:txBody>
      </p:sp>
      <p:sp>
        <p:nvSpPr>
          <p:cNvPr id="24" name="Store">
            <a:extLst>
              <a:ext uri="{FF2B5EF4-FFF2-40B4-BE49-F238E27FC236}">
                <a16:creationId xmlns:a16="http://schemas.microsoft.com/office/drawing/2014/main" id="{797E9F7D-CE46-4D33-9C53-521AA0B59E5F}"/>
              </a:ext>
            </a:extLst>
          </p:cNvPr>
          <p:cNvSpPr/>
          <p:nvPr/>
        </p:nvSpPr>
        <p:spPr>
          <a:xfrm>
            <a:off x="5453703" y="4554635"/>
            <a:ext cx="1564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90000"/>
                    <a:lumOff val="10000"/>
                  </a:schemeClr>
                </a:solidFill>
                <a:effectLst/>
                <a:uLnTx/>
                <a:uFillTx/>
                <a:latin typeface="Segoe UI Semibold"/>
                <a:cs typeface="Segoe UI" panose="020B0502040204020203" pitchFamily="34" charset="0"/>
              </a:rPr>
              <a:t>Unified Store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accent3">
                  <a:lumMod val="90000"/>
                  <a:lumOff val="10000"/>
                </a:schemeClr>
              </a:solidFill>
              <a:effectLst/>
              <a:uLnTx/>
              <a:uFillTx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BF56A7A-2F36-472D-BFA3-A35D7A9E5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678895" y="3385172"/>
            <a:ext cx="578615" cy="101924"/>
            <a:chOff x="9734668" y="3830887"/>
            <a:chExt cx="578615" cy="101924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EFC79AA-DD41-4CCA-A707-0FE72D5351F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4668" y="3881849"/>
              <a:ext cx="578615" cy="0"/>
            </a:xfrm>
            <a:prstGeom prst="lin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27" name="Rectangle 20">
              <a:extLst>
                <a:ext uri="{FF2B5EF4-FFF2-40B4-BE49-F238E27FC236}">
                  <a16:creationId xmlns:a16="http://schemas.microsoft.com/office/drawing/2014/main" id="{A2BAC051-04CE-4E5F-8BE8-BCAFEFA32685}"/>
                </a:ext>
              </a:extLst>
            </p:cNvPr>
            <p:cNvSpPr/>
            <p:nvPr/>
          </p:nvSpPr>
          <p:spPr bwMode="auto">
            <a:xfrm rot="18900000" flipH="1" flipV="1">
              <a:off x="10196598" y="3830887"/>
              <a:ext cx="101924" cy="101924"/>
            </a:xfrm>
            <a:custGeom>
              <a:avLst/>
              <a:gdLst>
                <a:gd name="connsiteX0" fmla="*/ 0 w 485775"/>
                <a:gd name="connsiteY0" fmla="*/ 0 h 485775"/>
                <a:gd name="connsiteX1" fmla="*/ 485775 w 485775"/>
                <a:gd name="connsiteY1" fmla="*/ 0 h 485775"/>
                <a:gd name="connsiteX2" fmla="*/ 485775 w 485775"/>
                <a:gd name="connsiteY2" fmla="*/ 485775 h 485775"/>
                <a:gd name="connsiteX3" fmla="*/ 0 w 485775"/>
                <a:gd name="connsiteY3" fmla="*/ 485775 h 485775"/>
                <a:gd name="connsiteX4" fmla="*/ 0 w 485775"/>
                <a:gd name="connsiteY4" fmla="*/ 0 h 485775"/>
                <a:gd name="connsiteX0" fmla="*/ 485775 w 577215"/>
                <a:gd name="connsiteY0" fmla="*/ 485775 h 577215"/>
                <a:gd name="connsiteX1" fmla="*/ 0 w 577215"/>
                <a:gd name="connsiteY1" fmla="*/ 485775 h 577215"/>
                <a:gd name="connsiteX2" fmla="*/ 0 w 577215"/>
                <a:gd name="connsiteY2" fmla="*/ 0 h 577215"/>
                <a:gd name="connsiteX3" fmla="*/ 485775 w 577215"/>
                <a:gd name="connsiteY3" fmla="*/ 0 h 577215"/>
                <a:gd name="connsiteX4" fmla="*/ 577215 w 577215"/>
                <a:gd name="connsiteY4" fmla="*/ 577215 h 577215"/>
                <a:gd name="connsiteX0" fmla="*/ 485775 w 485775"/>
                <a:gd name="connsiteY0" fmla="*/ 485775 h 485775"/>
                <a:gd name="connsiteX1" fmla="*/ 0 w 485775"/>
                <a:gd name="connsiteY1" fmla="*/ 485775 h 485775"/>
                <a:gd name="connsiteX2" fmla="*/ 0 w 485775"/>
                <a:gd name="connsiteY2" fmla="*/ 0 h 485775"/>
                <a:gd name="connsiteX3" fmla="*/ 485775 w 485775"/>
                <a:gd name="connsiteY3" fmla="*/ 0 h 485775"/>
                <a:gd name="connsiteX0" fmla="*/ 0 w 485775"/>
                <a:gd name="connsiteY0" fmla="*/ 485775 h 485775"/>
                <a:gd name="connsiteX1" fmla="*/ 0 w 485775"/>
                <a:gd name="connsiteY1" fmla="*/ 0 h 485775"/>
                <a:gd name="connsiteX2" fmla="*/ 485775 w 485775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5775" h="485775">
                  <a:moveTo>
                    <a:pt x="0" y="485775"/>
                  </a:moveTo>
                  <a:lnTo>
                    <a:pt x="0" y="0"/>
                  </a:lnTo>
                  <a:lnTo>
                    <a:pt x="485775" y="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28" name="Azure Machine Learning" descr="Azure Machine Learning">
            <a:extLst>
              <a:ext uri="{FF2B5EF4-FFF2-40B4-BE49-F238E27FC236}">
                <a16:creationId xmlns:a16="http://schemas.microsoft.com/office/drawing/2014/main" id="{FB2E3C16-45DC-418C-A955-C4A9FB94C5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68852" y="1757419"/>
            <a:ext cx="515450" cy="515446"/>
          </a:xfrm>
          <a:prstGeom prst="rect">
            <a:avLst/>
          </a:prstGeom>
        </p:spPr>
      </p:pic>
      <p:sp>
        <p:nvSpPr>
          <p:cNvPr id="29" name="empowering world's worker">
            <a:extLst>
              <a:ext uri="{FF2B5EF4-FFF2-40B4-BE49-F238E27FC236}">
                <a16:creationId xmlns:a16="http://schemas.microsoft.com/office/drawing/2014/main" id="{2B3856D3-F581-4CCD-B8B7-FC2E642510A6}"/>
              </a:ext>
            </a:extLst>
          </p:cNvPr>
          <p:cNvSpPr/>
          <p:nvPr/>
        </p:nvSpPr>
        <p:spPr bwMode="auto">
          <a:xfrm>
            <a:off x="10433375" y="2366650"/>
            <a:ext cx="1386405" cy="49244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/>
          <a:p>
            <a:pPr algn="ctr" defTabSz="932742">
              <a:spcBef>
                <a:spcPct val="0"/>
              </a:spcBef>
              <a:defRPr/>
            </a:pPr>
            <a:r>
              <a:rPr lang="en-US" sz="1600" b="1">
                <a:latin typeface="Segoe UI Semibold"/>
                <a:cs typeface="Segoe UI" pitchFamily="34" charset="0"/>
              </a:rPr>
              <a:t>Azure Machine</a:t>
            </a:r>
            <a:br>
              <a:rPr lang="en-US" sz="1600" b="1">
                <a:latin typeface="Segoe UI Semibold"/>
                <a:cs typeface="Segoe UI" pitchFamily="34" charset="0"/>
              </a:rPr>
            </a:br>
            <a:r>
              <a:rPr lang="en-US" sz="1600" b="1">
                <a:latin typeface="Segoe UI Semibold"/>
                <a:cs typeface="Segoe UI" pitchFamily="34" charset="0"/>
              </a:rPr>
              <a:t> Learning 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7FDC1EC-3B1D-4CA1-AD69-FB11163372C6}"/>
              </a:ext>
            </a:extLst>
          </p:cNvPr>
          <p:cNvGrpSpPr/>
          <p:nvPr/>
        </p:nvGrpSpPr>
        <p:grpSpPr>
          <a:xfrm>
            <a:off x="10868155" y="3178251"/>
            <a:ext cx="516844" cy="392642"/>
            <a:chOff x="10632888" y="3546485"/>
            <a:chExt cx="599259" cy="455253"/>
          </a:xfrm>
          <a:solidFill>
            <a:schemeClr val="accent3"/>
          </a:solidFill>
        </p:grpSpPr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4EFDEE20-546D-4A47-90CF-4D081E2B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2888" y="3546485"/>
              <a:ext cx="599259" cy="394862"/>
            </a:xfrm>
            <a:custGeom>
              <a:avLst/>
              <a:gdLst>
                <a:gd name="T0" fmla="*/ 635 w 720"/>
                <a:gd name="T1" fmla="*/ 467 h 467"/>
                <a:gd name="T2" fmla="*/ 620 w 720"/>
                <a:gd name="T3" fmla="*/ 467 h 467"/>
                <a:gd name="T4" fmla="*/ 620 w 720"/>
                <a:gd name="T5" fmla="*/ 438 h 467"/>
                <a:gd name="T6" fmla="*/ 635 w 720"/>
                <a:gd name="T7" fmla="*/ 438 h 467"/>
                <a:gd name="T8" fmla="*/ 691 w 720"/>
                <a:gd name="T9" fmla="*/ 382 h 467"/>
                <a:gd name="T10" fmla="*/ 691 w 720"/>
                <a:gd name="T11" fmla="*/ 85 h 467"/>
                <a:gd name="T12" fmla="*/ 635 w 720"/>
                <a:gd name="T13" fmla="*/ 29 h 467"/>
                <a:gd name="T14" fmla="*/ 85 w 720"/>
                <a:gd name="T15" fmla="*/ 29 h 467"/>
                <a:gd name="T16" fmla="*/ 29 w 720"/>
                <a:gd name="T17" fmla="*/ 85 h 467"/>
                <a:gd name="T18" fmla="*/ 29 w 720"/>
                <a:gd name="T19" fmla="*/ 382 h 467"/>
                <a:gd name="T20" fmla="*/ 85 w 720"/>
                <a:gd name="T21" fmla="*/ 438 h 467"/>
                <a:gd name="T22" fmla="*/ 99 w 720"/>
                <a:gd name="T23" fmla="*/ 438 h 467"/>
                <a:gd name="T24" fmla="*/ 99 w 720"/>
                <a:gd name="T25" fmla="*/ 467 h 467"/>
                <a:gd name="T26" fmla="*/ 85 w 720"/>
                <a:gd name="T27" fmla="*/ 467 h 467"/>
                <a:gd name="T28" fmla="*/ 0 w 720"/>
                <a:gd name="T29" fmla="*/ 382 h 467"/>
                <a:gd name="T30" fmla="*/ 0 w 720"/>
                <a:gd name="T31" fmla="*/ 85 h 467"/>
                <a:gd name="T32" fmla="*/ 85 w 720"/>
                <a:gd name="T33" fmla="*/ 0 h 467"/>
                <a:gd name="T34" fmla="*/ 635 w 720"/>
                <a:gd name="T35" fmla="*/ 0 h 467"/>
                <a:gd name="T36" fmla="*/ 720 w 720"/>
                <a:gd name="T37" fmla="*/ 85 h 467"/>
                <a:gd name="T38" fmla="*/ 720 w 720"/>
                <a:gd name="T39" fmla="*/ 382 h 467"/>
                <a:gd name="T40" fmla="*/ 635 w 720"/>
                <a:gd name="T41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0" h="467">
                  <a:moveTo>
                    <a:pt x="635" y="467"/>
                  </a:moveTo>
                  <a:cubicBezTo>
                    <a:pt x="620" y="467"/>
                    <a:pt x="620" y="467"/>
                    <a:pt x="620" y="467"/>
                  </a:cubicBezTo>
                  <a:cubicBezTo>
                    <a:pt x="620" y="438"/>
                    <a:pt x="620" y="438"/>
                    <a:pt x="620" y="438"/>
                  </a:cubicBezTo>
                  <a:cubicBezTo>
                    <a:pt x="635" y="438"/>
                    <a:pt x="635" y="438"/>
                    <a:pt x="635" y="438"/>
                  </a:cubicBezTo>
                  <a:cubicBezTo>
                    <a:pt x="666" y="438"/>
                    <a:pt x="691" y="413"/>
                    <a:pt x="691" y="382"/>
                  </a:cubicBezTo>
                  <a:cubicBezTo>
                    <a:pt x="691" y="85"/>
                    <a:pt x="691" y="85"/>
                    <a:pt x="691" y="85"/>
                  </a:cubicBezTo>
                  <a:cubicBezTo>
                    <a:pt x="691" y="54"/>
                    <a:pt x="666" y="29"/>
                    <a:pt x="63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54" y="29"/>
                    <a:pt x="29" y="54"/>
                    <a:pt x="29" y="85"/>
                  </a:cubicBezTo>
                  <a:cubicBezTo>
                    <a:pt x="29" y="382"/>
                    <a:pt x="29" y="382"/>
                    <a:pt x="29" y="382"/>
                  </a:cubicBezTo>
                  <a:cubicBezTo>
                    <a:pt x="29" y="413"/>
                    <a:pt x="54" y="438"/>
                    <a:pt x="85" y="438"/>
                  </a:cubicBezTo>
                  <a:cubicBezTo>
                    <a:pt x="99" y="438"/>
                    <a:pt x="99" y="438"/>
                    <a:pt x="99" y="438"/>
                  </a:cubicBezTo>
                  <a:cubicBezTo>
                    <a:pt x="99" y="467"/>
                    <a:pt x="99" y="467"/>
                    <a:pt x="99" y="467"/>
                  </a:cubicBezTo>
                  <a:cubicBezTo>
                    <a:pt x="85" y="467"/>
                    <a:pt x="85" y="467"/>
                    <a:pt x="85" y="467"/>
                  </a:cubicBezTo>
                  <a:cubicBezTo>
                    <a:pt x="38" y="467"/>
                    <a:pt x="0" y="429"/>
                    <a:pt x="0" y="3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635" y="0"/>
                    <a:pt x="635" y="0"/>
                    <a:pt x="635" y="0"/>
                  </a:cubicBezTo>
                  <a:cubicBezTo>
                    <a:pt x="682" y="0"/>
                    <a:pt x="720" y="38"/>
                    <a:pt x="720" y="85"/>
                  </a:cubicBezTo>
                  <a:cubicBezTo>
                    <a:pt x="720" y="382"/>
                    <a:pt x="720" y="382"/>
                    <a:pt x="720" y="382"/>
                  </a:cubicBezTo>
                  <a:cubicBezTo>
                    <a:pt x="720" y="429"/>
                    <a:pt x="682" y="467"/>
                    <a:pt x="635" y="46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DDB7F8C3-44E4-4C5D-987D-0649A7A70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44378" y="3860052"/>
              <a:ext cx="65036" cy="141686"/>
            </a:xfrm>
            <a:custGeom>
              <a:avLst/>
              <a:gdLst>
                <a:gd name="T0" fmla="*/ 40 w 79"/>
                <a:gd name="T1" fmla="*/ 169 h 169"/>
                <a:gd name="T2" fmla="*/ 0 w 79"/>
                <a:gd name="T3" fmla="*/ 130 h 169"/>
                <a:gd name="T4" fmla="*/ 0 w 79"/>
                <a:gd name="T5" fmla="*/ 39 h 169"/>
                <a:gd name="T6" fmla="*/ 40 w 79"/>
                <a:gd name="T7" fmla="*/ 0 h 169"/>
                <a:gd name="T8" fmla="*/ 40 w 79"/>
                <a:gd name="T9" fmla="*/ 0 h 169"/>
                <a:gd name="T10" fmla="*/ 79 w 79"/>
                <a:gd name="T11" fmla="*/ 39 h 169"/>
                <a:gd name="T12" fmla="*/ 79 w 79"/>
                <a:gd name="T13" fmla="*/ 130 h 169"/>
                <a:gd name="T14" fmla="*/ 40 w 79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169">
                  <a:moveTo>
                    <a:pt x="40" y="169"/>
                  </a:moveTo>
                  <a:cubicBezTo>
                    <a:pt x="18" y="169"/>
                    <a:pt x="0" y="152"/>
                    <a:pt x="0" y="13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8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2" y="0"/>
                    <a:pt x="79" y="17"/>
                    <a:pt x="79" y="39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52"/>
                    <a:pt x="62" y="169"/>
                    <a:pt x="40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A7589975-4AB0-4D73-962F-B86AC1F04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6577" y="3739271"/>
              <a:ext cx="67359" cy="262467"/>
            </a:xfrm>
            <a:custGeom>
              <a:avLst/>
              <a:gdLst>
                <a:gd name="T0" fmla="*/ 40 w 79"/>
                <a:gd name="T1" fmla="*/ 312 h 312"/>
                <a:gd name="T2" fmla="*/ 0 w 79"/>
                <a:gd name="T3" fmla="*/ 273 h 312"/>
                <a:gd name="T4" fmla="*/ 0 w 79"/>
                <a:gd name="T5" fmla="*/ 40 h 312"/>
                <a:gd name="T6" fmla="*/ 40 w 79"/>
                <a:gd name="T7" fmla="*/ 0 h 312"/>
                <a:gd name="T8" fmla="*/ 79 w 79"/>
                <a:gd name="T9" fmla="*/ 40 h 312"/>
                <a:gd name="T10" fmla="*/ 79 w 79"/>
                <a:gd name="T11" fmla="*/ 273 h 312"/>
                <a:gd name="T12" fmla="*/ 40 w 79"/>
                <a:gd name="T13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312">
                  <a:moveTo>
                    <a:pt x="40" y="312"/>
                  </a:moveTo>
                  <a:cubicBezTo>
                    <a:pt x="18" y="312"/>
                    <a:pt x="0" y="295"/>
                    <a:pt x="0" y="27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79" y="18"/>
                    <a:pt x="79" y="40"/>
                  </a:cubicBezTo>
                  <a:cubicBezTo>
                    <a:pt x="79" y="273"/>
                    <a:pt x="79" y="273"/>
                    <a:pt x="79" y="273"/>
                  </a:cubicBezTo>
                  <a:cubicBezTo>
                    <a:pt x="79" y="295"/>
                    <a:pt x="62" y="312"/>
                    <a:pt x="40" y="3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17C8AAE1-D3CD-46C8-84F6-D5A138311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298" y="3655653"/>
              <a:ext cx="67359" cy="346085"/>
            </a:xfrm>
            <a:custGeom>
              <a:avLst/>
              <a:gdLst>
                <a:gd name="T0" fmla="*/ 40 w 79"/>
                <a:gd name="T1" fmla="*/ 409 h 409"/>
                <a:gd name="T2" fmla="*/ 0 w 79"/>
                <a:gd name="T3" fmla="*/ 370 h 409"/>
                <a:gd name="T4" fmla="*/ 0 w 79"/>
                <a:gd name="T5" fmla="*/ 39 h 409"/>
                <a:gd name="T6" fmla="*/ 40 w 79"/>
                <a:gd name="T7" fmla="*/ 0 h 409"/>
                <a:gd name="T8" fmla="*/ 79 w 79"/>
                <a:gd name="T9" fmla="*/ 39 h 409"/>
                <a:gd name="T10" fmla="*/ 79 w 79"/>
                <a:gd name="T11" fmla="*/ 370 h 409"/>
                <a:gd name="T12" fmla="*/ 40 w 79"/>
                <a:gd name="T13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09">
                  <a:moveTo>
                    <a:pt x="40" y="409"/>
                  </a:moveTo>
                  <a:cubicBezTo>
                    <a:pt x="18" y="409"/>
                    <a:pt x="0" y="392"/>
                    <a:pt x="0" y="37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" y="0"/>
                    <a:pt x="79" y="18"/>
                    <a:pt x="79" y="39"/>
                  </a:cubicBezTo>
                  <a:cubicBezTo>
                    <a:pt x="79" y="370"/>
                    <a:pt x="79" y="370"/>
                    <a:pt x="79" y="370"/>
                  </a:cubicBezTo>
                  <a:cubicBezTo>
                    <a:pt x="79" y="392"/>
                    <a:pt x="61" y="409"/>
                    <a:pt x="40" y="40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4D18ABB6-F318-4E9D-BE9E-057E65767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1099" y="3788048"/>
              <a:ext cx="65036" cy="213690"/>
            </a:xfrm>
            <a:custGeom>
              <a:avLst/>
              <a:gdLst>
                <a:gd name="T0" fmla="*/ 40 w 79"/>
                <a:gd name="T1" fmla="*/ 252 h 252"/>
                <a:gd name="T2" fmla="*/ 0 w 79"/>
                <a:gd name="T3" fmla="*/ 213 h 252"/>
                <a:gd name="T4" fmla="*/ 0 w 79"/>
                <a:gd name="T5" fmla="*/ 40 h 252"/>
                <a:gd name="T6" fmla="*/ 40 w 79"/>
                <a:gd name="T7" fmla="*/ 0 h 252"/>
                <a:gd name="T8" fmla="*/ 79 w 79"/>
                <a:gd name="T9" fmla="*/ 40 h 252"/>
                <a:gd name="T10" fmla="*/ 79 w 79"/>
                <a:gd name="T11" fmla="*/ 213 h 252"/>
                <a:gd name="T12" fmla="*/ 40 w 79"/>
                <a:gd name="T13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52">
                  <a:moveTo>
                    <a:pt x="40" y="252"/>
                  </a:moveTo>
                  <a:cubicBezTo>
                    <a:pt x="18" y="252"/>
                    <a:pt x="0" y="235"/>
                    <a:pt x="0" y="21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" y="0"/>
                    <a:pt x="79" y="18"/>
                    <a:pt x="79" y="40"/>
                  </a:cubicBezTo>
                  <a:cubicBezTo>
                    <a:pt x="79" y="213"/>
                    <a:pt x="79" y="213"/>
                    <a:pt x="79" y="213"/>
                  </a:cubicBezTo>
                  <a:cubicBezTo>
                    <a:pt x="79" y="235"/>
                    <a:pt x="62" y="252"/>
                    <a:pt x="40" y="2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36" name="Power BI">
            <a:extLst>
              <a:ext uri="{FF2B5EF4-FFF2-40B4-BE49-F238E27FC236}">
                <a16:creationId xmlns:a16="http://schemas.microsoft.com/office/drawing/2014/main" id="{A4A459A9-FA0C-4CE2-B7E0-3EA3E7A01F1A}"/>
              </a:ext>
            </a:extLst>
          </p:cNvPr>
          <p:cNvSpPr/>
          <p:nvPr/>
        </p:nvSpPr>
        <p:spPr>
          <a:xfrm>
            <a:off x="10627851" y="3598304"/>
            <a:ext cx="9974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latin typeface="Segoe UI Semibold"/>
                <a:cs typeface="Segoe UI" pitchFamily="34" charset="0"/>
              </a:rPr>
              <a:t>Power BI</a:t>
            </a:r>
          </a:p>
        </p:txBody>
      </p:sp>
      <p:pic>
        <p:nvPicPr>
          <p:cNvPr id="40" name="Picture 39" descr="A picture containing clock&#10;&#10;Description automatically generated">
            <a:extLst>
              <a:ext uri="{FF2B5EF4-FFF2-40B4-BE49-F238E27FC236}">
                <a16:creationId xmlns:a16="http://schemas.microsoft.com/office/drawing/2014/main" id="{8753ED38-18D5-41A9-970A-8469FA05FB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5069" y="2308502"/>
            <a:ext cx="1367572" cy="1367572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5F8B061C-9C3E-430C-AC3E-43CBACF970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0800000">
            <a:off x="9702636" y="2476133"/>
            <a:ext cx="578615" cy="101924"/>
            <a:chOff x="9734668" y="3830887"/>
            <a:chExt cx="578615" cy="101924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9BC60E9-0574-49D3-8BD4-99FE4E5160D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4668" y="3881849"/>
              <a:ext cx="578615" cy="0"/>
            </a:xfrm>
            <a:prstGeom prst="lin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43" name="Rectangle 20">
              <a:extLst>
                <a:ext uri="{FF2B5EF4-FFF2-40B4-BE49-F238E27FC236}">
                  <a16:creationId xmlns:a16="http://schemas.microsoft.com/office/drawing/2014/main" id="{C5D7DC44-D40B-4CF2-A117-AF7863494AE4}"/>
                </a:ext>
              </a:extLst>
            </p:cNvPr>
            <p:cNvSpPr/>
            <p:nvPr/>
          </p:nvSpPr>
          <p:spPr bwMode="auto">
            <a:xfrm rot="18900000" flipH="1" flipV="1">
              <a:off x="10196598" y="3830887"/>
              <a:ext cx="101924" cy="101924"/>
            </a:xfrm>
            <a:custGeom>
              <a:avLst/>
              <a:gdLst>
                <a:gd name="connsiteX0" fmla="*/ 0 w 485775"/>
                <a:gd name="connsiteY0" fmla="*/ 0 h 485775"/>
                <a:gd name="connsiteX1" fmla="*/ 485775 w 485775"/>
                <a:gd name="connsiteY1" fmla="*/ 0 h 485775"/>
                <a:gd name="connsiteX2" fmla="*/ 485775 w 485775"/>
                <a:gd name="connsiteY2" fmla="*/ 485775 h 485775"/>
                <a:gd name="connsiteX3" fmla="*/ 0 w 485775"/>
                <a:gd name="connsiteY3" fmla="*/ 485775 h 485775"/>
                <a:gd name="connsiteX4" fmla="*/ 0 w 485775"/>
                <a:gd name="connsiteY4" fmla="*/ 0 h 485775"/>
                <a:gd name="connsiteX0" fmla="*/ 485775 w 577215"/>
                <a:gd name="connsiteY0" fmla="*/ 485775 h 577215"/>
                <a:gd name="connsiteX1" fmla="*/ 0 w 577215"/>
                <a:gd name="connsiteY1" fmla="*/ 485775 h 577215"/>
                <a:gd name="connsiteX2" fmla="*/ 0 w 577215"/>
                <a:gd name="connsiteY2" fmla="*/ 0 h 577215"/>
                <a:gd name="connsiteX3" fmla="*/ 485775 w 577215"/>
                <a:gd name="connsiteY3" fmla="*/ 0 h 577215"/>
                <a:gd name="connsiteX4" fmla="*/ 577215 w 577215"/>
                <a:gd name="connsiteY4" fmla="*/ 577215 h 577215"/>
                <a:gd name="connsiteX0" fmla="*/ 485775 w 485775"/>
                <a:gd name="connsiteY0" fmla="*/ 485775 h 485775"/>
                <a:gd name="connsiteX1" fmla="*/ 0 w 485775"/>
                <a:gd name="connsiteY1" fmla="*/ 485775 h 485775"/>
                <a:gd name="connsiteX2" fmla="*/ 0 w 485775"/>
                <a:gd name="connsiteY2" fmla="*/ 0 h 485775"/>
                <a:gd name="connsiteX3" fmla="*/ 485775 w 485775"/>
                <a:gd name="connsiteY3" fmla="*/ 0 h 485775"/>
                <a:gd name="connsiteX0" fmla="*/ 0 w 485775"/>
                <a:gd name="connsiteY0" fmla="*/ 485775 h 485775"/>
                <a:gd name="connsiteX1" fmla="*/ 0 w 485775"/>
                <a:gd name="connsiteY1" fmla="*/ 0 h 485775"/>
                <a:gd name="connsiteX2" fmla="*/ 485775 w 485775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5775" h="485775">
                  <a:moveTo>
                    <a:pt x="0" y="485775"/>
                  </a:moveTo>
                  <a:lnTo>
                    <a:pt x="0" y="0"/>
                  </a:lnTo>
                  <a:lnTo>
                    <a:pt x="485775" y="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DBCBA58-7F2C-4B03-AA2B-8A9D70C98F43}"/>
              </a:ext>
            </a:extLst>
          </p:cNvPr>
          <p:cNvGrpSpPr/>
          <p:nvPr/>
        </p:nvGrpSpPr>
        <p:grpSpPr>
          <a:xfrm>
            <a:off x="10818885" y="4159753"/>
            <a:ext cx="484753" cy="507605"/>
            <a:chOff x="13465175" y="1290638"/>
            <a:chExt cx="903288" cy="931862"/>
          </a:xfrm>
          <a:solidFill>
            <a:schemeClr val="tx1"/>
          </a:solidFill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3C8B2C6C-9DE5-4478-8A1E-E1ACA11026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65175" y="1290638"/>
              <a:ext cx="903288" cy="931862"/>
            </a:xfrm>
            <a:custGeom>
              <a:avLst/>
              <a:gdLst>
                <a:gd name="T0" fmla="*/ 209 w 248"/>
                <a:gd name="T1" fmla="*/ 6 h 256"/>
                <a:gd name="T2" fmla="*/ 110 w 248"/>
                <a:gd name="T3" fmla="*/ 0 h 256"/>
                <a:gd name="T4" fmla="*/ 115 w 248"/>
                <a:gd name="T5" fmla="*/ 28 h 256"/>
                <a:gd name="T6" fmla="*/ 66 w 248"/>
                <a:gd name="T7" fmla="*/ 98 h 256"/>
                <a:gd name="T8" fmla="*/ 54 w 248"/>
                <a:gd name="T9" fmla="*/ 116 h 256"/>
                <a:gd name="T10" fmla="*/ 26 w 248"/>
                <a:gd name="T11" fmla="*/ 114 h 256"/>
                <a:gd name="T12" fmla="*/ 22 w 248"/>
                <a:gd name="T13" fmla="*/ 143 h 256"/>
                <a:gd name="T14" fmla="*/ 0 w 248"/>
                <a:gd name="T15" fmla="*/ 161 h 256"/>
                <a:gd name="T16" fmla="*/ 18 w 248"/>
                <a:gd name="T17" fmla="*/ 185 h 256"/>
                <a:gd name="T18" fmla="*/ 15 w 248"/>
                <a:gd name="T19" fmla="*/ 213 h 256"/>
                <a:gd name="T20" fmla="*/ 46 w 248"/>
                <a:gd name="T21" fmla="*/ 217 h 256"/>
                <a:gd name="T22" fmla="*/ 62 w 248"/>
                <a:gd name="T23" fmla="*/ 239 h 256"/>
                <a:gd name="T24" fmla="*/ 81 w 248"/>
                <a:gd name="T25" fmla="*/ 256 h 256"/>
                <a:gd name="T26" fmla="*/ 248 w 248"/>
                <a:gd name="T27" fmla="*/ 44 h 256"/>
                <a:gd name="T28" fmla="*/ 186 w 248"/>
                <a:gd name="T29" fmla="*/ 42 h 256"/>
                <a:gd name="T30" fmla="*/ 199 w 248"/>
                <a:gd name="T31" fmla="*/ 8 h 256"/>
                <a:gd name="T32" fmla="*/ 48 w 248"/>
                <a:gd name="T33" fmla="*/ 210 h 256"/>
                <a:gd name="T34" fmla="*/ 22 w 248"/>
                <a:gd name="T35" fmla="*/ 210 h 256"/>
                <a:gd name="T36" fmla="*/ 25 w 248"/>
                <a:gd name="T37" fmla="*/ 182 h 256"/>
                <a:gd name="T38" fmla="*/ 8 w 248"/>
                <a:gd name="T39" fmla="*/ 164 h 256"/>
                <a:gd name="T40" fmla="*/ 29 w 248"/>
                <a:gd name="T41" fmla="*/ 145 h 256"/>
                <a:gd name="T42" fmla="*/ 30 w 248"/>
                <a:gd name="T43" fmla="*/ 121 h 256"/>
                <a:gd name="T44" fmla="*/ 58 w 248"/>
                <a:gd name="T45" fmla="*/ 123 h 256"/>
                <a:gd name="T46" fmla="*/ 75 w 248"/>
                <a:gd name="T47" fmla="*/ 106 h 256"/>
                <a:gd name="T48" fmla="*/ 94 w 248"/>
                <a:gd name="T49" fmla="*/ 128 h 256"/>
                <a:gd name="T50" fmla="*/ 118 w 248"/>
                <a:gd name="T51" fmla="*/ 128 h 256"/>
                <a:gd name="T52" fmla="*/ 116 w 248"/>
                <a:gd name="T53" fmla="*/ 156 h 256"/>
                <a:gd name="T54" fmla="*/ 133 w 248"/>
                <a:gd name="T55" fmla="*/ 174 h 256"/>
                <a:gd name="T56" fmla="*/ 111 w 248"/>
                <a:gd name="T57" fmla="*/ 191 h 256"/>
                <a:gd name="T58" fmla="*/ 111 w 248"/>
                <a:gd name="T59" fmla="*/ 216 h 256"/>
                <a:gd name="T60" fmla="*/ 83 w 248"/>
                <a:gd name="T61" fmla="*/ 213 h 256"/>
                <a:gd name="T62" fmla="*/ 70 w 248"/>
                <a:gd name="T63" fmla="*/ 231 h 256"/>
                <a:gd name="T64" fmla="*/ 65 w 248"/>
                <a:gd name="T65" fmla="*/ 231 h 256"/>
                <a:gd name="T66" fmla="*/ 233 w 248"/>
                <a:gd name="T67" fmla="*/ 248 h 256"/>
                <a:gd name="T68" fmla="*/ 74 w 248"/>
                <a:gd name="T69" fmla="*/ 240 h 256"/>
                <a:gd name="T70" fmla="*/ 87 w 248"/>
                <a:gd name="T71" fmla="*/ 220 h 256"/>
                <a:gd name="T72" fmla="*/ 114 w 248"/>
                <a:gd name="T73" fmla="*/ 224 h 256"/>
                <a:gd name="T74" fmla="*/ 119 w 248"/>
                <a:gd name="T75" fmla="*/ 194 h 256"/>
                <a:gd name="T76" fmla="*/ 140 w 248"/>
                <a:gd name="T77" fmla="*/ 176 h 256"/>
                <a:gd name="T78" fmla="*/ 123 w 248"/>
                <a:gd name="T79" fmla="*/ 152 h 256"/>
                <a:gd name="T80" fmla="*/ 126 w 248"/>
                <a:gd name="T81" fmla="*/ 124 h 256"/>
                <a:gd name="T82" fmla="*/ 96 w 248"/>
                <a:gd name="T83" fmla="*/ 120 h 256"/>
                <a:gd name="T84" fmla="*/ 78 w 248"/>
                <a:gd name="T85" fmla="*/ 98 h 256"/>
                <a:gd name="T86" fmla="*/ 82 w 248"/>
                <a:gd name="T87" fmla="*/ 36 h 256"/>
                <a:gd name="T88" fmla="*/ 126 w 248"/>
                <a:gd name="T89" fmla="*/ 49 h 256"/>
                <a:gd name="T90" fmla="*/ 197 w 248"/>
                <a:gd name="T91" fmla="*/ 36 h 256"/>
                <a:gd name="T92" fmla="*/ 240 w 248"/>
                <a:gd name="T93" fmla="*/ 24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8" h="256">
                  <a:moveTo>
                    <a:pt x="233" y="29"/>
                  </a:moveTo>
                  <a:cubicBezTo>
                    <a:pt x="200" y="29"/>
                    <a:pt x="200" y="29"/>
                    <a:pt x="200" y="29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4"/>
                    <a:pt x="209" y="3"/>
                    <a:pt x="208" y="2"/>
                  </a:cubicBezTo>
                  <a:cubicBezTo>
                    <a:pt x="208" y="1"/>
                    <a:pt x="206" y="0"/>
                    <a:pt x="205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8" y="0"/>
                    <a:pt x="107" y="1"/>
                    <a:pt x="106" y="2"/>
                  </a:cubicBezTo>
                  <a:cubicBezTo>
                    <a:pt x="106" y="3"/>
                    <a:pt x="106" y="4"/>
                    <a:pt x="106" y="5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4" y="28"/>
                    <a:pt x="66" y="35"/>
                    <a:pt x="66" y="44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1" y="98"/>
                    <a:pt x="60" y="99"/>
                    <a:pt x="59" y="101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51" y="116"/>
                    <a:pt x="48" y="118"/>
                    <a:pt x="45" y="120"/>
                  </a:cubicBezTo>
                  <a:cubicBezTo>
                    <a:pt x="31" y="113"/>
                    <a:pt x="31" y="113"/>
                    <a:pt x="31" y="113"/>
                  </a:cubicBezTo>
                  <a:cubicBezTo>
                    <a:pt x="29" y="112"/>
                    <a:pt x="28" y="112"/>
                    <a:pt x="26" y="11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4" y="126"/>
                    <a:pt x="14" y="128"/>
                    <a:pt x="15" y="129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0" y="146"/>
                    <a:pt x="19" y="149"/>
                    <a:pt x="18" y="152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1" y="158"/>
                    <a:pt x="0" y="159"/>
                    <a:pt x="0" y="161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178"/>
                    <a:pt x="1" y="179"/>
                    <a:pt x="2" y="180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9" y="188"/>
                    <a:pt x="20" y="190"/>
                    <a:pt x="21" y="193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3" y="210"/>
                    <a:pt x="14" y="212"/>
                    <a:pt x="15" y="213"/>
                  </a:cubicBezTo>
                  <a:cubicBezTo>
                    <a:pt x="26" y="224"/>
                    <a:pt x="26" y="224"/>
                    <a:pt x="26" y="224"/>
                  </a:cubicBezTo>
                  <a:cubicBezTo>
                    <a:pt x="27" y="225"/>
                    <a:pt x="29" y="225"/>
                    <a:pt x="30" y="224"/>
                  </a:cubicBezTo>
                  <a:cubicBezTo>
                    <a:pt x="46" y="217"/>
                    <a:pt x="46" y="217"/>
                    <a:pt x="46" y="217"/>
                  </a:cubicBezTo>
                  <a:cubicBezTo>
                    <a:pt x="48" y="218"/>
                    <a:pt x="50" y="219"/>
                    <a:pt x="53" y="220"/>
                  </a:cubicBezTo>
                  <a:cubicBezTo>
                    <a:pt x="58" y="236"/>
                    <a:pt x="58" y="236"/>
                    <a:pt x="58" y="236"/>
                  </a:cubicBezTo>
                  <a:cubicBezTo>
                    <a:pt x="59" y="238"/>
                    <a:pt x="60" y="239"/>
                    <a:pt x="62" y="239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48"/>
                    <a:pt x="72" y="256"/>
                    <a:pt x="81" y="256"/>
                  </a:cubicBezTo>
                  <a:cubicBezTo>
                    <a:pt x="232" y="256"/>
                    <a:pt x="232" y="256"/>
                    <a:pt x="232" y="256"/>
                  </a:cubicBezTo>
                  <a:cubicBezTo>
                    <a:pt x="240" y="256"/>
                    <a:pt x="248" y="249"/>
                    <a:pt x="248" y="240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48" y="36"/>
                    <a:pt x="241" y="29"/>
                    <a:pt x="233" y="29"/>
                  </a:cubicBezTo>
                  <a:close/>
                  <a:moveTo>
                    <a:pt x="199" y="8"/>
                  </a:moveTo>
                  <a:cubicBezTo>
                    <a:pt x="198" y="10"/>
                    <a:pt x="186" y="44"/>
                    <a:pt x="186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41"/>
                    <a:pt x="115" y="7"/>
                    <a:pt x="116" y="8"/>
                  </a:cubicBezTo>
                  <a:lnTo>
                    <a:pt x="199" y="8"/>
                  </a:lnTo>
                  <a:close/>
                  <a:moveTo>
                    <a:pt x="60" y="216"/>
                  </a:moveTo>
                  <a:cubicBezTo>
                    <a:pt x="60" y="215"/>
                    <a:pt x="58" y="214"/>
                    <a:pt x="57" y="214"/>
                  </a:cubicBezTo>
                  <a:cubicBezTo>
                    <a:pt x="54" y="213"/>
                    <a:pt x="50" y="211"/>
                    <a:pt x="48" y="210"/>
                  </a:cubicBezTo>
                  <a:cubicBezTo>
                    <a:pt x="46" y="209"/>
                    <a:pt x="45" y="209"/>
                    <a:pt x="44" y="210"/>
                  </a:cubicBezTo>
                  <a:cubicBezTo>
                    <a:pt x="29" y="217"/>
                    <a:pt x="29" y="217"/>
                    <a:pt x="29" y="217"/>
                  </a:cubicBezTo>
                  <a:cubicBezTo>
                    <a:pt x="22" y="210"/>
                    <a:pt x="22" y="210"/>
                    <a:pt x="22" y="210"/>
                  </a:cubicBezTo>
                  <a:cubicBezTo>
                    <a:pt x="29" y="196"/>
                    <a:pt x="29" y="196"/>
                    <a:pt x="29" y="196"/>
                  </a:cubicBezTo>
                  <a:cubicBezTo>
                    <a:pt x="30" y="194"/>
                    <a:pt x="30" y="193"/>
                    <a:pt x="29" y="192"/>
                  </a:cubicBezTo>
                  <a:cubicBezTo>
                    <a:pt x="27" y="189"/>
                    <a:pt x="26" y="185"/>
                    <a:pt x="25" y="182"/>
                  </a:cubicBezTo>
                  <a:cubicBezTo>
                    <a:pt x="24" y="181"/>
                    <a:pt x="24" y="180"/>
                    <a:pt x="22" y="179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22" y="159"/>
                    <a:pt x="22" y="159"/>
                    <a:pt x="22" y="159"/>
                  </a:cubicBezTo>
                  <a:cubicBezTo>
                    <a:pt x="23" y="158"/>
                    <a:pt x="24" y="157"/>
                    <a:pt x="24" y="156"/>
                  </a:cubicBezTo>
                  <a:cubicBezTo>
                    <a:pt x="26" y="152"/>
                    <a:pt x="27" y="148"/>
                    <a:pt x="29" y="145"/>
                  </a:cubicBezTo>
                  <a:cubicBezTo>
                    <a:pt x="30" y="144"/>
                    <a:pt x="30" y="143"/>
                    <a:pt x="29" y="142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4" y="128"/>
                    <a:pt x="46" y="128"/>
                    <a:pt x="47" y="128"/>
                  </a:cubicBezTo>
                  <a:cubicBezTo>
                    <a:pt x="50" y="126"/>
                    <a:pt x="54" y="124"/>
                    <a:pt x="58" y="123"/>
                  </a:cubicBezTo>
                  <a:cubicBezTo>
                    <a:pt x="59" y="122"/>
                    <a:pt x="60" y="122"/>
                    <a:pt x="61" y="120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6" y="106"/>
                    <a:pt x="76" y="106"/>
                    <a:pt x="75" y="106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80" y="122"/>
                    <a:pt x="82" y="122"/>
                    <a:pt x="83" y="123"/>
                  </a:cubicBezTo>
                  <a:cubicBezTo>
                    <a:pt x="87" y="124"/>
                    <a:pt x="90" y="126"/>
                    <a:pt x="94" y="128"/>
                  </a:cubicBezTo>
                  <a:cubicBezTo>
                    <a:pt x="95" y="128"/>
                    <a:pt x="96" y="128"/>
                    <a:pt x="98" y="128"/>
                  </a:cubicBezTo>
                  <a:cubicBezTo>
                    <a:pt x="111" y="121"/>
                    <a:pt x="111" y="121"/>
                    <a:pt x="111" y="121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12" y="142"/>
                    <a:pt x="112" y="142"/>
                    <a:pt x="112" y="142"/>
                  </a:cubicBezTo>
                  <a:cubicBezTo>
                    <a:pt x="111" y="143"/>
                    <a:pt x="111" y="144"/>
                    <a:pt x="112" y="145"/>
                  </a:cubicBezTo>
                  <a:cubicBezTo>
                    <a:pt x="114" y="148"/>
                    <a:pt x="115" y="152"/>
                    <a:pt x="116" y="156"/>
                  </a:cubicBezTo>
                  <a:cubicBezTo>
                    <a:pt x="116" y="157"/>
                    <a:pt x="117" y="158"/>
                    <a:pt x="118" y="159"/>
                  </a:cubicBezTo>
                  <a:cubicBezTo>
                    <a:pt x="133" y="164"/>
                    <a:pt x="133" y="164"/>
                    <a:pt x="133" y="164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17" y="179"/>
                    <a:pt x="116" y="180"/>
                    <a:pt x="116" y="181"/>
                  </a:cubicBezTo>
                  <a:cubicBezTo>
                    <a:pt x="114" y="185"/>
                    <a:pt x="113" y="188"/>
                    <a:pt x="111" y="191"/>
                  </a:cubicBezTo>
                  <a:cubicBezTo>
                    <a:pt x="110" y="192"/>
                    <a:pt x="110" y="194"/>
                    <a:pt x="111" y="195"/>
                  </a:cubicBezTo>
                  <a:cubicBezTo>
                    <a:pt x="118" y="209"/>
                    <a:pt x="118" y="209"/>
                    <a:pt x="118" y="209"/>
                  </a:cubicBezTo>
                  <a:cubicBezTo>
                    <a:pt x="111" y="216"/>
                    <a:pt x="111" y="216"/>
                    <a:pt x="111" y="216"/>
                  </a:cubicBezTo>
                  <a:cubicBezTo>
                    <a:pt x="96" y="209"/>
                    <a:pt x="96" y="209"/>
                    <a:pt x="96" y="209"/>
                  </a:cubicBezTo>
                  <a:cubicBezTo>
                    <a:pt x="95" y="208"/>
                    <a:pt x="94" y="208"/>
                    <a:pt x="93" y="209"/>
                  </a:cubicBezTo>
                  <a:cubicBezTo>
                    <a:pt x="90" y="210"/>
                    <a:pt x="86" y="212"/>
                    <a:pt x="83" y="213"/>
                  </a:cubicBezTo>
                  <a:cubicBezTo>
                    <a:pt x="82" y="213"/>
                    <a:pt x="81" y="214"/>
                    <a:pt x="80" y="215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65" y="231"/>
                    <a:pt x="65" y="231"/>
                    <a:pt x="65" y="231"/>
                  </a:cubicBezTo>
                  <a:lnTo>
                    <a:pt x="60" y="216"/>
                  </a:lnTo>
                  <a:close/>
                  <a:moveTo>
                    <a:pt x="240" y="240"/>
                  </a:moveTo>
                  <a:cubicBezTo>
                    <a:pt x="240" y="244"/>
                    <a:pt x="237" y="248"/>
                    <a:pt x="233" y="248"/>
                  </a:cubicBezTo>
                  <a:cubicBezTo>
                    <a:pt x="82" y="248"/>
                    <a:pt x="82" y="248"/>
                    <a:pt x="82" y="248"/>
                  </a:cubicBezTo>
                  <a:cubicBezTo>
                    <a:pt x="78" y="248"/>
                    <a:pt x="74" y="245"/>
                    <a:pt x="74" y="240"/>
                  </a:cubicBezTo>
                  <a:cubicBezTo>
                    <a:pt x="74" y="240"/>
                    <a:pt x="74" y="240"/>
                    <a:pt x="74" y="240"/>
                  </a:cubicBezTo>
                  <a:cubicBezTo>
                    <a:pt x="78" y="240"/>
                    <a:pt x="78" y="240"/>
                    <a:pt x="78" y="240"/>
                  </a:cubicBezTo>
                  <a:cubicBezTo>
                    <a:pt x="80" y="240"/>
                    <a:pt x="81" y="238"/>
                    <a:pt x="82" y="237"/>
                  </a:cubicBezTo>
                  <a:cubicBezTo>
                    <a:pt x="87" y="220"/>
                    <a:pt x="87" y="220"/>
                    <a:pt x="87" y="220"/>
                  </a:cubicBezTo>
                  <a:cubicBezTo>
                    <a:pt x="90" y="220"/>
                    <a:pt x="92" y="218"/>
                    <a:pt x="94" y="218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2" y="226"/>
                    <a:pt x="113" y="225"/>
                    <a:pt x="114" y="224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6" y="212"/>
                    <a:pt x="127" y="210"/>
                    <a:pt x="126" y="209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20" y="191"/>
                    <a:pt x="121" y="188"/>
                    <a:pt x="122" y="186"/>
                  </a:cubicBezTo>
                  <a:cubicBezTo>
                    <a:pt x="138" y="180"/>
                    <a:pt x="138" y="180"/>
                    <a:pt x="138" y="180"/>
                  </a:cubicBezTo>
                  <a:cubicBezTo>
                    <a:pt x="139" y="180"/>
                    <a:pt x="140" y="178"/>
                    <a:pt x="140" y="17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0" y="160"/>
                    <a:pt x="139" y="158"/>
                    <a:pt x="138" y="158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2" y="149"/>
                    <a:pt x="121" y="146"/>
                    <a:pt x="120" y="143"/>
                  </a:cubicBezTo>
                  <a:cubicBezTo>
                    <a:pt x="126" y="129"/>
                    <a:pt x="126" y="129"/>
                    <a:pt x="126" y="129"/>
                  </a:cubicBezTo>
                  <a:cubicBezTo>
                    <a:pt x="127" y="127"/>
                    <a:pt x="127" y="126"/>
                    <a:pt x="126" y="124"/>
                  </a:cubicBezTo>
                  <a:cubicBezTo>
                    <a:pt x="115" y="114"/>
                    <a:pt x="115" y="114"/>
                    <a:pt x="115" y="114"/>
                  </a:cubicBezTo>
                  <a:cubicBezTo>
                    <a:pt x="114" y="112"/>
                    <a:pt x="112" y="112"/>
                    <a:pt x="110" y="113"/>
                  </a:cubicBezTo>
                  <a:cubicBezTo>
                    <a:pt x="96" y="120"/>
                    <a:pt x="96" y="120"/>
                    <a:pt x="96" y="120"/>
                  </a:cubicBezTo>
                  <a:cubicBezTo>
                    <a:pt x="94" y="118"/>
                    <a:pt x="90" y="117"/>
                    <a:pt x="87" y="116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2" y="99"/>
                    <a:pt x="80" y="98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0"/>
                    <a:pt x="78" y="36"/>
                    <a:pt x="82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2" y="48"/>
                    <a:pt x="124" y="49"/>
                    <a:pt x="126" y="49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91" y="49"/>
                    <a:pt x="193" y="48"/>
                    <a:pt x="193" y="47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7" y="36"/>
                    <a:pt x="240" y="40"/>
                    <a:pt x="240" y="44"/>
                  </a:cubicBezTo>
                  <a:lnTo>
                    <a:pt x="240" y="24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19E5777C-540A-4F7F-88A1-FF6118FA62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96988" y="1546225"/>
              <a:ext cx="298450" cy="569912"/>
            </a:xfrm>
            <a:custGeom>
              <a:avLst/>
              <a:gdLst>
                <a:gd name="T0" fmla="*/ 66 w 82"/>
                <a:gd name="T1" fmla="*/ 2 h 157"/>
                <a:gd name="T2" fmla="*/ 64 w 82"/>
                <a:gd name="T3" fmla="*/ 0 h 157"/>
                <a:gd name="T4" fmla="*/ 61 w 82"/>
                <a:gd name="T5" fmla="*/ 2 h 157"/>
                <a:gd name="T6" fmla="*/ 46 w 82"/>
                <a:gd name="T7" fmla="*/ 16 h 157"/>
                <a:gd name="T8" fmla="*/ 46 w 82"/>
                <a:gd name="T9" fmla="*/ 22 h 157"/>
                <a:gd name="T10" fmla="*/ 52 w 82"/>
                <a:gd name="T11" fmla="*/ 22 h 157"/>
                <a:gd name="T12" fmla="*/ 60 w 82"/>
                <a:gd name="T13" fmla="*/ 14 h 157"/>
                <a:gd name="T14" fmla="*/ 60 w 82"/>
                <a:gd name="T15" fmla="*/ 70 h 157"/>
                <a:gd name="T16" fmla="*/ 47 w 82"/>
                <a:gd name="T17" fmla="*/ 83 h 157"/>
                <a:gd name="T18" fmla="*/ 32 w 82"/>
                <a:gd name="T19" fmla="*/ 83 h 157"/>
                <a:gd name="T20" fmla="*/ 11 w 82"/>
                <a:gd name="T21" fmla="*/ 104 h 157"/>
                <a:gd name="T22" fmla="*/ 11 w 82"/>
                <a:gd name="T23" fmla="*/ 127 h 157"/>
                <a:gd name="T24" fmla="*/ 0 w 82"/>
                <a:gd name="T25" fmla="*/ 142 h 157"/>
                <a:gd name="T26" fmla="*/ 15 w 82"/>
                <a:gd name="T27" fmla="*/ 157 h 157"/>
                <a:gd name="T28" fmla="*/ 30 w 82"/>
                <a:gd name="T29" fmla="*/ 142 h 157"/>
                <a:gd name="T30" fmla="*/ 19 w 82"/>
                <a:gd name="T31" fmla="*/ 127 h 157"/>
                <a:gd name="T32" fmla="*/ 19 w 82"/>
                <a:gd name="T33" fmla="*/ 104 h 157"/>
                <a:gd name="T34" fmla="*/ 32 w 82"/>
                <a:gd name="T35" fmla="*/ 91 h 157"/>
                <a:gd name="T36" fmla="*/ 47 w 82"/>
                <a:gd name="T37" fmla="*/ 91 h 157"/>
                <a:gd name="T38" fmla="*/ 68 w 82"/>
                <a:gd name="T39" fmla="*/ 70 h 157"/>
                <a:gd name="T40" fmla="*/ 68 w 82"/>
                <a:gd name="T41" fmla="*/ 14 h 157"/>
                <a:gd name="T42" fmla="*/ 75 w 82"/>
                <a:gd name="T43" fmla="*/ 22 h 157"/>
                <a:gd name="T44" fmla="*/ 81 w 82"/>
                <a:gd name="T45" fmla="*/ 22 h 157"/>
                <a:gd name="T46" fmla="*/ 81 w 82"/>
                <a:gd name="T47" fmla="*/ 16 h 157"/>
                <a:gd name="T48" fmla="*/ 66 w 82"/>
                <a:gd name="T49" fmla="*/ 2 h 157"/>
                <a:gd name="T50" fmla="*/ 22 w 82"/>
                <a:gd name="T51" fmla="*/ 142 h 157"/>
                <a:gd name="T52" fmla="*/ 15 w 82"/>
                <a:gd name="T53" fmla="*/ 149 h 157"/>
                <a:gd name="T54" fmla="*/ 8 w 82"/>
                <a:gd name="T55" fmla="*/ 142 h 157"/>
                <a:gd name="T56" fmla="*/ 15 w 82"/>
                <a:gd name="T57" fmla="*/ 134 h 157"/>
                <a:gd name="T58" fmla="*/ 22 w 82"/>
                <a:gd name="T59" fmla="*/ 14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157">
                  <a:moveTo>
                    <a:pt x="66" y="2"/>
                  </a:moveTo>
                  <a:cubicBezTo>
                    <a:pt x="66" y="1"/>
                    <a:pt x="65" y="0"/>
                    <a:pt x="64" y="0"/>
                  </a:cubicBezTo>
                  <a:cubicBezTo>
                    <a:pt x="62" y="0"/>
                    <a:pt x="62" y="1"/>
                    <a:pt x="61" y="2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8"/>
                    <a:pt x="45" y="20"/>
                    <a:pt x="46" y="22"/>
                  </a:cubicBezTo>
                  <a:cubicBezTo>
                    <a:pt x="48" y="23"/>
                    <a:pt x="50" y="23"/>
                    <a:pt x="52" y="2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7"/>
                    <a:pt x="54" y="83"/>
                    <a:pt x="47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20" y="83"/>
                    <a:pt x="11" y="92"/>
                    <a:pt x="11" y="104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4" y="129"/>
                    <a:pt x="0" y="135"/>
                    <a:pt x="0" y="142"/>
                  </a:cubicBezTo>
                  <a:cubicBezTo>
                    <a:pt x="0" y="150"/>
                    <a:pt x="6" y="157"/>
                    <a:pt x="15" y="157"/>
                  </a:cubicBezTo>
                  <a:cubicBezTo>
                    <a:pt x="23" y="157"/>
                    <a:pt x="30" y="150"/>
                    <a:pt x="30" y="142"/>
                  </a:cubicBezTo>
                  <a:cubicBezTo>
                    <a:pt x="30" y="135"/>
                    <a:pt x="25" y="129"/>
                    <a:pt x="19" y="127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97"/>
                    <a:pt x="24" y="91"/>
                    <a:pt x="32" y="91"/>
                  </a:cubicBezTo>
                  <a:cubicBezTo>
                    <a:pt x="47" y="91"/>
                    <a:pt x="47" y="91"/>
                    <a:pt x="47" y="91"/>
                  </a:cubicBezTo>
                  <a:cubicBezTo>
                    <a:pt x="58" y="91"/>
                    <a:pt x="68" y="82"/>
                    <a:pt x="68" y="70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7" y="23"/>
                    <a:pt x="79" y="23"/>
                    <a:pt x="81" y="22"/>
                  </a:cubicBezTo>
                  <a:cubicBezTo>
                    <a:pt x="82" y="20"/>
                    <a:pt x="82" y="18"/>
                    <a:pt x="81" y="16"/>
                  </a:cubicBezTo>
                  <a:lnTo>
                    <a:pt x="66" y="2"/>
                  </a:lnTo>
                  <a:close/>
                  <a:moveTo>
                    <a:pt x="22" y="142"/>
                  </a:moveTo>
                  <a:cubicBezTo>
                    <a:pt x="22" y="146"/>
                    <a:pt x="19" y="149"/>
                    <a:pt x="15" y="149"/>
                  </a:cubicBezTo>
                  <a:cubicBezTo>
                    <a:pt x="11" y="149"/>
                    <a:pt x="8" y="146"/>
                    <a:pt x="8" y="142"/>
                  </a:cubicBezTo>
                  <a:cubicBezTo>
                    <a:pt x="8" y="138"/>
                    <a:pt x="11" y="134"/>
                    <a:pt x="15" y="134"/>
                  </a:cubicBezTo>
                  <a:cubicBezTo>
                    <a:pt x="19" y="134"/>
                    <a:pt x="22" y="138"/>
                    <a:pt x="22" y="142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AD003B9F-2A30-474C-A395-B4F885264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7013" y="1931988"/>
              <a:ext cx="98425" cy="96837"/>
            </a:xfrm>
            <a:custGeom>
              <a:avLst/>
              <a:gdLst>
                <a:gd name="T0" fmla="*/ 25 w 27"/>
                <a:gd name="T1" fmla="*/ 1 h 27"/>
                <a:gd name="T2" fmla="*/ 20 w 27"/>
                <a:gd name="T3" fmla="*/ 1 h 27"/>
                <a:gd name="T4" fmla="*/ 13 w 27"/>
                <a:gd name="T5" fmla="*/ 8 h 27"/>
                <a:gd name="T6" fmla="*/ 7 w 27"/>
                <a:gd name="T7" fmla="*/ 1 h 27"/>
                <a:gd name="T8" fmla="*/ 1 w 27"/>
                <a:gd name="T9" fmla="*/ 1 h 27"/>
                <a:gd name="T10" fmla="*/ 1 w 27"/>
                <a:gd name="T11" fmla="*/ 7 h 27"/>
                <a:gd name="T12" fmla="*/ 8 w 27"/>
                <a:gd name="T13" fmla="*/ 13 h 27"/>
                <a:gd name="T14" fmla="*/ 1 w 27"/>
                <a:gd name="T15" fmla="*/ 20 h 27"/>
                <a:gd name="T16" fmla="*/ 1 w 27"/>
                <a:gd name="T17" fmla="*/ 25 h 27"/>
                <a:gd name="T18" fmla="*/ 7 w 27"/>
                <a:gd name="T19" fmla="*/ 25 h 27"/>
                <a:gd name="T20" fmla="*/ 13 w 27"/>
                <a:gd name="T21" fmla="*/ 19 h 27"/>
                <a:gd name="T22" fmla="*/ 20 w 27"/>
                <a:gd name="T23" fmla="*/ 25 h 27"/>
                <a:gd name="T24" fmla="*/ 25 w 27"/>
                <a:gd name="T25" fmla="*/ 25 h 27"/>
                <a:gd name="T26" fmla="*/ 25 w 27"/>
                <a:gd name="T27" fmla="*/ 20 h 27"/>
                <a:gd name="T28" fmla="*/ 19 w 27"/>
                <a:gd name="T29" fmla="*/ 13 h 27"/>
                <a:gd name="T30" fmla="*/ 25 w 27"/>
                <a:gd name="T31" fmla="*/ 7 h 27"/>
                <a:gd name="T32" fmla="*/ 25 w 27"/>
                <a:gd name="T3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7">
                  <a:moveTo>
                    <a:pt x="25" y="1"/>
                  </a:moveTo>
                  <a:cubicBezTo>
                    <a:pt x="24" y="0"/>
                    <a:pt x="21" y="0"/>
                    <a:pt x="20" y="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ubicBezTo>
                    <a:pt x="0" y="3"/>
                    <a:pt x="0" y="5"/>
                    <a:pt x="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4"/>
                    <a:pt x="1" y="25"/>
                  </a:cubicBezTo>
                  <a:cubicBezTo>
                    <a:pt x="3" y="27"/>
                    <a:pt x="5" y="27"/>
                    <a:pt x="7" y="25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7"/>
                    <a:pt x="24" y="27"/>
                    <a:pt x="25" y="25"/>
                  </a:cubicBezTo>
                  <a:cubicBezTo>
                    <a:pt x="27" y="24"/>
                    <a:pt x="27" y="21"/>
                    <a:pt x="25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7" y="5"/>
                    <a:pt x="27" y="3"/>
                    <a:pt x="25" y="1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20C3C22B-8C1D-4EFF-BE03-9FBCB1067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96988" y="1676400"/>
              <a:ext cx="120650" cy="115887"/>
            </a:xfrm>
            <a:custGeom>
              <a:avLst/>
              <a:gdLst>
                <a:gd name="T0" fmla="*/ 16 w 33"/>
                <a:gd name="T1" fmla="*/ 32 h 32"/>
                <a:gd name="T2" fmla="*/ 33 w 33"/>
                <a:gd name="T3" fmla="*/ 16 h 32"/>
                <a:gd name="T4" fmla="*/ 16 w 33"/>
                <a:gd name="T5" fmla="*/ 0 h 32"/>
                <a:gd name="T6" fmla="*/ 0 w 33"/>
                <a:gd name="T7" fmla="*/ 16 h 32"/>
                <a:gd name="T8" fmla="*/ 16 w 33"/>
                <a:gd name="T9" fmla="*/ 32 h 32"/>
                <a:gd name="T10" fmla="*/ 16 w 33"/>
                <a:gd name="T11" fmla="*/ 7 h 32"/>
                <a:gd name="T12" fmla="*/ 25 w 33"/>
                <a:gd name="T13" fmla="*/ 16 h 32"/>
                <a:gd name="T14" fmla="*/ 16 w 33"/>
                <a:gd name="T15" fmla="*/ 24 h 32"/>
                <a:gd name="T16" fmla="*/ 8 w 33"/>
                <a:gd name="T17" fmla="*/ 16 h 32"/>
                <a:gd name="T18" fmla="*/ 16 w 33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2">
                  <a:moveTo>
                    <a:pt x="16" y="32"/>
                  </a:moveTo>
                  <a:cubicBezTo>
                    <a:pt x="26" y="32"/>
                    <a:pt x="33" y="25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  <a:moveTo>
                    <a:pt x="16" y="7"/>
                  </a:moveTo>
                  <a:cubicBezTo>
                    <a:pt x="21" y="7"/>
                    <a:pt x="25" y="11"/>
                    <a:pt x="25" y="16"/>
                  </a:cubicBezTo>
                  <a:cubicBezTo>
                    <a:pt x="25" y="20"/>
                    <a:pt x="21" y="24"/>
                    <a:pt x="16" y="24"/>
                  </a:cubicBezTo>
                  <a:cubicBezTo>
                    <a:pt x="12" y="24"/>
                    <a:pt x="8" y="20"/>
                    <a:pt x="8" y="16"/>
                  </a:cubicBezTo>
                  <a:cubicBezTo>
                    <a:pt x="8" y="11"/>
                    <a:pt x="12" y="7"/>
                    <a:pt x="16" y="7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C1107EE5-F13D-4D5A-8C32-9201F0146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68413" y="1366838"/>
              <a:ext cx="138113" cy="30162"/>
            </a:xfrm>
            <a:custGeom>
              <a:avLst/>
              <a:gdLst>
                <a:gd name="T0" fmla="*/ 4 w 38"/>
                <a:gd name="T1" fmla="*/ 8 h 8"/>
                <a:gd name="T2" fmla="*/ 34 w 38"/>
                <a:gd name="T3" fmla="*/ 8 h 8"/>
                <a:gd name="T4" fmla="*/ 38 w 38"/>
                <a:gd name="T5" fmla="*/ 4 h 8"/>
                <a:gd name="T6" fmla="*/ 34 w 38"/>
                <a:gd name="T7" fmla="*/ 0 h 8"/>
                <a:gd name="T8" fmla="*/ 4 w 38"/>
                <a:gd name="T9" fmla="*/ 0 h 8"/>
                <a:gd name="T10" fmla="*/ 0 w 38"/>
                <a:gd name="T11" fmla="*/ 4 h 8"/>
                <a:gd name="T12" fmla="*/ 4 w 3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8">
                  <a:moveTo>
                    <a:pt x="4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7" y="8"/>
                    <a:pt x="38" y="6"/>
                    <a:pt x="38" y="4"/>
                  </a:cubicBezTo>
                  <a:cubicBezTo>
                    <a:pt x="38" y="1"/>
                    <a:pt x="37" y="0"/>
                    <a:pt x="3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C0262E26-C88F-46EC-8A4C-66004BCC92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36625" y="1817688"/>
              <a:ext cx="171450" cy="171450"/>
            </a:xfrm>
            <a:custGeom>
              <a:avLst/>
              <a:gdLst>
                <a:gd name="T0" fmla="*/ 47 w 47"/>
                <a:gd name="T1" fmla="*/ 23 h 47"/>
                <a:gd name="T2" fmla="*/ 23 w 47"/>
                <a:gd name="T3" fmla="*/ 0 h 47"/>
                <a:gd name="T4" fmla="*/ 0 w 47"/>
                <a:gd name="T5" fmla="*/ 23 h 47"/>
                <a:gd name="T6" fmla="*/ 23 w 47"/>
                <a:gd name="T7" fmla="*/ 47 h 47"/>
                <a:gd name="T8" fmla="*/ 47 w 47"/>
                <a:gd name="T9" fmla="*/ 23 h 47"/>
                <a:gd name="T10" fmla="*/ 8 w 47"/>
                <a:gd name="T11" fmla="*/ 23 h 47"/>
                <a:gd name="T12" fmla="*/ 23 w 47"/>
                <a:gd name="T13" fmla="*/ 8 h 47"/>
                <a:gd name="T14" fmla="*/ 39 w 47"/>
                <a:gd name="T15" fmla="*/ 23 h 47"/>
                <a:gd name="T16" fmla="*/ 23 w 47"/>
                <a:gd name="T17" fmla="*/ 39 h 47"/>
                <a:gd name="T18" fmla="*/ 8 w 47"/>
                <a:gd name="T1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7" y="23"/>
                  </a:moveTo>
                  <a:cubicBezTo>
                    <a:pt x="47" y="10"/>
                    <a:pt x="36" y="0"/>
                    <a:pt x="23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6"/>
                    <a:pt x="11" y="47"/>
                    <a:pt x="23" y="47"/>
                  </a:cubicBezTo>
                  <a:cubicBezTo>
                    <a:pt x="37" y="47"/>
                    <a:pt x="47" y="36"/>
                    <a:pt x="47" y="23"/>
                  </a:cubicBezTo>
                  <a:close/>
                  <a:moveTo>
                    <a:pt x="8" y="23"/>
                  </a:moveTo>
                  <a:cubicBezTo>
                    <a:pt x="8" y="15"/>
                    <a:pt x="15" y="8"/>
                    <a:pt x="23" y="8"/>
                  </a:cubicBezTo>
                  <a:cubicBezTo>
                    <a:pt x="32" y="8"/>
                    <a:pt x="39" y="15"/>
                    <a:pt x="39" y="23"/>
                  </a:cubicBezTo>
                  <a:cubicBezTo>
                    <a:pt x="39" y="32"/>
                    <a:pt x="32" y="39"/>
                    <a:pt x="23" y="39"/>
                  </a:cubicBezTo>
                  <a:cubicBezTo>
                    <a:pt x="15" y="39"/>
                    <a:pt x="8" y="32"/>
                    <a:pt x="8" y="23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4" name="Power BI">
            <a:extLst>
              <a:ext uri="{FF2B5EF4-FFF2-40B4-BE49-F238E27FC236}">
                <a16:creationId xmlns:a16="http://schemas.microsoft.com/office/drawing/2014/main" id="{4A4EC6D3-C9A3-43EB-9593-4D2B96EFAB79}"/>
              </a:ext>
            </a:extLst>
          </p:cNvPr>
          <p:cNvSpPr/>
          <p:nvPr/>
        </p:nvSpPr>
        <p:spPr>
          <a:xfrm>
            <a:off x="10503156" y="4711054"/>
            <a:ext cx="12943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latin typeface="Segoe UI Semibold"/>
                <a:cs typeface="Segoe UI" pitchFamily="34" charset="0"/>
              </a:rPr>
              <a:t>Business </a:t>
            </a:r>
          </a:p>
          <a:p>
            <a:pPr algn="ctr"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latin typeface="Segoe UI Semibold"/>
                <a:cs typeface="Segoe UI" pitchFamily="34" charset="0"/>
              </a:rPr>
              <a:t>Automation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ACC6411-6887-43FD-9E24-96243FF51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679661" y="4236009"/>
            <a:ext cx="578615" cy="101924"/>
            <a:chOff x="9734668" y="3830887"/>
            <a:chExt cx="578615" cy="101924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5DB4741B-5152-4DE8-83C9-F482BBC267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4668" y="3881849"/>
              <a:ext cx="578615" cy="0"/>
            </a:xfrm>
            <a:prstGeom prst="lin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57" name="Rectangle 20">
              <a:extLst>
                <a:ext uri="{FF2B5EF4-FFF2-40B4-BE49-F238E27FC236}">
                  <a16:creationId xmlns:a16="http://schemas.microsoft.com/office/drawing/2014/main" id="{5B4D0668-306E-43BD-ABFC-D040DFECA685}"/>
                </a:ext>
              </a:extLst>
            </p:cNvPr>
            <p:cNvSpPr/>
            <p:nvPr/>
          </p:nvSpPr>
          <p:spPr bwMode="auto">
            <a:xfrm rot="18900000" flipH="1" flipV="1">
              <a:off x="10196598" y="3830887"/>
              <a:ext cx="101924" cy="101924"/>
            </a:xfrm>
            <a:custGeom>
              <a:avLst/>
              <a:gdLst>
                <a:gd name="connsiteX0" fmla="*/ 0 w 485775"/>
                <a:gd name="connsiteY0" fmla="*/ 0 h 485775"/>
                <a:gd name="connsiteX1" fmla="*/ 485775 w 485775"/>
                <a:gd name="connsiteY1" fmla="*/ 0 h 485775"/>
                <a:gd name="connsiteX2" fmla="*/ 485775 w 485775"/>
                <a:gd name="connsiteY2" fmla="*/ 485775 h 485775"/>
                <a:gd name="connsiteX3" fmla="*/ 0 w 485775"/>
                <a:gd name="connsiteY3" fmla="*/ 485775 h 485775"/>
                <a:gd name="connsiteX4" fmla="*/ 0 w 485775"/>
                <a:gd name="connsiteY4" fmla="*/ 0 h 485775"/>
                <a:gd name="connsiteX0" fmla="*/ 485775 w 577215"/>
                <a:gd name="connsiteY0" fmla="*/ 485775 h 577215"/>
                <a:gd name="connsiteX1" fmla="*/ 0 w 577215"/>
                <a:gd name="connsiteY1" fmla="*/ 485775 h 577215"/>
                <a:gd name="connsiteX2" fmla="*/ 0 w 577215"/>
                <a:gd name="connsiteY2" fmla="*/ 0 h 577215"/>
                <a:gd name="connsiteX3" fmla="*/ 485775 w 577215"/>
                <a:gd name="connsiteY3" fmla="*/ 0 h 577215"/>
                <a:gd name="connsiteX4" fmla="*/ 577215 w 577215"/>
                <a:gd name="connsiteY4" fmla="*/ 577215 h 577215"/>
                <a:gd name="connsiteX0" fmla="*/ 485775 w 485775"/>
                <a:gd name="connsiteY0" fmla="*/ 485775 h 485775"/>
                <a:gd name="connsiteX1" fmla="*/ 0 w 485775"/>
                <a:gd name="connsiteY1" fmla="*/ 485775 h 485775"/>
                <a:gd name="connsiteX2" fmla="*/ 0 w 485775"/>
                <a:gd name="connsiteY2" fmla="*/ 0 h 485775"/>
                <a:gd name="connsiteX3" fmla="*/ 485775 w 485775"/>
                <a:gd name="connsiteY3" fmla="*/ 0 h 485775"/>
                <a:gd name="connsiteX0" fmla="*/ 0 w 485775"/>
                <a:gd name="connsiteY0" fmla="*/ 485775 h 485775"/>
                <a:gd name="connsiteX1" fmla="*/ 0 w 485775"/>
                <a:gd name="connsiteY1" fmla="*/ 0 h 485775"/>
                <a:gd name="connsiteX2" fmla="*/ 485775 w 485775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5775" h="485775">
                  <a:moveTo>
                    <a:pt x="0" y="485775"/>
                  </a:moveTo>
                  <a:lnTo>
                    <a:pt x="0" y="0"/>
                  </a:lnTo>
                  <a:lnTo>
                    <a:pt x="485775" y="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50243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CDBDEB03-E397-4654-8098-35AFD0C1C429}"/>
              </a:ext>
            </a:extLst>
          </p:cNvPr>
          <p:cNvGrpSpPr/>
          <p:nvPr/>
        </p:nvGrpSpPr>
        <p:grpSpPr>
          <a:xfrm>
            <a:off x="5018643" y="2311811"/>
            <a:ext cx="1216152" cy="1219468"/>
            <a:chOff x="1054100" y="1496969"/>
            <a:chExt cx="1559398" cy="1219468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2708E3D-52A6-4D4B-BAFE-6630932C9B1D}"/>
                </a:ext>
              </a:extLst>
            </p:cNvPr>
            <p:cNvSpPr/>
            <p:nvPr/>
          </p:nvSpPr>
          <p:spPr bwMode="auto">
            <a:xfrm>
              <a:off x="1054100" y="1496969"/>
              <a:ext cx="1559398" cy="1219468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23FE6AA8-8688-4F26-8F47-5B73219B78DD}"/>
                </a:ext>
              </a:extLst>
            </p:cNvPr>
            <p:cNvSpPr/>
            <p:nvPr/>
          </p:nvSpPr>
          <p:spPr bwMode="auto">
            <a:xfrm>
              <a:off x="1116278" y="1545593"/>
              <a:ext cx="1435041" cy="112221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2EE16E3-F77B-4D45-B0B7-A8D66564F38E}"/>
              </a:ext>
            </a:extLst>
          </p:cNvPr>
          <p:cNvGrpSpPr/>
          <p:nvPr/>
        </p:nvGrpSpPr>
        <p:grpSpPr>
          <a:xfrm>
            <a:off x="8578985" y="2311044"/>
            <a:ext cx="1216152" cy="1219468"/>
            <a:chOff x="1054100" y="1496969"/>
            <a:chExt cx="1559398" cy="1219468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416B134-F6CE-4507-902D-60F7125A2079}"/>
                </a:ext>
              </a:extLst>
            </p:cNvPr>
            <p:cNvSpPr/>
            <p:nvPr/>
          </p:nvSpPr>
          <p:spPr bwMode="auto">
            <a:xfrm>
              <a:off x="1054100" y="1496969"/>
              <a:ext cx="1559398" cy="1219468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34C7675D-8044-4C87-8965-EE77597EF6AB}"/>
                </a:ext>
              </a:extLst>
            </p:cNvPr>
            <p:cNvSpPr/>
            <p:nvPr/>
          </p:nvSpPr>
          <p:spPr bwMode="auto">
            <a:xfrm>
              <a:off x="1116278" y="1545593"/>
              <a:ext cx="1435041" cy="112221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97F52F8-73CD-4625-9E43-A08F9C776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d Analytics Demo Scenario:</a:t>
            </a:r>
            <a:br>
              <a:rPr lang="en-US" dirty="0"/>
            </a:br>
            <a:r>
              <a:rPr lang="en-US" sz="2400" dirty="0"/>
              <a:t>Buy Online, Contactless Curbside Pickup</a:t>
            </a:r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CEE7C1F-D9AC-4A39-BFF7-E3BB4E4E36E1}"/>
              </a:ext>
            </a:extLst>
          </p:cNvPr>
          <p:cNvGrpSpPr/>
          <p:nvPr/>
        </p:nvGrpSpPr>
        <p:grpSpPr>
          <a:xfrm>
            <a:off x="1864960" y="2319469"/>
            <a:ext cx="1216152" cy="1219468"/>
            <a:chOff x="1054100" y="1496969"/>
            <a:chExt cx="1559398" cy="1219468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18A6FBC-80EF-4CDD-B9CF-30319F4EC941}"/>
                </a:ext>
              </a:extLst>
            </p:cNvPr>
            <p:cNvSpPr/>
            <p:nvPr/>
          </p:nvSpPr>
          <p:spPr bwMode="auto">
            <a:xfrm>
              <a:off x="1054100" y="1496969"/>
              <a:ext cx="1559398" cy="1219468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CA60E2E-A780-417F-9ED4-708E55B07393}"/>
                </a:ext>
              </a:extLst>
            </p:cNvPr>
            <p:cNvSpPr/>
            <p:nvPr/>
          </p:nvSpPr>
          <p:spPr bwMode="auto">
            <a:xfrm>
              <a:off x="1116278" y="1545593"/>
              <a:ext cx="1435041" cy="112221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152080E-457F-4070-8419-705FE9F4E85B}"/>
              </a:ext>
            </a:extLst>
          </p:cNvPr>
          <p:cNvGrpSpPr/>
          <p:nvPr/>
        </p:nvGrpSpPr>
        <p:grpSpPr>
          <a:xfrm>
            <a:off x="2131319" y="2628440"/>
            <a:ext cx="580692" cy="625386"/>
            <a:chOff x="5546552" y="2703016"/>
            <a:chExt cx="1079843" cy="1162954"/>
          </a:xfrm>
          <a:solidFill>
            <a:srgbClr val="0078D7"/>
          </a:solidFill>
        </p:grpSpPr>
        <p:sp>
          <p:nvSpPr>
            <p:cNvPr id="29" name="Freeform 70">
              <a:extLst>
                <a:ext uri="{FF2B5EF4-FFF2-40B4-BE49-F238E27FC236}">
                  <a16:creationId xmlns:a16="http://schemas.microsoft.com/office/drawing/2014/main" id="{46C63FAF-2669-4522-B5F3-CB958F806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681" y="2703016"/>
              <a:ext cx="647144" cy="394313"/>
            </a:xfrm>
            <a:custGeom>
              <a:avLst/>
              <a:gdLst>
                <a:gd name="T0" fmla="*/ 397 w 862"/>
                <a:gd name="T1" fmla="*/ 15 h 525"/>
                <a:gd name="T2" fmla="*/ 733 w 862"/>
                <a:gd name="T3" fmla="*/ 132 h 525"/>
                <a:gd name="T4" fmla="*/ 856 w 862"/>
                <a:gd name="T5" fmla="*/ 390 h 525"/>
                <a:gd name="T6" fmla="*/ 820 w 862"/>
                <a:gd name="T7" fmla="*/ 525 h 525"/>
                <a:gd name="T8" fmla="*/ 793 w 862"/>
                <a:gd name="T9" fmla="*/ 432 h 525"/>
                <a:gd name="T10" fmla="*/ 481 w 862"/>
                <a:gd name="T11" fmla="*/ 78 h 525"/>
                <a:gd name="T12" fmla="*/ 100 w 862"/>
                <a:gd name="T13" fmla="*/ 321 h 525"/>
                <a:gd name="T14" fmla="*/ 58 w 862"/>
                <a:gd name="T15" fmla="*/ 402 h 525"/>
                <a:gd name="T16" fmla="*/ 52 w 862"/>
                <a:gd name="T17" fmla="*/ 264 h 525"/>
                <a:gd name="T18" fmla="*/ 133 w 862"/>
                <a:gd name="T19" fmla="*/ 147 h 525"/>
                <a:gd name="T20" fmla="*/ 397 w 862"/>
                <a:gd name="T21" fmla="*/ 1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2" h="525">
                  <a:moveTo>
                    <a:pt x="397" y="15"/>
                  </a:moveTo>
                  <a:cubicBezTo>
                    <a:pt x="543" y="0"/>
                    <a:pt x="659" y="59"/>
                    <a:pt x="733" y="132"/>
                  </a:cubicBezTo>
                  <a:cubicBezTo>
                    <a:pt x="793" y="191"/>
                    <a:pt x="847" y="281"/>
                    <a:pt x="856" y="390"/>
                  </a:cubicBezTo>
                  <a:cubicBezTo>
                    <a:pt x="859" y="430"/>
                    <a:pt x="862" y="524"/>
                    <a:pt x="820" y="525"/>
                  </a:cubicBezTo>
                  <a:cubicBezTo>
                    <a:pt x="771" y="525"/>
                    <a:pt x="793" y="455"/>
                    <a:pt x="793" y="432"/>
                  </a:cubicBezTo>
                  <a:cubicBezTo>
                    <a:pt x="793" y="241"/>
                    <a:pt x="654" y="98"/>
                    <a:pt x="481" y="78"/>
                  </a:cubicBezTo>
                  <a:cubicBezTo>
                    <a:pt x="297" y="56"/>
                    <a:pt x="149" y="166"/>
                    <a:pt x="100" y="321"/>
                  </a:cubicBezTo>
                  <a:cubicBezTo>
                    <a:pt x="89" y="355"/>
                    <a:pt x="95" y="401"/>
                    <a:pt x="58" y="402"/>
                  </a:cubicBezTo>
                  <a:cubicBezTo>
                    <a:pt x="0" y="403"/>
                    <a:pt x="36" y="300"/>
                    <a:pt x="52" y="264"/>
                  </a:cubicBezTo>
                  <a:cubicBezTo>
                    <a:pt x="73" y="215"/>
                    <a:pt x="112" y="169"/>
                    <a:pt x="133" y="147"/>
                  </a:cubicBezTo>
                  <a:cubicBezTo>
                    <a:pt x="192" y="83"/>
                    <a:pt x="273" y="27"/>
                    <a:pt x="39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82A748F4-1F9F-41F4-893F-6923B6475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402" y="2817852"/>
              <a:ext cx="231259" cy="307076"/>
            </a:xfrm>
            <a:custGeom>
              <a:avLst/>
              <a:gdLst>
                <a:gd name="T0" fmla="*/ 179 w 308"/>
                <a:gd name="T1" fmla="*/ 90 h 409"/>
                <a:gd name="T2" fmla="*/ 266 w 308"/>
                <a:gd name="T3" fmla="*/ 216 h 409"/>
                <a:gd name="T4" fmla="*/ 233 w 308"/>
                <a:gd name="T5" fmla="*/ 231 h 409"/>
                <a:gd name="T6" fmla="*/ 194 w 308"/>
                <a:gd name="T7" fmla="*/ 171 h 409"/>
                <a:gd name="T8" fmla="*/ 95 w 308"/>
                <a:gd name="T9" fmla="*/ 210 h 409"/>
                <a:gd name="T10" fmla="*/ 266 w 308"/>
                <a:gd name="T11" fmla="*/ 393 h 409"/>
                <a:gd name="T12" fmla="*/ 239 w 308"/>
                <a:gd name="T13" fmla="*/ 408 h 409"/>
                <a:gd name="T14" fmla="*/ 203 w 308"/>
                <a:gd name="T15" fmla="*/ 357 h 409"/>
                <a:gd name="T16" fmla="*/ 44 w 308"/>
                <a:gd name="T17" fmla="*/ 258 h 409"/>
                <a:gd name="T18" fmla="*/ 113 w 308"/>
                <a:gd name="T19" fmla="*/ 96 h 409"/>
                <a:gd name="T20" fmla="*/ 179 w 308"/>
                <a:gd name="T21" fmla="*/ 9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8" h="409">
                  <a:moveTo>
                    <a:pt x="179" y="90"/>
                  </a:moveTo>
                  <a:cubicBezTo>
                    <a:pt x="229" y="108"/>
                    <a:pt x="280" y="142"/>
                    <a:pt x="266" y="216"/>
                  </a:cubicBezTo>
                  <a:cubicBezTo>
                    <a:pt x="250" y="226"/>
                    <a:pt x="250" y="232"/>
                    <a:pt x="233" y="231"/>
                  </a:cubicBezTo>
                  <a:cubicBezTo>
                    <a:pt x="201" y="228"/>
                    <a:pt x="209" y="189"/>
                    <a:pt x="194" y="171"/>
                  </a:cubicBezTo>
                  <a:cubicBezTo>
                    <a:pt x="169" y="142"/>
                    <a:pt x="81" y="150"/>
                    <a:pt x="95" y="210"/>
                  </a:cubicBezTo>
                  <a:cubicBezTo>
                    <a:pt x="109" y="272"/>
                    <a:pt x="308" y="266"/>
                    <a:pt x="266" y="393"/>
                  </a:cubicBezTo>
                  <a:cubicBezTo>
                    <a:pt x="259" y="398"/>
                    <a:pt x="251" y="407"/>
                    <a:pt x="239" y="408"/>
                  </a:cubicBezTo>
                  <a:cubicBezTo>
                    <a:pt x="204" y="409"/>
                    <a:pt x="216" y="381"/>
                    <a:pt x="203" y="357"/>
                  </a:cubicBezTo>
                  <a:cubicBezTo>
                    <a:pt x="180" y="315"/>
                    <a:pt x="73" y="301"/>
                    <a:pt x="44" y="258"/>
                  </a:cubicBezTo>
                  <a:cubicBezTo>
                    <a:pt x="0" y="194"/>
                    <a:pt x="37" y="112"/>
                    <a:pt x="113" y="96"/>
                  </a:cubicBezTo>
                  <a:cubicBezTo>
                    <a:pt x="84" y="8"/>
                    <a:pt x="203" y="0"/>
                    <a:pt x="179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3327169-5651-4BA3-A598-A94768880C42}"/>
                </a:ext>
              </a:extLst>
            </p:cNvPr>
            <p:cNvGrpSpPr/>
            <p:nvPr/>
          </p:nvGrpSpPr>
          <p:grpSpPr>
            <a:xfrm>
              <a:off x="5546552" y="2995182"/>
              <a:ext cx="1079843" cy="870788"/>
              <a:chOff x="5546552" y="2995182"/>
              <a:chExt cx="1079843" cy="870788"/>
            </a:xfrm>
            <a:grpFill/>
          </p:grpSpPr>
          <p:sp>
            <p:nvSpPr>
              <p:cNvPr id="32" name="Freeform 72">
                <a:extLst>
                  <a:ext uri="{FF2B5EF4-FFF2-40B4-BE49-F238E27FC236}">
                    <a16:creationId xmlns:a16="http://schemas.microsoft.com/office/drawing/2014/main" id="{AC12BB8A-226D-4585-A342-40821C578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552" y="2995182"/>
                <a:ext cx="1079843" cy="593849"/>
              </a:xfrm>
              <a:custGeom>
                <a:avLst/>
                <a:gdLst>
                  <a:gd name="T0" fmla="*/ 544 w 1438"/>
                  <a:gd name="T1" fmla="*/ 715 h 791"/>
                  <a:gd name="T2" fmla="*/ 1201 w 1438"/>
                  <a:gd name="T3" fmla="*/ 715 h 791"/>
                  <a:gd name="T4" fmla="*/ 1351 w 1438"/>
                  <a:gd name="T5" fmla="*/ 328 h 791"/>
                  <a:gd name="T6" fmla="*/ 649 w 1438"/>
                  <a:gd name="T7" fmla="*/ 229 h 791"/>
                  <a:gd name="T8" fmla="*/ 436 w 1438"/>
                  <a:gd name="T9" fmla="*/ 175 h 791"/>
                  <a:gd name="T10" fmla="*/ 538 w 1438"/>
                  <a:gd name="T11" fmla="*/ 148 h 791"/>
                  <a:gd name="T12" fmla="*/ 1312 w 1438"/>
                  <a:gd name="T13" fmla="*/ 256 h 791"/>
                  <a:gd name="T14" fmla="*/ 1426 w 1438"/>
                  <a:gd name="T15" fmla="*/ 286 h 791"/>
                  <a:gd name="T16" fmla="*/ 1387 w 1438"/>
                  <a:gd name="T17" fmla="*/ 412 h 791"/>
                  <a:gd name="T18" fmla="*/ 1294 w 1438"/>
                  <a:gd name="T19" fmla="*/ 658 h 791"/>
                  <a:gd name="T20" fmla="*/ 1243 w 1438"/>
                  <a:gd name="T21" fmla="*/ 775 h 791"/>
                  <a:gd name="T22" fmla="*/ 1057 w 1438"/>
                  <a:gd name="T23" fmla="*/ 778 h 791"/>
                  <a:gd name="T24" fmla="*/ 502 w 1438"/>
                  <a:gd name="T25" fmla="*/ 775 h 791"/>
                  <a:gd name="T26" fmla="*/ 226 w 1438"/>
                  <a:gd name="T27" fmla="*/ 76 h 791"/>
                  <a:gd name="T28" fmla="*/ 85 w 1438"/>
                  <a:gd name="T29" fmla="*/ 76 h 791"/>
                  <a:gd name="T30" fmla="*/ 55 w 1438"/>
                  <a:gd name="T31" fmla="*/ 172 h 791"/>
                  <a:gd name="T32" fmla="*/ 46 w 1438"/>
                  <a:gd name="T33" fmla="*/ 10 h 791"/>
                  <a:gd name="T34" fmla="*/ 262 w 1438"/>
                  <a:gd name="T35" fmla="*/ 16 h 791"/>
                  <a:gd name="T36" fmla="*/ 337 w 1438"/>
                  <a:gd name="T37" fmla="*/ 187 h 791"/>
                  <a:gd name="T38" fmla="*/ 544 w 1438"/>
                  <a:gd name="T39" fmla="*/ 715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38" h="791">
                    <a:moveTo>
                      <a:pt x="544" y="715"/>
                    </a:moveTo>
                    <a:cubicBezTo>
                      <a:pt x="763" y="715"/>
                      <a:pt x="982" y="715"/>
                      <a:pt x="1201" y="715"/>
                    </a:cubicBezTo>
                    <a:cubicBezTo>
                      <a:pt x="1253" y="588"/>
                      <a:pt x="1299" y="455"/>
                      <a:pt x="1351" y="328"/>
                    </a:cubicBezTo>
                    <a:cubicBezTo>
                      <a:pt x="1126" y="291"/>
                      <a:pt x="886" y="264"/>
                      <a:pt x="649" y="229"/>
                    </a:cubicBezTo>
                    <a:cubicBezTo>
                      <a:pt x="598" y="221"/>
                      <a:pt x="439" y="218"/>
                      <a:pt x="436" y="175"/>
                    </a:cubicBezTo>
                    <a:cubicBezTo>
                      <a:pt x="432" y="124"/>
                      <a:pt x="502" y="143"/>
                      <a:pt x="538" y="148"/>
                    </a:cubicBezTo>
                    <a:cubicBezTo>
                      <a:pt x="801" y="185"/>
                      <a:pt x="1043" y="222"/>
                      <a:pt x="1312" y="256"/>
                    </a:cubicBezTo>
                    <a:cubicBezTo>
                      <a:pt x="1354" y="261"/>
                      <a:pt x="1416" y="261"/>
                      <a:pt x="1426" y="286"/>
                    </a:cubicBezTo>
                    <a:cubicBezTo>
                      <a:pt x="1438" y="317"/>
                      <a:pt x="1399" y="381"/>
                      <a:pt x="1387" y="412"/>
                    </a:cubicBezTo>
                    <a:cubicBezTo>
                      <a:pt x="1356" y="493"/>
                      <a:pt x="1325" y="573"/>
                      <a:pt x="1294" y="658"/>
                    </a:cubicBezTo>
                    <a:cubicBezTo>
                      <a:pt x="1283" y="687"/>
                      <a:pt x="1261" y="764"/>
                      <a:pt x="1243" y="775"/>
                    </a:cubicBezTo>
                    <a:cubicBezTo>
                      <a:pt x="1215" y="791"/>
                      <a:pt x="1103" y="778"/>
                      <a:pt x="1057" y="778"/>
                    </a:cubicBezTo>
                    <a:cubicBezTo>
                      <a:pt x="872" y="778"/>
                      <a:pt x="686" y="782"/>
                      <a:pt x="502" y="775"/>
                    </a:cubicBezTo>
                    <a:cubicBezTo>
                      <a:pt x="403" y="548"/>
                      <a:pt x="318" y="308"/>
                      <a:pt x="226" y="76"/>
                    </a:cubicBezTo>
                    <a:cubicBezTo>
                      <a:pt x="179" y="76"/>
                      <a:pt x="132" y="76"/>
                      <a:pt x="85" y="76"/>
                    </a:cubicBezTo>
                    <a:cubicBezTo>
                      <a:pt x="83" y="121"/>
                      <a:pt x="95" y="169"/>
                      <a:pt x="55" y="172"/>
                    </a:cubicBezTo>
                    <a:cubicBezTo>
                      <a:pt x="0" y="175"/>
                      <a:pt x="6" y="20"/>
                      <a:pt x="46" y="10"/>
                    </a:cubicBezTo>
                    <a:cubicBezTo>
                      <a:pt x="80" y="0"/>
                      <a:pt x="236" y="2"/>
                      <a:pt x="262" y="16"/>
                    </a:cubicBezTo>
                    <a:cubicBezTo>
                      <a:pt x="295" y="33"/>
                      <a:pt x="322" y="150"/>
                      <a:pt x="337" y="187"/>
                    </a:cubicBezTo>
                    <a:cubicBezTo>
                      <a:pt x="405" y="361"/>
                      <a:pt x="480" y="547"/>
                      <a:pt x="544" y="7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73">
                <a:extLst>
                  <a:ext uri="{FF2B5EF4-FFF2-40B4-BE49-F238E27FC236}">
                    <a16:creationId xmlns:a16="http://schemas.microsoft.com/office/drawing/2014/main" id="{BF15CE22-DDDD-4FC0-B876-3D7A0BED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244" y="3234688"/>
                <a:ext cx="403196" cy="66618"/>
              </a:xfrm>
              <a:custGeom>
                <a:avLst/>
                <a:gdLst>
                  <a:gd name="T0" fmla="*/ 27 w 537"/>
                  <a:gd name="T1" fmla="*/ 15 h 89"/>
                  <a:gd name="T2" fmla="*/ 30 w 537"/>
                  <a:gd name="T3" fmla="*/ 12 h 89"/>
                  <a:gd name="T4" fmla="*/ 408 w 537"/>
                  <a:gd name="T5" fmla="*/ 12 h 89"/>
                  <a:gd name="T6" fmla="*/ 516 w 537"/>
                  <a:gd name="T7" fmla="*/ 57 h 89"/>
                  <a:gd name="T8" fmla="*/ 429 w 537"/>
                  <a:gd name="T9" fmla="*/ 75 h 89"/>
                  <a:gd name="T10" fmla="*/ 207 w 537"/>
                  <a:gd name="T11" fmla="*/ 78 h 89"/>
                  <a:gd name="T12" fmla="*/ 6 w 537"/>
                  <a:gd name="T13" fmla="*/ 54 h 89"/>
                  <a:gd name="T14" fmla="*/ 27 w 537"/>
                  <a:gd name="T15" fmla="*/ 1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7" h="89">
                    <a:moveTo>
                      <a:pt x="27" y="15"/>
                    </a:moveTo>
                    <a:cubicBezTo>
                      <a:pt x="28" y="14"/>
                      <a:pt x="27" y="12"/>
                      <a:pt x="30" y="12"/>
                    </a:cubicBezTo>
                    <a:cubicBezTo>
                      <a:pt x="138" y="4"/>
                      <a:pt x="278" y="12"/>
                      <a:pt x="408" y="12"/>
                    </a:cubicBezTo>
                    <a:cubicBezTo>
                      <a:pt x="455" y="12"/>
                      <a:pt x="537" y="0"/>
                      <a:pt x="516" y="57"/>
                    </a:cubicBezTo>
                    <a:cubicBezTo>
                      <a:pt x="506" y="81"/>
                      <a:pt x="460" y="75"/>
                      <a:pt x="429" y="75"/>
                    </a:cubicBezTo>
                    <a:cubicBezTo>
                      <a:pt x="361" y="75"/>
                      <a:pt x="305" y="78"/>
                      <a:pt x="207" y="78"/>
                    </a:cubicBezTo>
                    <a:cubicBezTo>
                      <a:pt x="150" y="77"/>
                      <a:pt x="17" y="89"/>
                      <a:pt x="6" y="54"/>
                    </a:cubicBezTo>
                    <a:cubicBezTo>
                      <a:pt x="0" y="34"/>
                      <a:pt x="10" y="21"/>
                      <a:pt x="27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74">
                <a:extLst>
                  <a:ext uri="{FF2B5EF4-FFF2-40B4-BE49-F238E27FC236}">
                    <a16:creationId xmlns:a16="http://schemas.microsoft.com/office/drawing/2014/main" id="{ED82C131-9D76-43E8-B137-F7105BAAE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3389" y="3329856"/>
                <a:ext cx="487262" cy="66935"/>
              </a:xfrm>
              <a:custGeom>
                <a:avLst/>
                <a:gdLst>
                  <a:gd name="T0" fmla="*/ 37 w 649"/>
                  <a:gd name="T1" fmla="*/ 14 h 89"/>
                  <a:gd name="T2" fmla="*/ 40 w 649"/>
                  <a:gd name="T3" fmla="*/ 11 h 89"/>
                  <a:gd name="T4" fmla="*/ 523 w 649"/>
                  <a:gd name="T5" fmla="*/ 11 h 89"/>
                  <a:gd name="T6" fmla="*/ 649 w 649"/>
                  <a:gd name="T7" fmla="*/ 44 h 89"/>
                  <a:gd name="T8" fmla="*/ 508 w 649"/>
                  <a:gd name="T9" fmla="*/ 77 h 89"/>
                  <a:gd name="T10" fmla="*/ 163 w 649"/>
                  <a:gd name="T11" fmla="*/ 77 h 89"/>
                  <a:gd name="T12" fmla="*/ 10 w 649"/>
                  <a:gd name="T13" fmla="*/ 59 h 89"/>
                  <a:gd name="T14" fmla="*/ 37 w 649"/>
                  <a:gd name="T15" fmla="*/ 1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9" h="89">
                    <a:moveTo>
                      <a:pt x="37" y="14"/>
                    </a:moveTo>
                    <a:cubicBezTo>
                      <a:pt x="38" y="13"/>
                      <a:pt x="37" y="11"/>
                      <a:pt x="40" y="11"/>
                    </a:cubicBezTo>
                    <a:cubicBezTo>
                      <a:pt x="180" y="0"/>
                      <a:pt x="363" y="11"/>
                      <a:pt x="523" y="11"/>
                    </a:cubicBezTo>
                    <a:cubicBezTo>
                      <a:pt x="579" y="11"/>
                      <a:pt x="648" y="3"/>
                      <a:pt x="649" y="44"/>
                    </a:cubicBezTo>
                    <a:cubicBezTo>
                      <a:pt x="649" y="89"/>
                      <a:pt x="565" y="77"/>
                      <a:pt x="508" y="77"/>
                    </a:cubicBezTo>
                    <a:cubicBezTo>
                      <a:pt x="387" y="77"/>
                      <a:pt x="287" y="77"/>
                      <a:pt x="163" y="77"/>
                    </a:cubicBezTo>
                    <a:cubicBezTo>
                      <a:pt x="115" y="77"/>
                      <a:pt x="21" y="87"/>
                      <a:pt x="10" y="59"/>
                    </a:cubicBezTo>
                    <a:cubicBezTo>
                      <a:pt x="0" y="34"/>
                      <a:pt x="17" y="19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75">
                <a:extLst>
                  <a:ext uri="{FF2B5EF4-FFF2-40B4-BE49-F238E27FC236}">
                    <a16:creationId xmlns:a16="http://schemas.microsoft.com/office/drawing/2014/main" id="{B880291A-F49F-4199-AB77-2F4584F54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7196" y="3427562"/>
                <a:ext cx="483455" cy="65983"/>
              </a:xfrm>
              <a:custGeom>
                <a:avLst/>
                <a:gdLst>
                  <a:gd name="T0" fmla="*/ 26 w 644"/>
                  <a:gd name="T1" fmla="*/ 13 h 88"/>
                  <a:gd name="T2" fmla="*/ 515 w 644"/>
                  <a:gd name="T3" fmla="*/ 10 h 88"/>
                  <a:gd name="T4" fmla="*/ 644 w 644"/>
                  <a:gd name="T5" fmla="*/ 43 h 88"/>
                  <a:gd name="T6" fmla="*/ 503 w 644"/>
                  <a:gd name="T7" fmla="*/ 76 h 88"/>
                  <a:gd name="T8" fmla="*/ 155 w 644"/>
                  <a:gd name="T9" fmla="*/ 76 h 88"/>
                  <a:gd name="T10" fmla="*/ 5 w 644"/>
                  <a:gd name="T11" fmla="*/ 52 h 88"/>
                  <a:gd name="T12" fmla="*/ 26 w 644"/>
                  <a:gd name="T13" fmla="*/ 1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4" h="88">
                    <a:moveTo>
                      <a:pt x="26" y="13"/>
                    </a:moveTo>
                    <a:cubicBezTo>
                      <a:pt x="158" y="7"/>
                      <a:pt x="355" y="10"/>
                      <a:pt x="515" y="10"/>
                    </a:cubicBezTo>
                    <a:cubicBezTo>
                      <a:pt x="570" y="10"/>
                      <a:pt x="644" y="0"/>
                      <a:pt x="644" y="43"/>
                    </a:cubicBezTo>
                    <a:cubicBezTo>
                      <a:pt x="644" y="88"/>
                      <a:pt x="560" y="76"/>
                      <a:pt x="503" y="76"/>
                    </a:cubicBezTo>
                    <a:cubicBezTo>
                      <a:pt x="382" y="76"/>
                      <a:pt x="280" y="76"/>
                      <a:pt x="155" y="76"/>
                    </a:cubicBezTo>
                    <a:cubicBezTo>
                      <a:pt x="102" y="76"/>
                      <a:pt x="15" y="87"/>
                      <a:pt x="5" y="52"/>
                    </a:cubicBezTo>
                    <a:cubicBezTo>
                      <a:pt x="0" y="35"/>
                      <a:pt x="8" y="16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76">
                <a:extLst>
                  <a:ext uri="{FF2B5EF4-FFF2-40B4-BE49-F238E27FC236}">
                    <a16:creationId xmlns:a16="http://schemas.microsoft.com/office/drawing/2014/main" id="{B7956BF3-58D6-4EEC-82A5-7183075E35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6288" y="3589665"/>
                <a:ext cx="306442" cy="271863"/>
              </a:xfrm>
              <a:custGeom>
                <a:avLst/>
                <a:gdLst>
                  <a:gd name="T0" fmla="*/ 188 w 408"/>
                  <a:gd name="T1" fmla="*/ 25 h 362"/>
                  <a:gd name="T2" fmla="*/ 266 w 408"/>
                  <a:gd name="T3" fmla="*/ 298 h 362"/>
                  <a:gd name="T4" fmla="*/ 116 w 408"/>
                  <a:gd name="T5" fmla="*/ 55 h 362"/>
                  <a:gd name="T6" fmla="*/ 188 w 408"/>
                  <a:gd name="T7" fmla="*/ 25 h 362"/>
                  <a:gd name="T8" fmla="*/ 131 w 408"/>
                  <a:gd name="T9" fmla="*/ 166 h 362"/>
                  <a:gd name="T10" fmla="*/ 287 w 408"/>
                  <a:gd name="T11" fmla="*/ 175 h 362"/>
                  <a:gd name="T12" fmla="*/ 191 w 408"/>
                  <a:gd name="T13" fmla="*/ 91 h 362"/>
                  <a:gd name="T14" fmla="*/ 131 w 408"/>
                  <a:gd name="T15" fmla="*/ 166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8" h="362">
                    <a:moveTo>
                      <a:pt x="188" y="25"/>
                    </a:moveTo>
                    <a:cubicBezTo>
                      <a:pt x="357" y="0"/>
                      <a:pt x="408" y="238"/>
                      <a:pt x="266" y="298"/>
                    </a:cubicBezTo>
                    <a:cubicBezTo>
                      <a:pt x="112" y="362"/>
                      <a:pt x="0" y="154"/>
                      <a:pt x="116" y="55"/>
                    </a:cubicBezTo>
                    <a:cubicBezTo>
                      <a:pt x="132" y="41"/>
                      <a:pt x="158" y="29"/>
                      <a:pt x="188" y="25"/>
                    </a:cubicBezTo>
                    <a:close/>
                    <a:moveTo>
                      <a:pt x="131" y="166"/>
                    </a:moveTo>
                    <a:cubicBezTo>
                      <a:pt x="132" y="262"/>
                      <a:pt x="277" y="268"/>
                      <a:pt x="287" y="175"/>
                    </a:cubicBezTo>
                    <a:cubicBezTo>
                      <a:pt x="293" y="115"/>
                      <a:pt x="250" y="78"/>
                      <a:pt x="191" y="91"/>
                    </a:cubicBezTo>
                    <a:cubicBezTo>
                      <a:pt x="148" y="100"/>
                      <a:pt x="130" y="130"/>
                      <a:pt x="131" y="1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77">
                <a:extLst>
                  <a:ext uri="{FF2B5EF4-FFF2-40B4-BE49-F238E27FC236}">
                    <a16:creationId xmlns:a16="http://schemas.microsoft.com/office/drawing/2014/main" id="{FA8FC240-DFEB-4ECC-8047-CD1CA32EB9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419" y="3597913"/>
                <a:ext cx="234114" cy="268057"/>
              </a:xfrm>
              <a:custGeom>
                <a:avLst/>
                <a:gdLst>
                  <a:gd name="T0" fmla="*/ 132 w 312"/>
                  <a:gd name="T1" fmla="*/ 14 h 357"/>
                  <a:gd name="T2" fmla="*/ 297 w 312"/>
                  <a:gd name="T3" fmla="*/ 140 h 357"/>
                  <a:gd name="T4" fmla="*/ 12 w 312"/>
                  <a:gd name="T5" fmla="*/ 176 h 357"/>
                  <a:gd name="T6" fmla="*/ 132 w 312"/>
                  <a:gd name="T7" fmla="*/ 14 h 357"/>
                  <a:gd name="T8" fmla="*/ 123 w 312"/>
                  <a:gd name="T9" fmla="*/ 227 h 357"/>
                  <a:gd name="T10" fmla="*/ 135 w 312"/>
                  <a:gd name="T11" fmla="*/ 80 h 357"/>
                  <a:gd name="T12" fmla="*/ 123 w 312"/>
                  <a:gd name="T13" fmla="*/ 22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2" h="357">
                    <a:moveTo>
                      <a:pt x="132" y="14"/>
                    </a:moveTo>
                    <a:cubicBezTo>
                      <a:pt x="221" y="0"/>
                      <a:pt x="290" y="62"/>
                      <a:pt x="297" y="140"/>
                    </a:cubicBezTo>
                    <a:cubicBezTo>
                      <a:pt x="312" y="322"/>
                      <a:pt x="36" y="357"/>
                      <a:pt x="12" y="176"/>
                    </a:cubicBezTo>
                    <a:cubicBezTo>
                      <a:pt x="0" y="84"/>
                      <a:pt x="60" y="25"/>
                      <a:pt x="132" y="14"/>
                    </a:cubicBezTo>
                    <a:close/>
                    <a:moveTo>
                      <a:pt x="123" y="227"/>
                    </a:moveTo>
                    <a:cubicBezTo>
                      <a:pt x="246" y="276"/>
                      <a:pt x="275" y="49"/>
                      <a:pt x="135" y="80"/>
                    </a:cubicBezTo>
                    <a:cubicBezTo>
                      <a:pt x="56" y="97"/>
                      <a:pt x="68" y="205"/>
                      <a:pt x="123" y="2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66052A3-FCA7-4EE1-B3EF-B58BB85DB609}"/>
              </a:ext>
            </a:extLst>
          </p:cNvPr>
          <p:cNvGrpSpPr/>
          <p:nvPr/>
        </p:nvGrpSpPr>
        <p:grpSpPr>
          <a:xfrm>
            <a:off x="5299555" y="2620821"/>
            <a:ext cx="575552" cy="593758"/>
            <a:chOff x="13465175" y="1290638"/>
            <a:chExt cx="903288" cy="931862"/>
          </a:xfrm>
          <a:solidFill>
            <a:srgbClr val="35A4FF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B0021FDE-CB23-4B02-9A23-02A3EC7ABF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65175" y="1290638"/>
              <a:ext cx="903288" cy="931862"/>
            </a:xfrm>
            <a:custGeom>
              <a:avLst/>
              <a:gdLst>
                <a:gd name="T0" fmla="*/ 209 w 248"/>
                <a:gd name="T1" fmla="*/ 6 h 256"/>
                <a:gd name="T2" fmla="*/ 110 w 248"/>
                <a:gd name="T3" fmla="*/ 0 h 256"/>
                <a:gd name="T4" fmla="*/ 115 w 248"/>
                <a:gd name="T5" fmla="*/ 28 h 256"/>
                <a:gd name="T6" fmla="*/ 66 w 248"/>
                <a:gd name="T7" fmla="*/ 98 h 256"/>
                <a:gd name="T8" fmla="*/ 54 w 248"/>
                <a:gd name="T9" fmla="*/ 116 h 256"/>
                <a:gd name="T10" fmla="*/ 26 w 248"/>
                <a:gd name="T11" fmla="*/ 114 h 256"/>
                <a:gd name="T12" fmla="*/ 22 w 248"/>
                <a:gd name="T13" fmla="*/ 143 h 256"/>
                <a:gd name="T14" fmla="*/ 0 w 248"/>
                <a:gd name="T15" fmla="*/ 161 h 256"/>
                <a:gd name="T16" fmla="*/ 18 w 248"/>
                <a:gd name="T17" fmla="*/ 185 h 256"/>
                <a:gd name="T18" fmla="*/ 15 w 248"/>
                <a:gd name="T19" fmla="*/ 213 h 256"/>
                <a:gd name="T20" fmla="*/ 46 w 248"/>
                <a:gd name="T21" fmla="*/ 217 h 256"/>
                <a:gd name="T22" fmla="*/ 62 w 248"/>
                <a:gd name="T23" fmla="*/ 239 h 256"/>
                <a:gd name="T24" fmla="*/ 81 w 248"/>
                <a:gd name="T25" fmla="*/ 256 h 256"/>
                <a:gd name="T26" fmla="*/ 248 w 248"/>
                <a:gd name="T27" fmla="*/ 44 h 256"/>
                <a:gd name="T28" fmla="*/ 186 w 248"/>
                <a:gd name="T29" fmla="*/ 42 h 256"/>
                <a:gd name="T30" fmla="*/ 199 w 248"/>
                <a:gd name="T31" fmla="*/ 8 h 256"/>
                <a:gd name="T32" fmla="*/ 48 w 248"/>
                <a:gd name="T33" fmla="*/ 210 h 256"/>
                <a:gd name="T34" fmla="*/ 22 w 248"/>
                <a:gd name="T35" fmla="*/ 210 h 256"/>
                <a:gd name="T36" fmla="*/ 25 w 248"/>
                <a:gd name="T37" fmla="*/ 182 h 256"/>
                <a:gd name="T38" fmla="*/ 8 w 248"/>
                <a:gd name="T39" fmla="*/ 164 h 256"/>
                <a:gd name="T40" fmla="*/ 29 w 248"/>
                <a:gd name="T41" fmla="*/ 145 h 256"/>
                <a:gd name="T42" fmla="*/ 30 w 248"/>
                <a:gd name="T43" fmla="*/ 121 h 256"/>
                <a:gd name="T44" fmla="*/ 58 w 248"/>
                <a:gd name="T45" fmla="*/ 123 h 256"/>
                <a:gd name="T46" fmla="*/ 75 w 248"/>
                <a:gd name="T47" fmla="*/ 106 h 256"/>
                <a:gd name="T48" fmla="*/ 94 w 248"/>
                <a:gd name="T49" fmla="*/ 128 h 256"/>
                <a:gd name="T50" fmla="*/ 118 w 248"/>
                <a:gd name="T51" fmla="*/ 128 h 256"/>
                <a:gd name="T52" fmla="*/ 116 w 248"/>
                <a:gd name="T53" fmla="*/ 156 h 256"/>
                <a:gd name="T54" fmla="*/ 133 w 248"/>
                <a:gd name="T55" fmla="*/ 174 h 256"/>
                <a:gd name="T56" fmla="*/ 111 w 248"/>
                <a:gd name="T57" fmla="*/ 191 h 256"/>
                <a:gd name="T58" fmla="*/ 111 w 248"/>
                <a:gd name="T59" fmla="*/ 216 h 256"/>
                <a:gd name="T60" fmla="*/ 83 w 248"/>
                <a:gd name="T61" fmla="*/ 213 h 256"/>
                <a:gd name="T62" fmla="*/ 70 w 248"/>
                <a:gd name="T63" fmla="*/ 231 h 256"/>
                <a:gd name="T64" fmla="*/ 65 w 248"/>
                <a:gd name="T65" fmla="*/ 231 h 256"/>
                <a:gd name="T66" fmla="*/ 233 w 248"/>
                <a:gd name="T67" fmla="*/ 248 h 256"/>
                <a:gd name="T68" fmla="*/ 74 w 248"/>
                <a:gd name="T69" fmla="*/ 240 h 256"/>
                <a:gd name="T70" fmla="*/ 87 w 248"/>
                <a:gd name="T71" fmla="*/ 220 h 256"/>
                <a:gd name="T72" fmla="*/ 114 w 248"/>
                <a:gd name="T73" fmla="*/ 224 h 256"/>
                <a:gd name="T74" fmla="*/ 119 w 248"/>
                <a:gd name="T75" fmla="*/ 194 h 256"/>
                <a:gd name="T76" fmla="*/ 140 w 248"/>
                <a:gd name="T77" fmla="*/ 176 h 256"/>
                <a:gd name="T78" fmla="*/ 123 w 248"/>
                <a:gd name="T79" fmla="*/ 152 h 256"/>
                <a:gd name="T80" fmla="*/ 126 w 248"/>
                <a:gd name="T81" fmla="*/ 124 h 256"/>
                <a:gd name="T82" fmla="*/ 96 w 248"/>
                <a:gd name="T83" fmla="*/ 120 h 256"/>
                <a:gd name="T84" fmla="*/ 78 w 248"/>
                <a:gd name="T85" fmla="*/ 98 h 256"/>
                <a:gd name="T86" fmla="*/ 82 w 248"/>
                <a:gd name="T87" fmla="*/ 36 h 256"/>
                <a:gd name="T88" fmla="*/ 126 w 248"/>
                <a:gd name="T89" fmla="*/ 49 h 256"/>
                <a:gd name="T90" fmla="*/ 197 w 248"/>
                <a:gd name="T91" fmla="*/ 36 h 256"/>
                <a:gd name="T92" fmla="*/ 240 w 248"/>
                <a:gd name="T93" fmla="*/ 24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8" h="256">
                  <a:moveTo>
                    <a:pt x="233" y="29"/>
                  </a:moveTo>
                  <a:cubicBezTo>
                    <a:pt x="200" y="29"/>
                    <a:pt x="200" y="29"/>
                    <a:pt x="200" y="29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4"/>
                    <a:pt x="209" y="3"/>
                    <a:pt x="208" y="2"/>
                  </a:cubicBezTo>
                  <a:cubicBezTo>
                    <a:pt x="208" y="1"/>
                    <a:pt x="206" y="0"/>
                    <a:pt x="205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8" y="0"/>
                    <a:pt x="107" y="1"/>
                    <a:pt x="106" y="2"/>
                  </a:cubicBezTo>
                  <a:cubicBezTo>
                    <a:pt x="106" y="3"/>
                    <a:pt x="106" y="4"/>
                    <a:pt x="106" y="5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4" y="28"/>
                    <a:pt x="66" y="35"/>
                    <a:pt x="66" y="44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1" y="98"/>
                    <a:pt x="60" y="99"/>
                    <a:pt x="59" y="101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51" y="116"/>
                    <a:pt x="48" y="118"/>
                    <a:pt x="45" y="120"/>
                  </a:cubicBezTo>
                  <a:cubicBezTo>
                    <a:pt x="31" y="113"/>
                    <a:pt x="31" y="113"/>
                    <a:pt x="31" y="113"/>
                  </a:cubicBezTo>
                  <a:cubicBezTo>
                    <a:pt x="29" y="112"/>
                    <a:pt x="28" y="112"/>
                    <a:pt x="26" y="11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4" y="126"/>
                    <a:pt x="14" y="128"/>
                    <a:pt x="15" y="129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0" y="146"/>
                    <a:pt x="19" y="149"/>
                    <a:pt x="18" y="152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1" y="158"/>
                    <a:pt x="0" y="159"/>
                    <a:pt x="0" y="161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178"/>
                    <a:pt x="1" y="179"/>
                    <a:pt x="2" y="180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9" y="188"/>
                    <a:pt x="20" y="190"/>
                    <a:pt x="21" y="193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3" y="210"/>
                    <a:pt x="14" y="212"/>
                    <a:pt x="15" y="213"/>
                  </a:cubicBezTo>
                  <a:cubicBezTo>
                    <a:pt x="26" y="224"/>
                    <a:pt x="26" y="224"/>
                    <a:pt x="26" y="224"/>
                  </a:cubicBezTo>
                  <a:cubicBezTo>
                    <a:pt x="27" y="225"/>
                    <a:pt x="29" y="225"/>
                    <a:pt x="30" y="224"/>
                  </a:cubicBezTo>
                  <a:cubicBezTo>
                    <a:pt x="46" y="217"/>
                    <a:pt x="46" y="217"/>
                    <a:pt x="46" y="217"/>
                  </a:cubicBezTo>
                  <a:cubicBezTo>
                    <a:pt x="48" y="218"/>
                    <a:pt x="50" y="219"/>
                    <a:pt x="53" y="220"/>
                  </a:cubicBezTo>
                  <a:cubicBezTo>
                    <a:pt x="58" y="236"/>
                    <a:pt x="58" y="236"/>
                    <a:pt x="58" y="236"/>
                  </a:cubicBezTo>
                  <a:cubicBezTo>
                    <a:pt x="59" y="238"/>
                    <a:pt x="60" y="239"/>
                    <a:pt x="62" y="239"/>
                  </a:cubicBezTo>
                  <a:cubicBezTo>
                    <a:pt x="66" y="239"/>
                    <a:pt x="66" y="239"/>
                    <a:pt x="66" y="239"/>
                  </a:cubicBezTo>
                  <a:cubicBezTo>
                    <a:pt x="66" y="240"/>
                    <a:pt x="66" y="240"/>
                    <a:pt x="66" y="240"/>
                  </a:cubicBezTo>
                  <a:cubicBezTo>
                    <a:pt x="66" y="248"/>
                    <a:pt x="72" y="256"/>
                    <a:pt x="81" y="256"/>
                  </a:cubicBezTo>
                  <a:cubicBezTo>
                    <a:pt x="232" y="256"/>
                    <a:pt x="232" y="256"/>
                    <a:pt x="232" y="256"/>
                  </a:cubicBezTo>
                  <a:cubicBezTo>
                    <a:pt x="240" y="256"/>
                    <a:pt x="248" y="249"/>
                    <a:pt x="248" y="240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48" y="36"/>
                    <a:pt x="241" y="29"/>
                    <a:pt x="233" y="29"/>
                  </a:cubicBezTo>
                  <a:close/>
                  <a:moveTo>
                    <a:pt x="199" y="8"/>
                  </a:moveTo>
                  <a:cubicBezTo>
                    <a:pt x="198" y="10"/>
                    <a:pt x="186" y="44"/>
                    <a:pt x="186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41"/>
                    <a:pt x="115" y="7"/>
                    <a:pt x="116" y="8"/>
                  </a:cubicBezTo>
                  <a:lnTo>
                    <a:pt x="199" y="8"/>
                  </a:lnTo>
                  <a:close/>
                  <a:moveTo>
                    <a:pt x="60" y="216"/>
                  </a:moveTo>
                  <a:cubicBezTo>
                    <a:pt x="60" y="215"/>
                    <a:pt x="58" y="214"/>
                    <a:pt x="57" y="214"/>
                  </a:cubicBezTo>
                  <a:cubicBezTo>
                    <a:pt x="54" y="213"/>
                    <a:pt x="50" y="211"/>
                    <a:pt x="48" y="210"/>
                  </a:cubicBezTo>
                  <a:cubicBezTo>
                    <a:pt x="46" y="209"/>
                    <a:pt x="45" y="209"/>
                    <a:pt x="44" y="210"/>
                  </a:cubicBezTo>
                  <a:cubicBezTo>
                    <a:pt x="29" y="217"/>
                    <a:pt x="29" y="217"/>
                    <a:pt x="29" y="217"/>
                  </a:cubicBezTo>
                  <a:cubicBezTo>
                    <a:pt x="22" y="210"/>
                    <a:pt x="22" y="210"/>
                    <a:pt x="22" y="210"/>
                  </a:cubicBezTo>
                  <a:cubicBezTo>
                    <a:pt x="29" y="196"/>
                    <a:pt x="29" y="196"/>
                    <a:pt x="29" y="196"/>
                  </a:cubicBezTo>
                  <a:cubicBezTo>
                    <a:pt x="30" y="194"/>
                    <a:pt x="30" y="193"/>
                    <a:pt x="29" y="192"/>
                  </a:cubicBezTo>
                  <a:cubicBezTo>
                    <a:pt x="27" y="189"/>
                    <a:pt x="26" y="185"/>
                    <a:pt x="25" y="182"/>
                  </a:cubicBezTo>
                  <a:cubicBezTo>
                    <a:pt x="24" y="181"/>
                    <a:pt x="24" y="180"/>
                    <a:pt x="22" y="179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22" y="159"/>
                    <a:pt x="22" y="159"/>
                    <a:pt x="22" y="159"/>
                  </a:cubicBezTo>
                  <a:cubicBezTo>
                    <a:pt x="23" y="158"/>
                    <a:pt x="24" y="157"/>
                    <a:pt x="24" y="156"/>
                  </a:cubicBezTo>
                  <a:cubicBezTo>
                    <a:pt x="26" y="152"/>
                    <a:pt x="27" y="148"/>
                    <a:pt x="29" y="145"/>
                  </a:cubicBezTo>
                  <a:cubicBezTo>
                    <a:pt x="30" y="144"/>
                    <a:pt x="30" y="143"/>
                    <a:pt x="29" y="142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4" y="128"/>
                    <a:pt x="46" y="128"/>
                    <a:pt x="47" y="128"/>
                  </a:cubicBezTo>
                  <a:cubicBezTo>
                    <a:pt x="50" y="126"/>
                    <a:pt x="54" y="124"/>
                    <a:pt x="58" y="123"/>
                  </a:cubicBezTo>
                  <a:cubicBezTo>
                    <a:pt x="59" y="122"/>
                    <a:pt x="60" y="122"/>
                    <a:pt x="61" y="120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6" y="106"/>
                    <a:pt x="76" y="106"/>
                    <a:pt x="75" y="106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80" y="122"/>
                    <a:pt x="82" y="122"/>
                    <a:pt x="83" y="123"/>
                  </a:cubicBezTo>
                  <a:cubicBezTo>
                    <a:pt x="87" y="124"/>
                    <a:pt x="90" y="126"/>
                    <a:pt x="94" y="128"/>
                  </a:cubicBezTo>
                  <a:cubicBezTo>
                    <a:pt x="95" y="128"/>
                    <a:pt x="96" y="128"/>
                    <a:pt x="98" y="128"/>
                  </a:cubicBezTo>
                  <a:cubicBezTo>
                    <a:pt x="111" y="121"/>
                    <a:pt x="111" y="121"/>
                    <a:pt x="111" y="121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12" y="142"/>
                    <a:pt x="112" y="142"/>
                    <a:pt x="112" y="142"/>
                  </a:cubicBezTo>
                  <a:cubicBezTo>
                    <a:pt x="111" y="143"/>
                    <a:pt x="111" y="144"/>
                    <a:pt x="112" y="145"/>
                  </a:cubicBezTo>
                  <a:cubicBezTo>
                    <a:pt x="114" y="148"/>
                    <a:pt x="115" y="152"/>
                    <a:pt x="116" y="156"/>
                  </a:cubicBezTo>
                  <a:cubicBezTo>
                    <a:pt x="116" y="157"/>
                    <a:pt x="117" y="158"/>
                    <a:pt x="118" y="159"/>
                  </a:cubicBezTo>
                  <a:cubicBezTo>
                    <a:pt x="133" y="164"/>
                    <a:pt x="133" y="164"/>
                    <a:pt x="133" y="164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17" y="179"/>
                    <a:pt x="116" y="180"/>
                    <a:pt x="116" y="181"/>
                  </a:cubicBezTo>
                  <a:cubicBezTo>
                    <a:pt x="114" y="185"/>
                    <a:pt x="113" y="188"/>
                    <a:pt x="111" y="191"/>
                  </a:cubicBezTo>
                  <a:cubicBezTo>
                    <a:pt x="110" y="192"/>
                    <a:pt x="110" y="194"/>
                    <a:pt x="111" y="195"/>
                  </a:cubicBezTo>
                  <a:cubicBezTo>
                    <a:pt x="118" y="209"/>
                    <a:pt x="118" y="209"/>
                    <a:pt x="118" y="209"/>
                  </a:cubicBezTo>
                  <a:cubicBezTo>
                    <a:pt x="111" y="216"/>
                    <a:pt x="111" y="216"/>
                    <a:pt x="111" y="216"/>
                  </a:cubicBezTo>
                  <a:cubicBezTo>
                    <a:pt x="96" y="209"/>
                    <a:pt x="96" y="209"/>
                    <a:pt x="96" y="209"/>
                  </a:cubicBezTo>
                  <a:cubicBezTo>
                    <a:pt x="95" y="208"/>
                    <a:pt x="94" y="208"/>
                    <a:pt x="93" y="209"/>
                  </a:cubicBezTo>
                  <a:cubicBezTo>
                    <a:pt x="90" y="210"/>
                    <a:pt x="86" y="212"/>
                    <a:pt x="83" y="213"/>
                  </a:cubicBezTo>
                  <a:cubicBezTo>
                    <a:pt x="82" y="213"/>
                    <a:pt x="81" y="214"/>
                    <a:pt x="80" y="215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65" y="231"/>
                    <a:pt x="65" y="231"/>
                    <a:pt x="65" y="231"/>
                  </a:cubicBezTo>
                  <a:lnTo>
                    <a:pt x="60" y="216"/>
                  </a:lnTo>
                  <a:close/>
                  <a:moveTo>
                    <a:pt x="240" y="240"/>
                  </a:moveTo>
                  <a:cubicBezTo>
                    <a:pt x="240" y="244"/>
                    <a:pt x="237" y="248"/>
                    <a:pt x="233" y="248"/>
                  </a:cubicBezTo>
                  <a:cubicBezTo>
                    <a:pt x="82" y="248"/>
                    <a:pt x="82" y="248"/>
                    <a:pt x="82" y="248"/>
                  </a:cubicBezTo>
                  <a:cubicBezTo>
                    <a:pt x="78" y="248"/>
                    <a:pt x="74" y="245"/>
                    <a:pt x="74" y="240"/>
                  </a:cubicBezTo>
                  <a:cubicBezTo>
                    <a:pt x="74" y="240"/>
                    <a:pt x="74" y="240"/>
                    <a:pt x="74" y="240"/>
                  </a:cubicBezTo>
                  <a:cubicBezTo>
                    <a:pt x="78" y="240"/>
                    <a:pt x="78" y="240"/>
                    <a:pt x="78" y="240"/>
                  </a:cubicBezTo>
                  <a:cubicBezTo>
                    <a:pt x="80" y="240"/>
                    <a:pt x="81" y="238"/>
                    <a:pt x="82" y="237"/>
                  </a:cubicBezTo>
                  <a:cubicBezTo>
                    <a:pt x="87" y="220"/>
                    <a:pt x="87" y="220"/>
                    <a:pt x="87" y="220"/>
                  </a:cubicBezTo>
                  <a:cubicBezTo>
                    <a:pt x="90" y="220"/>
                    <a:pt x="92" y="218"/>
                    <a:pt x="94" y="218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2" y="226"/>
                    <a:pt x="113" y="225"/>
                    <a:pt x="114" y="224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6" y="212"/>
                    <a:pt x="127" y="210"/>
                    <a:pt x="126" y="209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20" y="191"/>
                    <a:pt x="121" y="188"/>
                    <a:pt x="122" y="186"/>
                  </a:cubicBezTo>
                  <a:cubicBezTo>
                    <a:pt x="138" y="180"/>
                    <a:pt x="138" y="180"/>
                    <a:pt x="138" y="180"/>
                  </a:cubicBezTo>
                  <a:cubicBezTo>
                    <a:pt x="139" y="180"/>
                    <a:pt x="140" y="178"/>
                    <a:pt x="140" y="17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0" y="160"/>
                    <a:pt x="139" y="158"/>
                    <a:pt x="138" y="158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2" y="149"/>
                    <a:pt x="121" y="146"/>
                    <a:pt x="120" y="143"/>
                  </a:cubicBezTo>
                  <a:cubicBezTo>
                    <a:pt x="126" y="129"/>
                    <a:pt x="126" y="129"/>
                    <a:pt x="126" y="129"/>
                  </a:cubicBezTo>
                  <a:cubicBezTo>
                    <a:pt x="127" y="127"/>
                    <a:pt x="127" y="126"/>
                    <a:pt x="126" y="124"/>
                  </a:cubicBezTo>
                  <a:cubicBezTo>
                    <a:pt x="115" y="114"/>
                    <a:pt x="115" y="114"/>
                    <a:pt x="115" y="114"/>
                  </a:cubicBezTo>
                  <a:cubicBezTo>
                    <a:pt x="114" y="112"/>
                    <a:pt x="112" y="112"/>
                    <a:pt x="110" y="113"/>
                  </a:cubicBezTo>
                  <a:cubicBezTo>
                    <a:pt x="96" y="120"/>
                    <a:pt x="96" y="120"/>
                    <a:pt x="96" y="120"/>
                  </a:cubicBezTo>
                  <a:cubicBezTo>
                    <a:pt x="94" y="118"/>
                    <a:pt x="90" y="117"/>
                    <a:pt x="87" y="116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2" y="99"/>
                    <a:pt x="80" y="98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0"/>
                    <a:pt x="78" y="36"/>
                    <a:pt x="82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2" y="48"/>
                    <a:pt x="124" y="49"/>
                    <a:pt x="126" y="49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91" y="49"/>
                    <a:pt x="193" y="48"/>
                    <a:pt x="193" y="47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7" y="36"/>
                    <a:pt x="240" y="40"/>
                    <a:pt x="240" y="44"/>
                  </a:cubicBezTo>
                  <a:lnTo>
                    <a:pt x="24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3930BE2F-B9C8-4E23-A08B-A7AC09336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96988" y="1546225"/>
              <a:ext cx="298450" cy="569912"/>
            </a:xfrm>
            <a:custGeom>
              <a:avLst/>
              <a:gdLst>
                <a:gd name="T0" fmla="*/ 66 w 82"/>
                <a:gd name="T1" fmla="*/ 2 h 157"/>
                <a:gd name="T2" fmla="*/ 64 w 82"/>
                <a:gd name="T3" fmla="*/ 0 h 157"/>
                <a:gd name="T4" fmla="*/ 61 w 82"/>
                <a:gd name="T5" fmla="*/ 2 h 157"/>
                <a:gd name="T6" fmla="*/ 46 w 82"/>
                <a:gd name="T7" fmla="*/ 16 h 157"/>
                <a:gd name="T8" fmla="*/ 46 w 82"/>
                <a:gd name="T9" fmla="*/ 22 h 157"/>
                <a:gd name="T10" fmla="*/ 52 w 82"/>
                <a:gd name="T11" fmla="*/ 22 h 157"/>
                <a:gd name="T12" fmla="*/ 60 w 82"/>
                <a:gd name="T13" fmla="*/ 14 h 157"/>
                <a:gd name="T14" fmla="*/ 60 w 82"/>
                <a:gd name="T15" fmla="*/ 70 h 157"/>
                <a:gd name="T16" fmla="*/ 47 w 82"/>
                <a:gd name="T17" fmla="*/ 83 h 157"/>
                <a:gd name="T18" fmla="*/ 32 w 82"/>
                <a:gd name="T19" fmla="*/ 83 h 157"/>
                <a:gd name="T20" fmla="*/ 11 w 82"/>
                <a:gd name="T21" fmla="*/ 104 h 157"/>
                <a:gd name="T22" fmla="*/ 11 w 82"/>
                <a:gd name="T23" fmla="*/ 127 h 157"/>
                <a:gd name="T24" fmla="*/ 0 w 82"/>
                <a:gd name="T25" fmla="*/ 142 h 157"/>
                <a:gd name="T26" fmla="*/ 15 w 82"/>
                <a:gd name="T27" fmla="*/ 157 h 157"/>
                <a:gd name="T28" fmla="*/ 30 w 82"/>
                <a:gd name="T29" fmla="*/ 142 h 157"/>
                <a:gd name="T30" fmla="*/ 19 w 82"/>
                <a:gd name="T31" fmla="*/ 127 h 157"/>
                <a:gd name="T32" fmla="*/ 19 w 82"/>
                <a:gd name="T33" fmla="*/ 104 h 157"/>
                <a:gd name="T34" fmla="*/ 32 w 82"/>
                <a:gd name="T35" fmla="*/ 91 h 157"/>
                <a:gd name="T36" fmla="*/ 47 w 82"/>
                <a:gd name="T37" fmla="*/ 91 h 157"/>
                <a:gd name="T38" fmla="*/ 68 w 82"/>
                <a:gd name="T39" fmla="*/ 70 h 157"/>
                <a:gd name="T40" fmla="*/ 68 w 82"/>
                <a:gd name="T41" fmla="*/ 14 h 157"/>
                <a:gd name="T42" fmla="*/ 75 w 82"/>
                <a:gd name="T43" fmla="*/ 22 h 157"/>
                <a:gd name="T44" fmla="*/ 81 w 82"/>
                <a:gd name="T45" fmla="*/ 22 h 157"/>
                <a:gd name="T46" fmla="*/ 81 w 82"/>
                <a:gd name="T47" fmla="*/ 16 h 157"/>
                <a:gd name="T48" fmla="*/ 66 w 82"/>
                <a:gd name="T49" fmla="*/ 2 h 157"/>
                <a:gd name="T50" fmla="*/ 22 w 82"/>
                <a:gd name="T51" fmla="*/ 142 h 157"/>
                <a:gd name="T52" fmla="*/ 15 w 82"/>
                <a:gd name="T53" fmla="*/ 149 h 157"/>
                <a:gd name="T54" fmla="*/ 8 w 82"/>
                <a:gd name="T55" fmla="*/ 142 h 157"/>
                <a:gd name="T56" fmla="*/ 15 w 82"/>
                <a:gd name="T57" fmla="*/ 134 h 157"/>
                <a:gd name="T58" fmla="*/ 22 w 82"/>
                <a:gd name="T59" fmla="*/ 14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157">
                  <a:moveTo>
                    <a:pt x="66" y="2"/>
                  </a:moveTo>
                  <a:cubicBezTo>
                    <a:pt x="66" y="1"/>
                    <a:pt x="65" y="0"/>
                    <a:pt x="64" y="0"/>
                  </a:cubicBezTo>
                  <a:cubicBezTo>
                    <a:pt x="62" y="0"/>
                    <a:pt x="62" y="1"/>
                    <a:pt x="61" y="2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8"/>
                    <a:pt x="45" y="20"/>
                    <a:pt x="46" y="22"/>
                  </a:cubicBezTo>
                  <a:cubicBezTo>
                    <a:pt x="48" y="23"/>
                    <a:pt x="50" y="23"/>
                    <a:pt x="52" y="2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7"/>
                    <a:pt x="54" y="83"/>
                    <a:pt x="47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20" y="83"/>
                    <a:pt x="11" y="92"/>
                    <a:pt x="11" y="104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4" y="129"/>
                    <a:pt x="0" y="135"/>
                    <a:pt x="0" y="142"/>
                  </a:cubicBezTo>
                  <a:cubicBezTo>
                    <a:pt x="0" y="150"/>
                    <a:pt x="6" y="157"/>
                    <a:pt x="15" y="157"/>
                  </a:cubicBezTo>
                  <a:cubicBezTo>
                    <a:pt x="23" y="157"/>
                    <a:pt x="30" y="150"/>
                    <a:pt x="30" y="142"/>
                  </a:cubicBezTo>
                  <a:cubicBezTo>
                    <a:pt x="30" y="135"/>
                    <a:pt x="25" y="129"/>
                    <a:pt x="19" y="127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97"/>
                    <a:pt x="24" y="91"/>
                    <a:pt x="32" y="91"/>
                  </a:cubicBezTo>
                  <a:cubicBezTo>
                    <a:pt x="47" y="91"/>
                    <a:pt x="47" y="91"/>
                    <a:pt x="47" y="91"/>
                  </a:cubicBezTo>
                  <a:cubicBezTo>
                    <a:pt x="58" y="91"/>
                    <a:pt x="68" y="82"/>
                    <a:pt x="68" y="70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7" y="23"/>
                    <a:pt x="79" y="23"/>
                    <a:pt x="81" y="22"/>
                  </a:cubicBezTo>
                  <a:cubicBezTo>
                    <a:pt x="82" y="20"/>
                    <a:pt x="82" y="18"/>
                    <a:pt x="81" y="16"/>
                  </a:cubicBezTo>
                  <a:lnTo>
                    <a:pt x="66" y="2"/>
                  </a:lnTo>
                  <a:close/>
                  <a:moveTo>
                    <a:pt x="22" y="142"/>
                  </a:moveTo>
                  <a:cubicBezTo>
                    <a:pt x="22" y="146"/>
                    <a:pt x="19" y="149"/>
                    <a:pt x="15" y="149"/>
                  </a:cubicBezTo>
                  <a:cubicBezTo>
                    <a:pt x="11" y="149"/>
                    <a:pt x="8" y="146"/>
                    <a:pt x="8" y="142"/>
                  </a:cubicBezTo>
                  <a:cubicBezTo>
                    <a:pt x="8" y="138"/>
                    <a:pt x="11" y="134"/>
                    <a:pt x="15" y="134"/>
                  </a:cubicBezTo>
                  <a:cubicBezTo>
                    <a:pt x="19" y="134"/>
                    <a:pt x="22" y="138"/>
                    <a:pt x="22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D98C2410-549D-4D4F-9FE2-BD791271F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7013" y="1931988"/>
              <a:ext cx="98425" cy="96837"/>
            </a:xfrm>
            <a:custGeom>
              <a:avLst/>
              <a:gdLst>
                <a:gd name="T0" fmla="*/ 25 w 27"/>
                <a:gd name="T1" fmla="*/ 1 h 27"/>
                <a:gd name="T2" fmla="*/ 20 w 27"/>
                <a:gd name="T3" fmla="*/ 1 h 27"/>
                <a:gd name="T4" fmla="*/ 13 w 27"/>
                <a:gd name="T5" fmla="*/ 8 h 27"/>
                <a:gd name="T6" fmla="*/ 7 w 27"/>
                <a:gd name="T7" fmla="*/ 1 h 27"/>
                <a:gd name="T8" fmla="*/ 1 w 27"/>
                <a:gd name="T9" fmla="*/ 1 h 27"/>
                <a:gd name="T10" fmla="*/ 1 w 27"/>
                <a:gd name="T11" fmla="*/ 7 h 27"/>
                <a:gd name="T12" fmla="*/ 8 w 27"/>
                <a:gd name="T13" fmla="*/ 13 h 27"/>
                <a:gd name="T14" fmla="*/ 1 w 27"/>
                <a:gd name="T15" fmla="*/ 20 h 27"/>
                <a:gd name="T16" fmla="*/ 1 w 27"/>
                <a:gd name="T17" fmla="*/ 25 h 27"/>
                <a:gd name="T18" fmla="*/ 7 w 27"/>
                <a:gd name="T19" fmla="*/ 25 h 27"/>
                <a:gd name="T20" fmla="*/ 13 w 27"/>
                <a:gd name="T21" fmla="*/ 19 h 27"/>
                <a:gd name="T22" fmla="*/ 20 w 27"/>
                <a:gd name="T23" fmla="*/ 25 h 27"/>
                <a:gd name="T24" fmla="*/ 25 w 27"/>
                <a:gd name="T25" fmla="*/ 25 h 27"/>
                <a:gd name="T26" fmla="*/ 25 w 27"/>
                <a:gd name="T27" fmla="*/ 20 h 27"/>
                <a:gd name="T28" fmla="*/ 19 w 27"/>
                <a:gd name="T29" fmla="*/ 13 h 27"/>
                <a:gd name="T30" fmla="*/ 25 w 27"/>
                <a:gd name="T31" fmla="*/ 7 h 27"/>
                <a:gd name="T32" fmla="*/ 25 w 27"/>
                <a:gd name="T3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27">
                  <a:moveTo>
                    <a:pt x="25" y="1"/>
                  </a:moveTo>
                  <a:cubicBezTo>
                    <a:pt x="24" y="0"/>
                    <a:pt x="21" y="0"/>
                    <a:pt x="20" y="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ubicBezTo>
                    <a:pt x="0" y="3"/>
                    <a:pt x="0" y="5"/>
                    <a:pt x="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4"/>
                    <a:pt x="1" y="25"/>
                  </a:cubicBezTo>
                  <a:cubicBezTo>
                    <a:pt x="3" y="27"/>
                    <a:pt x="5" y="27"/>
                    <a:pt x="7" y="25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7"/>
                    <a:pt x="24" y="27"/>
                    <a:pt x="25" y="25"/>
                  </a:cubicBezTo>
                  <a:cubicBezTo>
                    <a:pt x="27" y="24"/>
                    <a:pt x="27" y="21"/>
                    <a:pt x="25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7" y="5"/>
                    <a:pt x="27" y="3"/>
                    <a:pt x="2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5765EECD-5886-4DA2-AAFE-06401DA06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96988" y="1676400"/>
              <a:ext cx="120650" cy="115887"/>
            </a:xfrm>
            <a:custGeom>
              <a:avLst/>
              <a:gdLst>
                <a:gd name="T0" fmla="*/ 16 w 33"/>
                <a:gd name="T1" fmla="*/ 32 h 32"/>
                <a:gd name="T2" fmla="*/ 33 w 33"/>
                <a:gd name="T3" fmla="*/ 16 h 32"/>
                <a:gd name="T4" fmla="*/ 16 w 33"/>
                <a:gd name="T5" fmla="*/ 0 h 32"/>
                <a:gd name="T6" fmla="*/ 0 w 33"/>
                <a:gd name="T7" fmla="*/ 16 h 32"/>
                <a:gd name="T8" fmla="*/ 16 w 33"/>
                <a:gd name="T9" fmla="*/ 32 h 32"/>
                <a:gd name="T10" fmla="*/ 16 w 33"/>
                <a:gd name="T11" fmla="*/ 7 h 32"/>
                <a:gd name="T12" fmla="*/ 25 w 33"/>
                <a:gd name="T13" fmla="*/ 16 h 32"/>
                <a:gd name="T14" fmla="*/ 16 w 33"/>
                <a:gd name="T15" fmla="*/ 24 h 32"/>
                <a:gd name="T16" fmla="*/ 8 w 33"/>
                <a:gd name="T17" fmla="*/ 16 h 32"/>
                <a:gd name="T18" fmla="*/ 16 w 33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2">
                  <a:moveTo>
                    <a:pt x="16" y="32"/>
                  </a:moveTo>
                  <a:cubicBezTo>
                    <a:pt x="26" y="32"/>
                    <a:pt x="33" y="25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  <a:moveTo>
                    <a:pt x="16" y="7"/>
                  </a:moveTo>
                  <a:cubicBezTo>
                    <a:pt x="21" y="7"/>
                    <a:pt x="25" y="11"/>
                    <a:pt x="25" y="16"/>
                  </a:cubicBezTo>
                  <a:cubicBezTo>
                    <a:pt x="25" y="20"/>
                    <a:pt x="21" y="24"/>
                    <a:pt x="16" y="24"/>
                  </a:cubicBezTo>
                  <a:cubicBezTo>
                    <a:pt x="12" y="24"/>
                    <a:pt x="8" y="20"/>
                    <a:pt x="8" y="16"/>
                  </a:cubicBezTo>
                  <a:cubicBezTo>
                    <a:pt x="8" y="11"/>
                    <a:pt x="12" y="7"/>
                    <a:pt x="1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93838B1B-4F10-407E-8FA9-F7BDE6FD1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68413" y="1366838"/>
              <a:ext cx="138113" cy="30162"/>
            </a:xfrm>
            <a:custGeom>
              <a:avLst/>
              <a:gdLst>
                <a:gd name="T0" fmla="*/ 4 w 38"/>
                <a:gd name="T1" fmla="*/ 8 h 8"/>
                <a:gd name="T2" fmla="*/ 34 w 38"/>
                <a:gd name="T3" fmla="*/ 8 h 8"/>
                <a:gd name="T4" fmla="*/ 38 w 38"/>
                <a:gd name="T5" fmla="*/ 4 h 8"/>
                <a:gd name="T6" fmla="*/ 34 w 38"/>
                <a:gd name="T7" fmla="*/ 0 h 8"/>
                <a:gd name="T8" fmla="*/ 4 w 38"/>
                <a:gd name="T9" fmla="*/ 0 h 8"/>
                <a:gd name="T10" fmla="*/ 0 w 38"/>
                <a:gd name="T11" fmla="*/ 4 h 8"/>
                <a:gd name="T12" fmla="*/ 4 w 3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8">
                  <a:moveTo>
                    <a:pt x="4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7" y="8"/>
                    <a:pt x="38" y="6"/>
                    <a:pt x="38" y="4"/>
                  </a:cubicBezTo>
                  <a:cubicBezTo>
                    <a:pt x="38" y="1"/>
                    <a:pt x="37" y="0"/>
                    <a:pt x="3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36FF192A-5DCA-42F7-B826-E34577161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36625" y="1817688"/>
              <a:ext cx="171450" cy="171450"/>
            </a:xfrm>
            <a:custGeom>
              <a:avLst/>
              <a:gdLst>
                <a:gd name="T0" fmla="*/ 47 w 47"/>
                <a:gd name="T1" fmla="*/ 23 h 47"/>
                <a:gd name="T2" fmla="*/ 23 w 47"/>
                <a:gd name="T3" fmla="*/ 0 h 47"/>
                <a:gd name="T4" fmla="*/ 0 w 47"/>
                <a:gd name="T5" fmla="*/ 23 h 47"/>
                <a:gd name="T6" fmla="*/ 23 w 47"/>
                <a:gd name="T7" fmla="*/ 47 h 47"/>
                <a:gd name="T8" fmla="*/ 47 w 47"/>
                <a:gd name="T9" fmla="*/ 23 h 47"/>
                <a:gd name="T10" fmla="*/ 8 w 47"/>
                <a:gd name="T11" fmla="*/ 23 h 47"/>
                <a:gd name="T12" fmla="*/ 23 w 47"/>
                <a:gd name="T13" fmla="*/ 8 h 47"/>
                <a:gd name="T14" fmla="*/ 39 w 47"/>
                <a:gd name="T15" fmla="*/ 23 h 47"/>
                <a:gd name="T16" fmla="*/ 23 w 47"/>
                <a:gd name="T17" fmla="*/ 39 h 47"/>
                <a:gd name="T18" fmla="*/ 8 w 47"/>
                <a:gd name="T1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47" y="23"/>
                  </a:moveTo>
                  <a:cubicBezTo>
                    <a:pt x="47" y="10"/>
                    <a:pt x="36" y="0"/>
                    <a:pt x="23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6"/>
                    <a:pt x="11" y="47"/>
                    <a:pt x="23" y="47"/>
                  </a:cubicBezTo>
                  <a:cubicBezTo>
                    <a:pt x="37" y="47"/>
                    <a:pt x="47" y="36"/>
                    <a:pt x="47" y="23"/>
                  </a:cubicBezTo>
                  <a:close/>
                  <a:moveTo>
                    <a:pt x="8" y="23"/>
                  </a:moveTo>
                  <a:cubicBezTo>
                    <a:pt x="8" y="15"/>
                    <a:pt x="15" y="8"/>
                    <a:pt x="23" y="8"/>
                  </a:cubicBezTo>
                  <a:cubicBezTo>
                    <a:pt x="32" y="8"/>
                    <a:pt x="39" y="15"/>
                    <a:pt x="39" y="23"/>
                  </a:cubicBezTo>
                  <a:cubicBezTo>
                    <a:pt x="39" y="32"/>
                    <a:pt x="32" y="39"/>
                    <a:pt x="23" y="39"/>
                  </a:cubicBezTo>
                  <a:cubicBezTo>
                    <a:pt x="15" y="39"/>
                    <a:pt x="8" y="32"/>
                    <a:pt x="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69" name="Picture 68">
            <a:extLst>
              <a:ext uri="{FF2B5EF4-FFF2-40B4-BE49-F238E27FC236}">
                <a16:creationId xmlns:a16="http://schemas.microsoft.com/office/drawing/2014/main" id="{FB6ECB9F-34FA-4EC0-889A-8C71FF8867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5193" y="2485880"/>
            <a:ext cx="712984" cy="767894"/>
          </a:xfrm>
          <a:prstGeom prst="rect">
            <a:avLst/>
          </a:prstGeom>
        </p:spPr>
      </p:pic>
      <p:grpSp>
        <p:nvGrpSpPr>
          <p:cNvPr id="70" name="Group 4">
            <a:extLst>
              <a:ext uri="{FF2B5EF4-FFF2-40B4-BE49-F238E27FC236}">
                <a16:creationId xmlns:a16="http://schemas.microsoft.com/office/drawing/2014/main" id="{CEB90E33-3E34-4CE1-9082-0F862198FD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307027" y="2743126"/>
            <a:ext cx="360799" cy="399211"/>
            <a:chOff x="945" y="1383"/>
            <a:chExt cx="256" cy="263"/>
          </a:xfrm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F512C784-216B-4D6B-B918-E6B8FE44840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5" y="1385"/>
              <a:ext cx="256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A9738497-12E2-4D09-A807-0F5AC0E5A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" y="1448"/>
              <a:ext cx="39" cy="133"/>
            </a:xfrm>
            <a:custGeom>
              <a:avLst/>
              <a:gdLst>
                <a:gd name="T0" fmla="*/ 50 w 62"/>
                <a:gd name="T1" fmla="*/ 49 h 214"/>
                <a:gd name="T2" fmla="*/ 50 w 62"/>
                <a:gd name="T3" fmla="*/ 49 h 214"/>
                <a:gd name="T4" fmla="*/ 18 w 62"/>
                <a:gd name="T5" fmla="*/ 0 h 214"/>
                <a:gd name="T6" fmla="*/ 0 w 62"/>
                <a:gd name="T7" fmla="*/ 18 h 214"/>
                <a:gd name="T8" fmla="*/ 27 w 62"/>
                <a:gd name="T9" fmla="*/ 59 h 214"/>
                <a:gd name="T10" fmla="*/ 36 w 62"/>
                <a:gd name="T11" fmla="*/ 107 h 214"/>
                <a:gd name="T12" fmla="*/ 27 w 62"/>
                <a:gd name="T13" fmla="*/ 155 h 214"/>
                <a:gd name="T14" fmla="*/ 0 w 62"/>
                <a:gd name="T15" fmla="*/ 196 h 214"/>
                <a:gd name="T16" fmla="*/ 18 w 62"/>
                <a:gd name="T17" fmla="*/ 214 h 214"/>
                <a:gd name="T18" fmla="*/ 50 w 62"/>
                <a:gd name="T19" fmla="*/ 165 h 214"/>
                <a:gd name="T20" fmla="*/ 62 w 62"/>
                <a:gd name="T21" fmla="*/ 107 h 214"/>
                <a:gd name="T22" fmla="*/ 50 w 62"/>
                <a:gd name="T23" fmla="*/ 49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4">
                  <a:moveTo>
                    <a:pt x="50" y="49"/>
                  </a:moveTo>
                  <a:lnTo>
                    <a:pt x="50" y="49"/>
                  </a:lnTo>
                  <a:cubicBezTo>
                    <a:pt x="43" y="31"/>
                    <a:pt x="32" y="15"/>
                    <a:pt x="18" y="0"/>
                  </a:cubicBezTo>
                  <a:lnTo>
                    <a:pt x="0" y="18"/>
                  </a:lnTo>
                  <a:cubicBezTo>
                    <a:pt x="12" y="30"/>
                    <a:pt x="21" y="44"/>
                    <a:pt x="27" y="59"/>
                  </a:cubicBezTo>
                  <a:cubicBezTo>
                    <a:pt x="33" y="74"/>
                    <a:pt x="36" y="90"/>
                    <a:pt x="36" y="107"/>
                  </a:cubicBezTo>
                  <a:cubicBezTo>
                    <a:pt x="36" y="124"/>
                    <a:pt x="33" y="140"/>
                    <a:pt x="27" y="155"/>
                  </a:cubicBezTo>
                  <a:cubicBezTo>
                    <a:pt x="21" y="171"/>
                    <a:pt x="12" y="184"/>
                    <a:pt x="0" y="196"/>
                  </a:cubicBezTo>
                  <a:lnTo>
                    <a:pt x="18" y="214"/>
                  </a:lnTo>
                  <a:cubicBezTo>
                    <a:pt x="32" y="200"/>
                    <a:pt x="43" y="183"/>
                    <a:pt x="50" y="165"/>
                  </a:cubicBezTo>
                  <a:cubicBezTo>
                    <a:pt x="58" y="147"/>
                    <a:pt x="62" y="127"/>
                    <a:pt x="62" y="107"/>
                  </a:cubicBezTo>
                  <a:cubicBezTo>
                    <a:pt x="62" y="87"/>
                    <a:pt x="58" y="68"/>
                    <a:pt x="50" y="49"/>
                  </a:cubicBezTo>
                  <a:close/>
                </a:path>
              </a:pathLst>
            </a:custGeom>
            <a:solidFill>
              <a:srgbClr val="2F2F2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7">
              <a:extLst>
                <a:ext uri="{FF2B5EF4-FFF2-40B4-BE49-F238E27FC236}">
                  <a16:creationId xmlns:a16="http://schemas.microsoft.com/office/drawing/2014/main" id="{4155B266-9EB9-430C-95EF-27DEA46A5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415"/>
              <a:ext cx="52" cy="198"/>
            </a:xfrm>
            <a:custGeom>
              <a:avLst/>
              <a:gdLst>
                <a:gd name="T0" fmla="*/ 80 w 84"/>
                <a:gd name="T1" fmla="*/ 205 h 320"/>
                <a:gd name="T2" fmla="*/ 80 w 84"/>
                <a:gd name="T3" fmla="*/ 205 h 320"/>
                <a:gd name="T4" fmla="*/ 84 w 84"/>
                <a:gd name="T5" fmla="*/ 160 h 320"/>
                <a:gd name="T6" fmla="*/ 80 w 84"/>
                <a:gd name="T7" fmla="*/ 116 h 320"/>
                <a:gd name="T8" fmla="*/ 67 w 84"/>
                <a:gd name="T9" fmla="*/ 74 h 320"/>
                <a:gd name="T10" fmla="*/ 46 w 84"/>
                <a:gd name="T11" fmla="*/ 35 h 320"/>
                <a:gd name="T12" fmla="*/ 18 w 84"/>
                <a:gd name="T13" fmla="*/ 0 h 320"/>
                <a:gd name="T14" fmla="*/ 0 w 84"/>
                <a:gd name="T15" fmla="*/ 18 h 320"/>
                <a:gd name="T16" fmla="*/ 25 w 84"/>
                <a:gd name="T17" fmla="*/ 49 h 320"/>
                <a:gd name="T18" fmla="*/ 44 w 84"/>
                <a:gd name="T19" fmla="*/ 83 h 320"/>
                <a:gd name="T20" fmla="*/ 55 w 84"/>
                <a:gd name="T21" fmla="*/ 121 h 320"/>
                <a:gd name="T22" fmla="*/ 59 w 84"/>
                <a:gd name="T23" fmla="*/ 160 h 320"/>
                <a:gd name="T24" fmla="*/ 55 w 84"/>
                <a:gd name="T25" fmla="*/ 200 h 320"/>
                <a:gd name="T26" fmla="*/ 44 w 84"/>
                <a:gd name="T27" fmla="*/ 237 h 320"/>
                <a:gd name="T28" fmla="*/ 25 w 84"/>
                <a:gd name="T29" fmla="*/ 272 h 320"/>
                <a:gd name="T30" fmla="*/ 0 w 84"/>
                <a:gd name="T31" fmla="*/ 302 h 320"/>
                <a:gd name="T32" fmla="*/ 18 w 84"/>
                <a:gd name="T33" fmla="*/ 320 h 320"/>
                <a:gd name="T34" fmla="*/ 46 w 84"/>
                <a:gd name="T35" fmla="*/ 286 h 320"/>
                <a:gd name="T36" fmla="*/ 67 w 84"/>
                <a:gd name="T37" fmla="*/ 247 h 320"/>
                <a:gd name="T38" fmla="*/ 80 w 84"/>
                <a:gd name="T39" fmla="*/ 20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" h="320">
                  <a:moveTo>
                    <a:pt x="80" y="205"/>
                  </a:moveTo>
                  <a:lnTo>
                    <a:pt x="80" y="205"/>
                  </a:lnTo>
                  <a:cubicBezTo>
                    <a:pt x="83" y="190"/>
                    <a:pt x="84" y="175"/>
                    <a:pt x="84" y="160"/>
                  </a:cubicBezTo>
                  <a:cubicBezTo>
                    <a:pt x="84" y="145"/>
                    <a:pt x="83" y="130"/>
                    <a:pt x="80" y="116"/>
                  </a:cubicBezTo>
                  <a:cubicBezTo>
                    <a:pt x="77" y="101"/>
                    <a:pt x="73" y="87"/>
                    <a:pt x="67" y="74"/>
                  </a:cubicBezTo>
                  <a:cubicBezTo>
                    <a:pt x="61" y="60"/>
                    <a:pt x="54" y="47"/>
                    <a:pt x="46" y="35"/>
                  </a:cubicBezTo>
                  <a:cubicBezTo>
                    <a:pt x="38" y="22"/>
                    <a:pt x="28" y="11"/>
                    <a:pt x="18" y="0"/>
                  </a:cubicBezTo>
                  <a:lnTo>
                    <a:pt x="0" y="18"/>
                  </a:lnTo>
                  <a:cubicBezTo>
                    <a:pt x="10" y="27"/>
                    <a:pt x="18" y="38"/>
                    <a:pt x="25" y="49"/>
                  </a:cubicBezTo>
                  <a:cubicBezTo>
                    <a:pt x="33" y="60"/>
                    <a:pt x="39" y="71"/>
                    <a:pt x="44" y="83"/>
                  </a:cubicBezTo>
                  <a:cubicBezTo>
                    <a:pt x="49" y="95"/>
                    <a:pt x="52" y="108"/>
                    <a:pt x="55" y="121"/>
                  </a:cubicBezTo>
                  <a:cubicBezTo>
                    <a:pt x="58" y="134"/>
                    <a:pt x="59" y="147"/>
                    <a:pt x="59" y="160"/>
                  </a:cubicBezTo>
                  <a:cubicBezTo>
                    <a:pt x="59" y="174"/>
                    <a:pt x="58" y="187"/>
                    <a:pt x="55" y="200"/>
                  </a:cubicBezTo>
                  <a:cubicBezTo>
                    <a:pt x="52" y="212"/>
                    <a:pt x="49" y="225"/>
                    <a:pt x="44" y="237"/>
                  </a:cubicBezTo>
                  <a:cubicBezTo>
                    <a:pt x="39" y="249"/>
                    <a:pt x="33" y="261"/>
                    <a:pt x="25" y="272"/>
                  </a:cubicBezTo>
                  <a:cubicBezTo>
                    <a:pt x="18" y="283"/>
                    <a:pt x="10" y="293"/>
                    <a:pt x="0" y="302"/>
                  </a:cubicBezTo>
                  <a:lnTo>
                    <a:pt x="18" y="320"/>
                  </a:lnTo>
                  <a:cubicBezTo>
                    <a:pt x="28" y="310"/>
                    <a:pt x="38" y="298"/>
                    <a:pt x="46" y="286"/>
                  </a:cubicBezTo>
                  <a:cubicBezTo>
                    <a:pt x="54" y="273"/>
                    <a:pt x="61" y="260"/>
                    <a:pt x="67" y="247"/>
                  </a:cubicBezTo>
                  <a:cubicBezTo>
                    <a:pt x="73" y="233"/>
                    <a:pt x="77" y="219"/>
                    <a:pt x="80" y="205"/>
                  </a:cubicBezTo>
                  <a:close/>
                </a:path>
              </a:pathLst>
            </a:custGeom>
            <a:solidFill>
              <a:srgbClr val="2F2F2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8">
              <a:extLst>
                <a:ext uri="{FF2B5EF4-FFF2-40B4-BE49-F238E27FC236}">
                  <a16:creationId xmlns:a16="http://schemas.microsoft.com/office/drawing/2014/main" id="{BA0B90A3-CB61-4CAE-8AF4-507CAE1C1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" y="1383"/>
              <a:ext cx="66" cy="263"/>
            </a:xfrm>
            <a:custGeom>
              <a:avLst/>
              <a:gdLst>
                <a:gd name="T0" fmla="*/ 101 w 107"/>
                <a:gd name="T1" fmla="*/ 153 h 425"/>
                <a:gd name="T2" fmla="*/ 101 w 107"/>
                <a:gd name="T3" fmla="*/ 153 h 425"/>
                <a:gd name="T4" fmla="*/ 84 w 107"/>
                <a:gd name="T5" fmla="*/ 97 h 425"/>
                <a:gd name="T6" fmla="*/ 56 w 107"/>
                <a:gd name="T7" fmla="*/ 45 h 425"/>
                <a:gd name="T8" fmla="*/ 18 w 107"/>
                <a:gd name="T9" fmla="*/ 0 h 425"/>
                <a:gd name="T10" fmla="*/ 0 w 107"/>
                <a:gd name="T11" fmla="*/ 17 h 425"/>
                <a:gd name="T12" fmla="*/ 35 w 107"/>
                <a:gd name="T13" fmla="*/ 59 h 425"/>
                <a:gd name="T14" fmla="*/ 60 w 107"/>
                <a:gd name="T15" fmla="*/ 106 h 425"/>
                <a:gd name="T16" fmla="*/ 76 w 107"/>
                <a:gd name="T17" fmla="*/ 158 h 425"/>
                <a:gd name="T18" fmla="*/ 81 w 107"/>
                <a:gd name="T19" fmla="*/ 212 h 425"/>
                <a:gd name="T20" fmla="*/ 76 w 107"/>
                <a:gd name="T21" fmla="*/ 266 h 425"/>
                <a:gd name="T22" fmla="*/ 60 w 107"/>
                <a:gd name="T23" fmla="*/ 318 h 425"/>
                <a:gd name="T24" fmla="*/ 35 w 107"/>
                <a:gd name="T25" fmla="*/ 366 h 425"/>
                <a:gd name="T26" fmla="*/ 0 w 107"/>
                <a:gd name="T27" fmla="*/ 408 h 425"/>
                <a:gd name="T28" fmla="*/ 18 w 107"/>
                <a:gd name="T29" fmla="*/ 425 h 425"/>
                <a:gd name="T30" fmla="*/ 56 w 107"/>
                <a:gd name="T31" fmla="*/ 380 h 425"/>
                <a:gd name="T32" fmla="*/ 84 w 107"/>
                <a:gd name="T33" fmla="*/ 328 h 425"/>
                <a:gd name="T34" fmla="*/ 101 w 107"/>
                <a:gd name="T35" fmla="*/ 271 h 425"/>
                <a:gd name="T36" fmla="*/ 107 w 107"/>
                <a:gd name="T37" fmla="*/ 212 h 425"/>
                <a:gd name="T38" fmla="*/ 101 w 107"/>
                <a:gd name="T39" fmla="*/ 15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425">
                  <a:moveTo>
                    <a:pt x="101" y="153"/>
                  </a:moveTo>
                  <a:lnTo>
                    <a:pt x="101" y="153"/>
                  </a:lnTo>
                  <a:cubicBezTo>
                    <a:pt x="97" y="134"/>
                    <a:pt x="91" y="115"/>
                    <a:pt x="84" y="97"/>
                  </a:cubicBezTo>
                  <a:cubicBezTo>
                    <a:pt x="76" y="79"/>
                    <a:pt x="67" y="61"/>
                    <a:pt x="56" y="45"/>
                  </a:cubicBezTo>
                  <a:cubicBezTo>
                    <a:pt x="45" y="28"/>
                    <a:pt x="32" y="13"/>
                    <a:pt x="18" y="0"/>
                  </a:cubicBezTo>
                  <a:lnTo>
                    <a:pt x="0" y="17"/>
                  </a:lnTo>
                  <a:cubicBezTo>
                    <a:pt x="14" y="30"/>
                    <a:pt x="25" y="44"/>
                    <a:pt x="35" y="59"/>
                  </a:cubicBezTo>
                  <a:cubicBezTo>
                    <a:pt x="45" y="74"/>
                    <a:pt x="54" y="90"/>
                    <a:pt x="60" y="106"/>
                  </a:cubicBezTo>
                  <a:cubicBezTo>
                    <a:pt x="67" y="123"/>
                    <a:pt x="72" y="140"/>
                    <a:pt x="76" y="158"/>
                  </a:cubicBezTo>
                  <a:cubicBezTo>
                    <a:pt x="80" y="176"/>
                    <a:pt x="81" y="194"/>
                    <a:pt x="81" y="212"/>
                  </a:cubicBezTo>
                  <a:cubicBezTo>
                    <a:pt x="81" y="230"/>
                    <a:pt x="80" y="249"/>
                    <a:pt x="76" y="266"/>
                  </a:cubicBezTo>
                  <a:cubicBezTo>
                    <a:pt x="72" y="284"/>
                    <a:pt x="67" y="302"/>
                    <a:pt x="60" y="318"/>
                  </a:cubicBezTo>
                  <a:cubicBezTo>
                    <a:pt x="54" y="335"/>
                    <a:pt x="45" y="351"/>
                    <a:pt x="35" y="366"/>
                  </a:cubicBezTo>
                  <a:cubicBezTo>
                    <a:pt x="25" y="381"/>
                    <a:pt x="14" y="395"/>
                    <a:pt x="0" y="408"/>
                  </a:cubicBezTo>
                  <a:lnTo>
                    <a:pt x="18" y="425"/>
                  </a:lnTo>
                  <a:cubicBezTo>
                    <a:pt x="32" y="411"/>
                    <a:pt x="45" y="396"/>
                    <a:pt x="56" y="380"/>
                  </a:cubicBezTo>
                  <a:cubicBezTo>
                    <a:pt x="67" y="363"/>
                    <a:pt x="76" y="346"/>
                    <a:pt x="84" y="328"/>
                  </a:cubicBezTo>
                  <a:cubicBezTo>
                    <a:pt x="91" y="310"/>
                    <a:pt x="97" y="291"/>
                    <a:pt x="101" y="271"/>
                  </a:cubicBezTo>
                  <a:cubicBezTo>
                    <a:pt x="105" y="252"/>
                    <a:pt x="107" y="232"/>
                    <a:pt x="107" y="212"/>
                  </a:cubicBezTo>
                  <a:cubicBezTo>
                    <a:pt x="107" y="192"/>
                    <a:pt x="105" y="172"/>
                    <a:pt x="101" y="153"/>
                  </a:cubicBezTo>
                  <a:close/>
                </a:path>
              </a:pathLst>
            </a:custGeom>
            <a:solidFill>
              <a:srgbClr val="2F2F2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C6FF0B23-1570-42C5-B3A9-E6D4C11B0C36}"/>
              </a:ext>
            </a:extLst>
          </p:cNvPr>
          <p:cNvSpPr txBox="1"/>
          <p:nvPr/>
        </p:nvSpPr>
        <p:spPr>
          <a:xfrm>
            <a:off x="1589861" y="3556510"/>
            <a:ext cx="1847301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y Onlin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933E8C5-6BC3-4ED2-AAD1-CC3BAF9B5451}"/>
              </a:ext>
            </a:extLst>
          </p:cNvPr>
          <p:cNvSpPr txBox="1"/>
          <p:nvPr/>
        </p:nvSpPr>
        <p:spPr>
          <a:xfrm>
            <a:off x="7931693" y="3557275"/>
            <a:ext cx="2554225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rbside Pickup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926139F-EE28-4A04-8C53-2F445A6FEC11}"/>
              </a:ext>
            </a:extLst>
          </p:cNvPr>
          <p:cNvSpPr txBox="1"/>
          <p:nvPr/>
        </p:nvSpPr>
        <p:spPr>
          <a:xfrm>
            <a:off x="4513031" y="3557276"/>
            <a:ext cx="246163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ore Execu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648564-C22B-4539-8B7B-15DE3D86B8C8}"/>
              </a:ext>
            </a:extLst>
          </p:cNvPr>
          <p:cNvSpPr/>
          <p:nvPr/>
        </p:nvSpPr>
        <p:spPr bwMode="auto">
          <a:xfrm>
            <a:off x="1461202" y="5131857"/>
            <a:ext cx="9047507" cy="4699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ynapse (Connecting Data and AI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6FA051-501F-48F4-9DD3-18342067DF72}"/>
              </a:ext>
            </a:extLst>
          </p:cNvPr>
          <p:cNvSpPr txBox="1"/>
          <p:nvPr/>
        </p:nvSpPr>
        <p:spPr>
          <a:xfrm>
            <a:off x="1626621" y="4617949"/>
            <a:ext cx="1860125" cy="4616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-commerce Analytic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B90164-0EF6-4093-ACF3-9FBAA489B23E}"/>
              </a:ext>
            </a:extLst>
          </p:cNvPr>
          <p:cNvSpPr txBox="1"/>
          <p:nvPr/>
        </p:nvSpPr>
        <p:spPr>
          <a:xfrm>
            <a:off x="4774944" y="4614120"/>
            <a:ext cx="2074671" cy="4616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al-time Shelf Invento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750FA-8E0C-4F3C-AC58-87C1CC56E8F1}"/>
              </a:ext>
            </a:extLst>
          </p:cNvPr>
          <p:cNvSpPr txBox="1"/>
          <p:nvPr/>
        </p:nvSpPr>
        <p:spPr>
          <a:xfrm>
            <a:off x="8300056" y="4610290"/>
            <a:ext cx="2087046" cy="4616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cense Plate Recognition</a:t>
            </a:r>
          </a:p>
        </p:txBody>
      </p:sp>
    </p:spTree>
    <p:extLst>
      <p:ext uri="{BB962C8B-B14F-4D97-AF65-F5344CB8AC3E}">
        <p14:creationId xmlns:p14="http://schemas.microsoft.com/office/powerpoint/2010/main" val="29430091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644BB8-4B60-440B-BDED-67E0C3E9E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3" y="1649905"/>
            <a:ext cx="7454643" cy="3558191"/>
          </a:xfrm>
        </p:spPr>
        <p:txBody>
          <a:bodyPr anchor="ctr"/>
          <a:lstStyle/>
          <a:p>
            <a:r>
              <a:rPr lang="en-US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2005070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B4E20104-B4BB-41AA-AB88-AB9D3D371EE9}"/>
              </a:ext>
            </a:extLst>
          </p:cNvPr>
          <p:cNvSpPr/>
          <p:nvPr/>
        </p:nvSpPr>
        <p:spPr bwMode="auto">
          <a:xfrm>
            <a:off x="0" y="2759242"/>
            <a:ext cx="12192000" cy="409875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FE6492-687A-45A0-8434-7BC4FBD2C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Speaker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EC4FEF-0492-47E3-AD6C-7AD9066CECCE}"/>
              </a:ext>
            </a:extLst>
          </p:cNvPr>
          <p:cNvSpPr/>
          <p:nvPr/>
        </p:nvSpPr>
        <p:spPr bwMode="auto">
          <a:xfrm>
            <a:off x="707401" y="4116594"/>
            <a:ext cx="2592918" cy="65293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>
              <a:spcBef>
                <a:spcPts val="882"/>
              </a:spcBef>
              <a:buSzPct val="90000"/>
            </a:pPr>
            <a:r>
              <a:rPr lang="en-US" sz="2400">
                <a:solidFill>
                  <a:schemeClr val="bg1"/>
                </a:solidFill>
                <a:latin typeface="+mj-lt"/>
              </a:rPr>
              <a:t>Raechel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Fri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740332-1CD1-46A7-ADD0-DD887FBF7C3E}"/>
              </a:ext>
            </a:extLst>
          </p:cNvPr>
          <p:cNvSpPr/>
          <p:nvPr/>
        </p:nvSpPr>
        <p:spPr bwMode="auto">
          <a:xfrm>
            <a:off x="707400" y="4839543"/>
            <a:ext cx="2592918" cy="146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  <a:t>Intel</a:t>
            </a:r>
          </a:p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  <a:t>Market Development Manager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3999410-E850-4924-8E1F-D971A45D7349}"/>
              </a:ext>
            </a:extLst>
          </p:cNvPr>
          <p:cNvSpPr/>
          <p:nvPr/>
        </p:nvSpPr>
        <p:spPr bwMode="auto">
          <a:xfrm>
            <a:off x="959547" y="1779210"/>
            <a:ext cx="2088623" cy="2088623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D3B1B9-55D8-4952-8927-5801771F3173}"/>
              </a:ext>
            </a:extLst>
          </p:cNvPr>
          <p:cNvSpPr/>
          <p:nvPr/>
        </p:nvSpPr>
        <p:spPr bwMode="auto">
          <a:xfrm>
            <a:off x="3435495" y="4116594"/>
            <a:ext cx="2592918" cy="65293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>
              <a:spcBef>
                <a:spcPts val="882"/>
              </a:spcBef>
              <a:buSzPct val="90000"/>
            </a:pPr>
            <a:r>
              <a:rPr lang="en-US" sz="2400">
                <a:solidFill>
                  <a:schemeClr val="bg1"/>
                </a:solidFill>
                <a:latin typeface="+mj-lt"/>
              </a:rPr>
              <a:t>Dianne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Lamendol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F0CDE5-7981-4DDB-A635-A25533A517C9}"/>
              </a:ext>
            </a:extLst>
          </p:cNvPr>
          <p:cNvSpPr/>
          <p:nvPr/>
        </p:nvSpPr>
        <p:spPr bwMode="auto">
          <a:xfrm>
            <a:off x="3435494" y="4839543"/>
            <a:ext cx="2592918" cy="146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  <a:t>Intel</a:t>
            </a:r>
          </a:p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  <a:t>Global Partner</a:t>
            </a:r>
            <a:b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</a:br>
            <a:r>
              <a:rPr lang="en-US" sz="1600" kern="0">
                <a:solidFill>
                  <a:schemeClr val="bg1"/>
                </a:solidFill>
                <a:cs typeface="Segoe UI Semibold" panose="020B0702040204020203" pitchFamily="34" charset="0"/>
              </a:rPr>
              <a:t>Executive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1A758FB-2CF3-486D-ABFB-AE1C852F884A}"/>
              </a:ext>
            </a:extLst>
          </p:cNvPr>
          <p:cNvSpPr/>
          <p:nvPr/>
        </p:nvSpPr>
        <p:spPr bwMode="auto">
          <a:xfrm>
            <a:off x="3687641" y="1779210"/>
            <a:ext cx="2088623" cy="2088623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CFA8DB-76F6-402E-90A0-5B454170F180}"/>
              </a:ext>
            </a:extLst>
          </p:cNvPr>
          <p:cNvSpPr/>
          <p:nvPr/>
        </p:nvSpPr>
        <p:spPr bwMode="auto">
          <a:xfrm>
            <a:off x="6163589" y="4116594"/>
            <a:ext cx="2592918" cy="65293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>
              <a:spcBef>
                <a:spcPts val="882"/>
              </a:spcBef>
              <a:buSzPct val="90000"/>
            </a:pPr>
            <a:r>
              <a:rPr lang="en-US" sz="2400">
                <a:solidFill>
                  <a:schemeClr val="bg1"/>
                </a:solidFill>
                <a:latin typeface="+mj-lt"/>
              </a:rPr>
              <a:t>Ricardo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Mend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1EBE83F-6E63-4530-AA4B-581013C6A258}"/>
              </a:ext>
            </a:extLst>
          </p:cNvPr>
          <p:cNvSpPr/>
          <p:nvPr/>
        </p:nvSpPr>
        <p:spPr bwMode="auto">
          <a:xfrm>
            <a:off x="6163588" y="4839543"/>
            <a:ext cx="2592918" cy="146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Microsoft</a:t>
            </a:r>
          </a:p>
          <a:p>
            <a:pPr algn="ctr" defTabSz="700697" fontAlgn="base">
              <a:spcAft>
                <a:spcPts val="600"/>
              </a:spcAft>
              <a:defRPr/>
            </a:pPr>
            <a:r>
              <a:rPr lang="en-US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Principle Program</a:t>
            </a:r>
            <a:br>
              <a:rPr lang="en-US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</a:br>
            <a:r>
              <a:rPr lang="en-US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Manage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F622AA2-7A65-428C-BEEE-5FA7BA5ECA77}"/>
              </a:ext>
            </a:extLst>
          </p:cNvPr>
          <p:cNvSpPr/>
          <p:nvPr/>
        </p:nvSpPr>
        <p:spPr bwMode="auto">
          <a:xfrm>
            <a:off x="6415735" y="1779210"/>
            <a:ext cx="2088623" cy="2088623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19097A9-8D21-4A8A-8C60-A88FA51E8014}"/>
              </a:ext>
            </a:extLst>
          </p:cNvPr>
          <p:cNvSpPr/>
          <p:nvPr/>
        </p:nvSpPr>
        <p:spPr bwMode="auto">
          <a:xfrm>
            <a:off x="8891683" y="4116594"/>
            <a:ext cx="2592918" cy="65293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>
              <a:spcBef>
                <a:spcPts val="882"/>
              </a:spcBef>
              <a:buSzPct val="90000"/>
            </a:pPr>
            <a:r>
              <a:rPr lang="en-US" sz="2400">
                <a:solidFill>
                  <a:schemeClr val="bg1"/>
                </a:solidFill>
                <a:latin typeface="+mj-lt"/>
              </a:rPr>
              <a:t>George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Moore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174D85-DC3C-4E4B-9472-7F6F133D32F7}"/>
              </a:ext>
            </a:extLst>
          </p:cNvPr>
          <p:cNvSpPr/>
          <p:nvPr/>
        </p:nvSpPr>
        <p:spPr bwMode="auto">
          <a:xfrm>
            <a:off x="8891682" y="4839543"/>
            <a:ext cx="2592918" cy="146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00697" fontAlgn="base">
              <a:spcAft>
                <a:spcPts val="600"/>
              </a:spcAft>
              <a:defRPr/>
            </a:pPr>
            <a:r>
              <a:rPr lang="pt-BR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Microsoft</a:t>
            </a:r>
          </a:p>
          <a:p>
            <a:pPr algn="ctr" defTabSz="700697" fontAlgn="base">
              <a:spcAft>
                <a:spcPts val="600"/>
              </a:spcAft>
              <a:defRPr/>
            </a:pPr>
            <a:r>
              <a:rPr lang="pt-BR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CTO Azure</a:t>
            </a:r>
            <a:br>
              <a:rPr lang="pt-BR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</a:br>
            <a:r>
              <a:rPr lang="pt-BR" sz="1600" kern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Global Eng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A7174AC-EEE3-4BE1-BD4E-5FE9565E422F}"/>
              </a:ext>
            </a:extLst>
          </p:cNvPr>
          <p:cNvSpPr/>
          <p:nvPr/>
        </p:nvSpPr>
        <p:spPr bwMode="auto">
          <a:xfrm>
            <a:off x="9143829" y="1779210"/>
            <a:ext cx="2088623" cy="2088623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6E93733F-41FF-4994-9B79-C17BCB6AD1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9608" y="1939271"/>
            <a:ext cx="1768500" cy="1768500"/>
          </a:xfrm>
          <a:prstGeom prst="ellipse">
            <a:avLst/>
          </a:prstGeom>
        </p:spPr>
      </p:pic>
      <p:pic>
        <p:nvPicPr>
          <p:cNvPr id="29" name="Picture 2" descr="Ricardo Mendes">
            <a:extLst>
              <a:ext uri="{FF2B5EF4-FFF2-40B4-BE49-F238E27FC236}">
                <a16:creationId xmlns:a16="http://schemas.microsoft.com/office/drawing/2014/main" id="{338A2EBE-C622-4D5A-96EC-7418D7FC1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650" y="1941125"/>
            <a:ext cx="1764792" cy="176479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George Moore">
            <a:extLst>
              <a:ext uri="{FF2B5EF4-FFF2-40B4-BE49-F238E27FC236}">
                <a16:creationId xmlns:a16="http://schemas.microsoft.com/office/drawing/2014/main" id="{8989D9C9-4307-47C4-A942-D0E2E5BB1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744" y="1941125"/>
            <a:ext cx="1764792" cy="176479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Dianne Lamendola">
            <a:extLst>
              <a:ext uri="{FF2B5EF4-FFF2-40B4-BE49-F238E27FC236}">
                <a16:creationId xmlns:a16="http://schemas.microsoft.com/office/drawing/2014/main" id="{2551F04E-FF78-433F-9F1E-28E3FBC1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577" y="1941125"/>
            <a:ext cx="1764792" cy="176479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94233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44B5A-F12C-4EBA-8613-4EC656D65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3" y="1649905"/>
            <a:ext cx="7454643" cy="3558191"/>
          </a:xfrm>
        </p:spPr>
        <p:txBody>
          <a:bodyPr anchor="ctr"/>
          <a:lstStyle/>
          <a:p>
            <a:r>
              <a:rPr lang="en-US"/>
              <a:t>Azure Stack Hub + Edge</a:t>
            </a:r>
          </a:p>
        </p:txBody>
      </p:sp>
    </p:spTree>
    <p:extLst>
      <p:ext uri="{BB962C8B-B14F-4D97-AF65-F5344CB8AC3E}">
        <p14:creationId xmlns:p14="http://schemas.microsoft.com/office/powerpoint/2010/main" val="116900865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CA9A48-34D0-4EF0-AD23-728D7C8A9690}"/>
              </a:ext>
            </a:extLst>
          </p:cNvPr>
          <p:cNvSpPr/>
          <p:nvPr/>
        </p:nvSpPr>
        <p:spPr bwMode="auto">
          <a:xfrm>
            <a:off x="427037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Microcontroller</a:t>
            </a:r>
            <a:br>
              <a:rPr lang="en-US" sz="140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Sphere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endParaRPr lang="en-US" sz="140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  <a:p>
            <a:pPr marL="9144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Highly-secured, connected </a:t>
            </a:r>
            <a:r>
              <a: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MCU</a:t>
            </a:r>
            <a:endParaRPr lang="en-US" sz="12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  <a:p>
            <a:pPr marL="9144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zure Sphere Linux OS for modern </a:t>
            </a:r>
            <a:r>
              <a:rPr lang="en-US" sz="12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MCUs</a:t>
            </a:r>
            <a:endParaRPr lang="en-US" sz="12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  <a:p>
            <a:pPr marL="9144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zure Sphere Public Preview release in September 2018</a:t>
            </a:r>
          </a:p>
          <a:p>
            <a:pPr marL="9144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Included Azure IoT Device SD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AC69EE-E39C-4681-9566-C5D63BC608B9}"/>
              </a:ext>
            </a:extLst>
          </p:cNvPr>
          <p:cNvSpPr/>
          <p:nvPr/>
        </p:nvSpPr>
        <p:spPr bwMode="auto">
          <a:xfrm>
            <a:off x="2316691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Segoe UI Semibold"/>
                <a:ea typeface="Segoe UI" pitchFamily="34" charset="0"/>
                <a:cs typeface="Segoe UI" pitchFamily="34" charset="0"/>
              </a:rPr>
              <a:t>IoT devices</a:t>
            </a:r>
            <a:br>
              <a:rPr lang="en-US" sz="14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IoT Device SDK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endParaRPr lang="en-US" sz="1400">
              <a:solidFill>
                <a:srgbClr val="0078D3"/>
              </a:solidFill>
              <a:ea typeface="Segoe UI" pitchFamily="34" charset="0"/>
              <a:cs typeface="Segoe UI" pitchFamily="34" charset="0"/>
            </a:endParaRP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1000+ devices 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250+ partners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ll certified to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work great with Azure IoT Hub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6DC7F08-DD83-484E-8AB3-5E622CD7E5C4}"/>
              </a:ext>
            </a:extLst>
          </p:cNvPr>
          <p:cNvSpPr/>
          <p:nvPr/>
        </p:nvSpPr>
        <p:spPr bwMode="auto">
          <a:xfrm>
            <a:off x="4206345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Segoe UI Semibold"/>
                <a:ea typeface="Segoe UI" pitchFamily="34" charset="0"/>
                <a:cs typeface="Segoe UI" pitchFamily="34" charset="0"/>
              </a:rPr>
              <a:t>Edge devices</a:t>
            </a:r>
            <a:br>
              <a:rPr lang="en-US" sz="14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IoT Edge – 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Stack </a:t>
            </a:r>
            <a:r>
              <a:rPr lang="en-US" sz="1200" err="1">
                <a:solidFill>
                  <a:schemeClr val="tx2"/>
                </a:solidFill>
                <a:latin typeface="+mj-lt"/>
                <a:cs typeface="Segoe UI" pitchFamily="34" charset="0"/>
              </a:rPr>
              <a:t>HCI</a:t>
            </a:r>
            <a:endParaRPr lang="en-US" sz="1400">
              <a:solidFill>
                <a:srgbClr val="0078D3"/>
              </a:solidFill>
              <a:ea typeface="Segoe UI" pitchFamily="34" charset="0"/>
              <a:cs typeface="Segoe UI" pitchFamily="34" charset="0"/>
            </a:endParaRP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Deploy and manage Azure Services in containers on any IoT device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I, </a:t>
            </a:r>
            <a:r>
              <a:rPr lang="en-US" sz="1200" err="1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zureML</a:t>
            </a: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, Azure Stream Analytics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nd more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Generally availabl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489DC45-2B44-4AD0-8414-16641671B03E}"/>
              </a:ext>
            </a:extLst>
          </p:cNvPr>
          <p:cNvSpPr/>
          <p:nvPr/>
        </p:nvSpPr>
        <p:spPr bwMode="auto">
          <a:xfrm>
            <a:off x="6095999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Segoe UI Semibold"/>
                <a:ea typeface="Segoe UI" pitchFamily="34" charset="0"/>
                <a:cs typeface="Segoe UI" pitchFamily="34" charset="0"/>
              </a:rPr>
              <a:t>Edge appliances</a:t>
            </a:r>
            <a:br>
              <a:rPr lang="en-US" sz="14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Stack Edge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endParaRPr lang="en-US" sz="1400">
              <a:solidFill>
                <a:srgbClr val="0078D3"/>
              </a:solidFill>
              <a:ea typeface="Segoe UI" pitchFamily="34" charset="0"/>
              <a:cs typeface="Segoe UI" pitchFamily="34" charset="0"/>
            </a:endParaRP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zure Stack Edge: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I-Enabled, Storage and compute Azure Edge appliance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Includes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zure IoT Edge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Data Box: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Offline, ruggedized data transport,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100 TB – 1 PB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7A0ECB7-1941-44ED-A731-044E6155F84C}"/>
              </a:ext>
            </a:extLst>
          </p:cNvPr>
          <p:cNvSpPr/>
          <p:nvPr/>
        </p:nvSpPr>
        <p:spPr bwMode="auto">
          <a:xfrm>
            <a:off x="7985653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Segoe UI Semibold"/>
                <a:ea typeface="Segoe UI" pitchFamily="34" charset="0"/>
                <a:cs typeface="Segoe UI" pitchFamily="34" charset="0"/>
              </a:rPr>
              <a:t>Hybrid cloud</a:t>
            </a:r>
            <a:br>
              <a:rPr lang="en-US" sz="14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Stack Hub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endParaRPr lang="en-US" sz="1400">
              <a:solidFill>
                <a:srgbClr val="0078D3"/>
              </a:solidFill>
              <a:ea typeface="Segoe UI" pitchFamily="34" charset="0"/>
              <a:cs typeface="Segoe UI" pitchFamily="34" charset="0"/>
            </a:endParaRP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Cloud Consistent Edge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Edge and Disconnected Scenarios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Regulatory Requirements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Cloud app model </a:t>
            </a:r>
            <a:b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on-premis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0104500-C0E3-44C2-8C15-DBDA313A716B}"/>
              </a:ext>
            </a:extLst>
          </p:cNvPr>
          <p:cNvSpPr/>
          <p:nvPr/>
        </p:nvSpPr>
        <p:spPr bwMode="auto">
          <a:xfrm>
            <a:off x="9875309" y="1600200"/>
            <a:ext cx="1889654" cy="48291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2194560" rIns="9144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Segoe UI Semibold"/>
                <a:ea typeface="Segoe UI" pitchFamily="34" charset="0"/>
                <a:cs typeface="Segoe UI" pitchFamily="34" charset="0"/>
              </a:rPr>
              <a:t>Hyperscale cloud</a:t>
            </a:r>
            <a:br>
              <a:rPr lang="en-US" sz="14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  <a:t>Azure Regions</a:t>
            </a:r>
            <a:br>
              <a:rPr lang="en-US" sz="1200">
                <a:solidFill>
                  <a:schemeClr val="tx2"/>
                </a:solidFill>
                <a:latin typeface="+mj-lt"/>
                <a:cs typeface="Segoe UI" pitchFamily="34" charset="0"/>
              </a:rPr>
            </a:br>
            <a:endParaRPr lang="en-US" sz="1400">
              <a:solidFill>
                <a:srgbClr val="0078D3"/>
              </a:solidFill>
              <a:ea typeface="Segoe UI" pitchFamily="34" charset="0"/>
              <a:cs typeface="Segoe UI" pitchFamily="34" charset="0"/>
            </a:endParaRP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Full range Hyperscale Cloud Services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Tiered service availability: Heroes &gt; Hubs &gt; Satellites</a:t>
            </a:r>
          </a:p>
          <a:p>
            <a:pPr marL="91440" lvl="0" indent="-91440"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Open Source based services &amp; tools</a:t>
            </a:r>
          </a:p>
        </p:txBody>
      </p:sp>
      <p:pic>
        <p:nvPicPr>
          <p:cNvPr id="23" name="Content Placeholder 31" descr="A circuit board&#10;&#10;Description automatically generated">
            <a:extLst>
              <a:ext uri="{FF2B5EF4-FFF2-40B4-BE49-F238E27FC236}">
                <a16:creationId xmlns:a16="http://schemas.microsoft.com/office/drawing/2014/main" id="{C1983129-D7D7-44C8-BB37-6DCC232A1C2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7037" y="1600199"/>
            <a:ext cx="1889653" cy="1505621"/>
          </a:xfrm>
          <a:prstGeom prst="rect">
            <a:avLst/>
          </a:prstGeom>
        </p:spPr>
      </p:pic>
      <p:pic>
        <p:nvPicPr>
          <p:cNvPr id="26" name="Picture 25" descr="A person in a yellow room&#10;&#10;Description automatically generated">
            <a:extLst>
              <a:ext uri="{FF2B5EF4-FFF2-40B4-BE49-F238E27FC236}">
                <a16:creationId xmlns:a16="http://schemas.microsoft.com/office/drawing/2014/main" id="{461728A9-10E7-48F0-9DA0-79C7DF4E59B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29" t="18154" r="3353" b="18154"/>
          <a:stretch/>
        </p:blipFill>
        <p:spPr>
          <a:xfrm>
            <a:off x="2316691" y="1600200"/>
            <a:ext cx="1893549" cy="1506895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513275EA-37B4-4428-9447-8C8D64EFAFBC}"/>
              </a:ext>
            </a:extLst>
          </p:cNvPr>
          <p:cNvGrpSpPr/>
          <p:nvPr/>
        </p:nvGrpSpPr>
        <p:grpSpPr>
          <a:xfrm>
            <a:off x="7973938" y="1600200"/>
            <a:ext cx="1901370" cy="1505624"/>
            <a:chOff x="7798932" y="7088722"/>
            <a:chExt cx="1901370" cy="150562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4BCB117-91D0-481B-BC42-FFBA40057C20}"/>
                </a:ext>
              </a:extLst>
            </p:cNvPr>
            <p:cNvSpPr/>
            <p:nvPr/>
          </p:nvSpPr>
          <p:spPr>
            <a:xfrm>
              <a:off x="7798932" y="7088722"/>
              <a:ext cx="1901370" cy="1505624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40000"/>
                    <a:lumOff val="60000"/>
                  </a:schemeClr>
                </a:gs>
                <a:gs pos="46000">
                  <a:schemeClr val="accent6">
                    <a:lumMod val="95000"/>
                    <a:lumOff val="5000"/>
                  </a:schemeClr>
                </a:gs>
                <a:gs pos="100000">
                  <a:schemeClr val="accent6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  <a:effectLst>
              <a:outerShdw blurRad="127000" dist="38100" dir="5400000" algn="t" rotWithShape="0">
                <a:prstClr val="black">
                  <a:alpha val="7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25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1" name="Picture 30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4B09129-D980-44DF-8B1A-F8B08DA0FB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50788" y="7224456"/>
              <a:ext cx="1597658" cy="136989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75818B-D6D4-4FBC-8860-7B56E6610AD5}"/>
              </a:ext>
            </a:extLst>
          </p:cNvPr>
          <p:cNvGrpSpPr>
            <a:grpSpLocks noChangeAspect="1"/>
          </p:cNvGrpSpPr>
          <p:nvPr/>
        </p:nvGrpSpPr>
        <p:grpSpPr>
          <a:xfrm>
            <a:off x="9875309" y="1600200"/>
            <a:ext cx="1892808" cy="1508760"/>
            <a:chOff x="9935929" y="7102765"/>
            <a:chExt cx="1905332" cy="150876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8BF5B4D-26B0-412D-91E6-4BE9046625D1}"/>
                </a:ext>
              </a:extLst>
            </p:cNvPr>
            <p:cNvSpPr/>
            <p:nvPr/>
          </p:nvSpPr>
          <p:spPr>
            <a:xfrm>
              <a:off x="9937910" y="7104333"/>
              <a:ext cx="1901370" cy="1505624"/>
            </a:xfrm>
            <a:prstGeom prst="rect">
              <a:avLst/>
            </a:prstGeom>
            <a:solidFill>
              <a:srgbClr val="3C3C41"/>
            </a:solidFill>
            <a:ln>
              <a:noFill/>
            </a:ln>
            <a:effectLst>
              <a:outerShdw blurRad="152400" dist="38100" dir="5400000" algn="t" rotWithShape="0">
                <a:prstClr val="black">
                  <a:alpha val="8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CA72232-DA9F-4712-8F9A-88443CA67731}"/>
                </a:ext>
              </a:extLst>
            </p:cNvPr>
            <p:cNvPicPr>
              <a:picLocks/>
            </p:cNvPicPr>
            <p:nvPr/>
          </p:nvPicPr>
          <p:blipFill rotWithShape="1">
            <a:blip r:embed="rId6"/>
            <a:srcRect l="11125" t="-18229" r="9133" b="-15756"/>
            <a:stretch/>
          </p:blipFill>
          <p:spPr>
            <a:xfrm>
              <a:off x="9935929" y="7102765"/>
              <a:ext cx="1905332" cy="150876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9A7F4F9-8300-433B-97B0-AB19C07987BD}"/>
              </a:ext>
            </a:extLst>
          </p:cNvPr>
          <p:cNvGrpSpPr/>
          <p:nvPr/>
        </p:nvGrpSpPr>
        <p:grpSpPr>
          <a:xfrm>
            <a:off x="4206346" y="1600200"/>
            <a:ext cx="1901370" cy="1505624"/>
            <a:chOff x="4253815" y="7102767"/>
            <a:chExt cx="1901370" cy="150562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5C3A0FB-99A9-40CF-9FE4-4B05B8D44086}"/>
                </a:ext>
              </a:extLst>
            </p:cNvPr>
            <p:cNvSpPr/>
            <p:nvPr/>
          </p:nvSpPr>
          <p:spPr>
            <a:xfrm>
              <a:off x="4253815" y="7102767"/>
              <a:ext cx="1901370" cy="1505624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40000"/>
                    <a:lumOff val="60000"/>
                  </a:schemeClr>
                </a:gs>
                <a:gs pos="46000">
                  <a:schemeClr val="accent6">
                    <a:lumMod val="95000"/>
                    <a:lumOff val="5000"/>
                  </a:schemeClr>
                </a:gs>
                <a:gs pos="100000">
                  <a:schemeClr val="accent6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  <a:effectLst>
              <a:outerShdw blurRad="101600" dist="38100" dir="5400000" algn="t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25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5" name="Picture 2" descr="Device thumbnail">
              <a:extLst>
                <a:ext uri="{FF2B5EF4-FFF2-40B4-BE49-F238E27FC236}">
                  <a16:creationId xmlns:a16="http://schemas.microsoft.com/office/drawing/2014/main" id="{EC07A910-464B-4C82-B4CC-54BF0187FC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367506" y="7280146"/>
              <a:ext cx="1673988" cy="1150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3C703B5-DDE3-47D7-99AD-90925666AD2C}"/>
              </a:ext>
            </a:extLst>
          </p:cNvPr>
          <p:cNvGrpSpPr/>
          <p:nvPr/>
        </p:nvGrpSpPr>
        <p:grpSpPr>
          <a:xfrm>
            <a:off x="6096000" y="1600200"/>
            <a:ext cx="1901370" cy="1505624"/>
            <a:chOff x="6214198" y="7102767"/>
            <a:chExt cx="1901370" cy="150562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79123EB-07B9-45DF-BA35-AAC1A648382B}"/>
                </a:ext>
              </a:extLst>
            </p:cNvPr>
            <p:cNvSpPr/>
            <p:nvPr/>
          </p:nvSpPr>
          <p:spPr>
            <a:xfrm>
              <a:off x="6214198" y="7102767"/>
              <a:ext cx="1901370" cy="1505624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40000"/>
                    <a:lumOff val="60000"/>
                  </a:schemeClr>
                </a:gs>
                <a:gs pos="46000">
                  <a:schemeClr val="accent6">
                    <a:lumMod val="95000"/>
                    <a:lumOff val="5000"/>
                  </a:schemeClr>
                </a:gs>
                <a:gs pos="100000">
                  <a:schemeClr val="accent6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  <a:effectLst>
              <a:outerShdw blurRad="114300" dist="38100" dir="5400000" algn="t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6" name="Picture 35" descr="Data Box Edge">
              <a:extLst>
                <a:ext uri="{FF2B5EF4-FFF2-40B4-BE49-F238E27FC236}">
                  <a16:creationId xmlns:a16="http://schemas.microsoft.com/office/drawing/2014/main" id="{173392C5-DE39-1C4A-B26E-4A4F7472E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54763" y="7258840"/>
              <a:ext cx="1760805" cy="1349548"/>
            </a:xfrm>
            <a:prstGeom prst="rect">
              <a:avLst/>
            </a:prstGeom>
          </p:spPr>
        </p:pic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542218E4-B1BD-49DA-A330-38E5AE5D1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lligent Cloud &amp; Intelligent Edge</a:t>
            </a:r>
            <a:br>
              <a:rPr lang="en-US"/>
            </a:br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181A4D-0E7F-4EA2-8AC1-4443492AAC04}"/>
              </a:ext>
            </a:extLst>
          </p:cNvPr>
          <p:cNvSpPr/>
          <p:nvPr/>
        </p:nvSpPr>
        <p:spPr bwMode="auto">
          <a:xfrm>
            <a:off x="427036" y="3105820"/>
            <a:ext cx="3785616" cy="358570"/>
          </a:xfrm>
          <a:prstGeom prst="rect">
            <a:avLst/>
          </a:prstGeom>
          <a:solidFill>
            <a:srgbClr val="118D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prstClr val="white"/>
                </a:solidFill>
                <a:latin typeface="+mj-lt"/>
                <a:ea typeface="Segoe UI" pitchFamily="34" charset="0"/>
                <a:cs typeface="Segoe UI" pitchFamily="34" charset="0"/>
              </a:rPr>
              <a:t>Sensors + contro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B36C09-7187-4AE7-AA7D-4CBFB9585E49}"/>
              </a:ext>
            </a:extLst>
          </p:cNvPr>
          <p:cNvSpPr/>
          <p:nvPr/>
        </p:nvSpPr>
        <p:spPr bwMode="auto">
          <a:xfrm>
            <a:off x="4206346" y="3105820"/>
            <a:ext cx="1893547" cy="35857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Sensors to intera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0C3B2F8-BF73-4C8F-B312-B9CDF1FAD59B}"/>
              </a:ext>
            </a:extLst>
          </p:cNvPr>
          <p:cNvSpPr/>
          <p:nvPr/>
        </p:nvSpPr>
        <p:spPr bwMode="auto">
          <a:xfrm>
            <a:off x="6095999" y="3105820"/>
            <a:ext cx="3785616" cy="35857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prstClr val="white"/>
                </a:solidFill>
                <a:latin typeface="+mj-lt"/>
                <a:ea typeface="Segoe UI" pitchFamily="34" charset="0"/>
                <a:cs typeface="Segoe UI" pitchFamily="34" charset="0"/>
              </a:rPr>
              <a:t>Integrated platform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A9F72BD-B356-4862-BF90-DBFD57798993}"/>
              </a:ext>
            </a:extLst>
          </p:cNvPr>
          <p:cNvSpPr/>
          <p:nvPr/>
        </p:nvSpPr>
        <p:spPr bwMode="auto">
          <a:xfrm>
            <a:off x="9875309" y="3105820"/>
            <a:ext cx="1892808" cy="35857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Global scale processing</a:t>
            </a:r>
          </a:p>
        </p:txBody>
      </p:sp>
    </p:spTree>
    <p:extLst>
      <p:ext uri="{BB962C8B-B14F-4D97-AF65-F5344CB8AC3E}">
        <p14:creationId xmlns:p14="http://schemas.microsoft.com/office/powerpoint/2010/main" val="380943413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BA69914-2832-4B93-8515-24A2879E8393}"/>
              </a:ext>
            </a:extLst>
          </p:cNvPr>
          <p:cNvSpPr/>
          <p:nvPr/>
        </p:nvSpPr>
        <p:spPr bwMode="auto">
          <a:xfrm>
            <a:off x="427038" y="2201863"/>
            <a:ext cx="11337926" cy="3351848"/>
          </a:xfrm>
          <a:prstGeom prst="rect">
            <a:avLst/>
          </a:prstGeom>
          <a:noFill/>
          <a:ln w="15875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120AA40-DCA6-451A-9AF5-DFEF94A7A04F}"/>
              </a:ext>
            </a:extLst>
          </p:cNvPr>
          <p:cNvSpPr/>
          <p:nvPr/>
        </p:nvSpPr>
        <p:spPr bwMode="auto">
          <a:xfrm>
            <a:off x="5390967" y="2481670"/>
            <a:ext cx="1657554" cy="1963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E397804-6128-4954-AE68-7F3B5FF87729}"/>
              </a:ext>
            </a:extLst>
          </p:cNvPr>
          <p:cNvSpPr txBox="1"/>
          <p:nvPr/>
        </p:nvSpPr>
        <p:spPr>
          <a:xfrm>
            <a:off x="1627165" y="5424291"/>
            <a:ext cx="8937670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91427" tIns="0" rIns="91427" bIns="0" rtlCol="0">
            <a:spAutoFit/>
          </a:bodyPr>
          <a:lstStyle/>
          <a:p>
            <a:pPr algn="ctr" defTabSz="914225">
              <a:defRPr/>
            </a:pPr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/>
              </a:rPr>
              <a:t>Management </a:t>
            </a:r>
            <a:r>
              <a:rPr lang="en-US">
                <a:gradFill>
                  <a:gsLst>
                    <a:gs pos="2917">
                      <a:srgbClr val="D9D9D9"/>
                    </a:gs>
                    <a:gs pos="100000">
                      <a:srgbClr val="D9D9D9"/>
                    </a:gs>
                  </a:gsLst>
                  <a:lin ang="5400000" scaled="0"/>
                </a:gradFill>
                <a:latin typeface="Segoe UI Semibold"/>
              </a:rPr>
              <a:t> 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</a:t>
            </a:r>
            <a:r>
              <a:rPr lang="en-US">
                <a:solidFill>
                  <a:schemeClr val="tx2"/>
                </a:solidFill>
                <a:latin typeface="Segoe UI"/>
              </a:rPr>
              <a:t>|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 </a:t>
            </a:r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/>
              </a:rPr>
              <a:t>Security + Identity</a:t>
            </a:r>
            <a:r>
              <a:rPr lang="en-US">
                <a:gradFill>
                  <a:gsLst>
                    <a:gs pos="2917">
                      <a:srgbClr val="D9D9D9"/>
                    </a:gs>
                    <a:gs pos="100000">
                      <a:srgbClr val="D9D9D9"/>
                    </a:gs>
                  </a:gsLst>
                  <a:lin ang="5400000" scaled="0"/>
                </a:gradFill>
                <a:latin typeface="Segoe UI Semibold"/>
              </a:rPr>
              <a:t>  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</a:t>
            </a:r>
            <a:r>
              <a:rPr lang="en-US">
                <a:solidFill>
                  <a:schemeClr val="tx2"/>
                </a:solidFill>
                <a:latin typeface="Segoe UI"/>
              </a:rPr>
              <a:t>|  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</a:t>
            </a:r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/>
              </a:rPr>
              <a:t>App  + Data Services 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</a:t>
            </a:r>
            <a:r>
              <a:rPr lang="en-US">
                <a:solidFill>
                  <a:schemeClr val="tx2"/>
                </a:solidFill>
                <a:latin typeface="Segoe UI"/>
              </a:rPr>
              <a:t>|</a:t>
            </a:r>
            <a:r>
              <a:rPr lang="en-US">
                <a:solidFill>
                  <a:schemeClr val="tx2"/>
                </a:solidFill>
                <a:latin typeface="Segoe UI Semibold"/>
              </a:rPr>
              <a:t>  </a:t>
            </a:r>
            <a:r>
              <a:rPr lang="en-US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/>
              </a:rPr>
              <a:t>Dev Tools + DevOp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2F3DC44-0A24-42EE-A4B8-1E0C051F8880}"/>
              </a:ext>
            </a:extLst>
          </p:cNvPr>
          <p:cNvGrpSpPr/>
          <p:nvPr/>
        </p:nvGrpSpPr>
        <p:grpSpPr>
          <a:xfrm>
            <a:off x="8065058" y="3019586"/>
            <a:ext cx="3461693" cy="2119288"/>
            <a:chOff x="8065058" y="3019586"/>
            <a:chExt cx="3461693" cy="211928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1C5E5E3-BEE9-4E6B-B43B-F598AD4EFC60}"/>
                </a:ext>
              </a:extLst>
            </p:cNvPr>
            <p:cNvSpPr/>
            <p:nvPr/>
          </p:nvSpPr>
          <p:spPr bwMode="auto">
            <a:xfrm>
              <a:off x="8065058" y="3019586"/>
              <a:ext cx="3461693" cy="2119288"/>
            </a:xfrm>
            <a:prstGeom prst="rect">
              <a:avLst/>
            </a:prstGeom>
            <a:solidFill>
              <a:srgbClr val="EBEBEB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99D5D56-0E6F-429D-87E4-5848D35D16BF}"/>
                </a:ext>
              </a:extLst>
            </p:cNvPr>
            <p:cNvSpPr txBox="1"/>
            <p:nvPr/>
          </p:nvSpPr>
          <p:spPr>
            <a:xfrm>
              <a:off x="9149266" y="3318387"/>
              <a:ext cx="1293277" cy="307777"/>
            </a:xfrm>
            <a:prstGeom prst="rect">
              <a:avLst/>
            </a:prstGeom>
            <a:noFill/>
          </p:spPr>
          <p:txBody>
            <a:bodyPr wrap="none" lIns="91427" tIns="0" rIns="91427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2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Semibold"/>
                </a:rPr>
                <a:t>Azure IoT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8A077FB-EAAE-4E00-A523-D1DDDE4E49C0}"/>
                </a:ext>
              </a:extLst>
            </p:cNvPr>
            <p:cNvGrpSpPr/>
            <p:nvPr/>
          </p:nvGrpSpPr>
          <p:grpSpPr>
            <a:xfrm>
              <a:off x="8621205" y="4214390"/>
              <a:ext cx="2349399" cy="449396"/>
              <a:chOff x="8620803" y="4214390"/>
              <a:chExt cx="2349399" cy="449396"/>
            </a:xfrm>
          </p:grpSpPr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2DB8DAB2-B912-424F-BEB9-27ED29DCD5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579237" y="4228742"/>
                <a:ext cx="420696" cy="420694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424080E0-D010-4BA4-B408-88148818AE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520806" y="4214390"/>
                <a:ext cx="449396" cy="449396"/>
              </a:xfrm>
              <a:prstGeom prst="rect">
                <a:avLst/>
              </a:prstGeom>
            </p:spPr>
          </p:pic>
          <p:pic>
            <p:nvPicPr>
              <p:cNvPr id="62" name="Graphic 61">
                <a:extLst>
                  <a:ext uri="{FF2B5EF4-FFF2-40B4-BE49-F238E27FC236}">
                    <a16:creationId xmlns:a16="http://schemas.microsoft.com/office/drawing/2014/main" id="{D169D50F-C9F6-45BB-80AA-C73A39EC99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8620803" y="4220308"/>
                <a:ext cx="437560" cy="437560"/>
              </a:xfrm>
              <a:prstGeom prst="rect">
                <a:avLst/>
              </a:prstGeom>
            </p:spPr>
          </p:pic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1CC164C-D21B-42EB-B073-1349DF5AD3EB}"/>
                </a:ext>
              </a:extLst>
            </p:cNvPr>
            <p:cNvSpPr/>
            <p:nvPr/>
          </p:nvSpPr>
          <p:spPr>
            <a:xfrm>
              <a:off x="9031111" y="3577273"/>
              <a:ext cx="152958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225">
                <a:defRPr/>
              </a:pPr>
              <a:r>
                <a:rPr lang="en-US" sz="1400">
                  <a:solidFill>
                    <a:schemeClr val="tx2"/>
                  </a:solidFill>
                  <a:latin typeface="+mj-lt"/>
                </a:rPr>
                <a:t>Any edge devic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EC6106B-25E6-434E-BAC7-92F1E10B5A0C}"/>
              </a:ext>
            </a:extLst>
          </p:cNvPr>
          <p:cNvGrpSpPr/>
          <p:nvPr/>
        </p:nvGrpSpPr>
        <p:grpSpPr>
          <a:xfrm>
            <a:off x="4365154" y="3019586"/>
            <a:ext cx="3461693" cy="2119288"/>
            <a:chOff x="4365154" y="3019586"/>
            <a:chExt cx="3461693" cy="2119288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C064227-35BD-48AC-9978-59D190E85373}"/>
                </a:ext>
              </a:extLst>
            </p:cNvPr>
            <p:cNvSpPr/>
            <p:nvPr/>
          </p:nvSpPr>
          <p:spPr bwMode="auto">
            <a:xfrm>
              <a:off x="4365154" y="3019586"/>
              <a:ext cx="3461693" cy="2119288"/>
            </a:xfrm>
            <a:prstGeom prst="rect">
              <a:avLst/>
            </a:prstGeom>
            <a:solidFill>
              <a:srgbClr val="EB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rgbClr val="FF0000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74EAF36-C284-4397-BFA0-2FF8D3413FB1}"/>
                </a:ext>
              </a:extLst>
            </p:cNvPr>
            <p:cNvSpPr txBox="1"/>
            <p:nvPr/>
          </p:nvSpPr>
          <p:spPr>
            <a:xfrm>
              <a:off x="5442469" y="3318387"/>
              <a:ext cx="1307063" cy="307777"/>
            </a:xfrm>
            <a:prstGeom prst="rect">
              <a:avLst/>
            </a:prstGeom>
            <a:noFill/>
          </p:spPr>
          <p:txBody>
            <a:bodyPr wrap="none" lIns="91427" tIns="0" rIns="91427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2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Semibold"/>
                </a:rPr>
                <a:t>Azure Arc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839F950-18EC-4515-99E2-C64D166D29DE}"/>
                </a:ext>
              </a:extLst>
            </p:cNvPr>
            <p:cNvSpPr/>
            <p:nvPr/>
          </p:nvSpPr>
          <p:spPr>
            <a:xfrm>
              <a:off x="4953252" y="3577273"/>
              <a:ext cx="228549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225">
                <a:defRPr/>
              </a:pPr>
              <a:r>
                <a:rPr lang="en-US" sz="1400">
                  <a:solidFill>
                    <a:schemeClr val="tx2"/>
                  </a:solidFill>
                  <a:latin typeface="+mj-lt"/>
                </a:rPr>
                <a:t>Any datacenter, any cloud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F8C66FE-E713-4732-B478-A5873F92BA88}"/>
                </a:ext>
              </a:extLst>
            </p:cNvPr>
            <p:cNvGrpSpPr/>
            <p:nvPr/>
          </p:nvGrpSpPr>
          <p:grpSpPr>
            <a:xfrm>
              <a:off x="4655242" y="4194969"/>
              <a:ext cx="2881516" cy="488239"/>
              <a:chOff x="4655243" y="4194969"/>
              <a:chExt cx="2881516" cy="488239"/>
            </a:xfrm>
          </p:grpSpPr>
          <p:pic>
            <p:nvPicPr>
              <p:cNvPr id="63" name="Graphic 62">
                <a:extLst>
                  <a:ext uri="{FF2B5EF4-FFF2-40B4-BE49-F238E27FC236}">
                    <a16:creationId xmlns:a16="http://schemas.microsoft.com/office/drawing/2014/main" id="{D722B555-41A8-430A-B8C6-F8961EBC04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655243" y="4225139"/>
                <a:ext cx="427898" cy="427898"/>
              </a:xfrm>
              <a:prstGeom prst="rect">
                <a:avLst/>
              </a:prstGeom>
            </p:spPr>
          </p:pic>
          <p:pic>
            <p:nvPicPr>
              <p:cNvPr id="64" name="Graphic 32">
                <a:extLst>
                  <a:ext uri="{FF2B5EF4-FFF2-40B4-BE49-F238E27FC236}">
                    <a16:creationId xmlns:a16="http://schemas.microsoft.com/office/drawing/2014/main" id="{BF9C2545-3070-43E4-91C6-383905D4A0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rcRect/>
              <a:stretch/>
            </p:blipFill>
            <p:spPr>
              <a:xfrm>
                <a:off x="6220396" y="4194969"/>
                <a:ext cx="488239" cy="488239"/>
              </a:xfrm>
              <a:prstGeom prst="rect">
                <a:avLst/>
              </a:prstGeom>
            </p:spPr>
          </p:pic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B8864437-8F8A-4B1D-B3FB-0D1CC1A30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048520" y="4194969"/>
                <a:ext cx="488239" cy="488239"/>
              </a:xfrm>
              <a:prstGeom prst="rect">
                <a:avLst/>
              </a:prstGeom>
            </p:spPr>
          </p:pic>
          <p:pic>
            <p:nvPicPr>
              <p:cNvPr id="48" name="Kubernetes" descr="Kubernetes">
                <a:extLst>
                  <a:ext uri="{FF2B5EF4-FFF2-40B4-BE49-F238E27FC236}">
                    <a16:creationId xmlns:a16="http://schemas.microsoft.com/office/drawing/2014/main" id="{EC1F850F-D0E6-4D4D-85D5-4CD83435B9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423026" y="4210346"/>
                <a:ext cx="457485" cy="457485"/>
              </a:xfrm>
              <a:prstGeom prst="rect">
                <a:avLst/>
              </a:prstGeom>
            </p:spPr>
          </p:pic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1280D2-C7C7-4BDF-8341-ACB736BCFF01}"/>
              </a:ext>
            </a:extLst>
          </p:cNvPr>
          <p:cNvGrpSpPr/>
          <p:nvPr/>
        </p:nvGrpSpPr>
        <p:grpSpPr>
          <a:xfrm>
            <a:off x="665250" y="3019586"/>
            <a:ext cx="3461693" cy="2119288"/>
            <a:chOff x="665250" y="3019586"/>
            <a:chExt cx="3461693" cy="211928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70EF1F3-F8F1-4C15-A4C6-9B186D410DA9}"/>
                </a:ext>
              </a:extLst>
            </p:cNvPr>
            <p:cNvSpPr/>
            <p:nvPr/>
          </p:nvSpPr>
          <p:spPr bwMode="auto">
            <a:xfrm>
              <a:off x="665250" y="3019586"/>
              <a:ext cx="3461693" cy="2119288"/>
            </a:xfrm>
            <a:prstGeom prst="rect">
              <a:avLst/>
            </a:prstGeom>
            <a:solidFill>
              <a:srgbClr val="EBEBEB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AC62082-46CD-48B4-97E1-040DD006DCC7}"/>
                </a:ext>
              </a:extLst>
            </p:cNvPr>
            <p:cNvSpPr/>
            <p:nvPr/>
          </p:nvSpPr>
          <p:spPr>
            <a:xfrm>
              <a:off x="1534258" y="3577273"/>
              <a:ext cx="17236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225">
                <a:defRPr/>
              </a:pPr>
              <a:r>
                <a:rPr lang="en-US" sz="1400">
                  <a:solidFill>
                    <a:schemeClr val="tx2"/>
                  </a:solidFill>
                  <a:latin typeface="+mj-lt"/>
                </a:rPr>
                <a:t>Integrated system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41BEBF1-44A4-428A-842D-45B4967C3926}"/>
                </a:ext>
              </a:extLst>
            </p:cNvPr>
            <p:cNvSpPr txBox="1"/>
            <p:nvPr/>
          </p:nvSpPr>
          <p:spPr>
            <a:xfrm>
              <a:off x="1627309" y="3318387"/>
              <a:ext cx="1537574" cy="307777"/>
            </a:xfrm>
            <a:prstGeom prst="rect">
              <a:avLst/>
            </a:prstGeom>
            <a:noFill/>
          </p:spPr>
          <p:txBody>
            <a:bodyPr wrap="none" lIns="91427" tIns="0" rIns="91427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2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Semibold"/>
                </a:rPr>
                <a:t>Azure Stack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00F754B-6611-442D-88B0-1067A1A71459}"/>
                </a:ext>
              </a:extLst>
            </p:cNvPr>
            <p:cNvGrpSpPr/>
            <p:nvPr/>
          </p:nvGrpSpPr>
          <p:grpSpPr>
            <a:xfrm>
              <a:off x="1359435" y="4201792"/>
              <a:ext cx="2073323" cy="474593"/>
              <a:chOff x="1359436" y="4201792"/>
              <a:chExt cx="2073323" cy="474593"/>
            </a:xfrm>
          </p:grpSpPr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539CE6A2-C8C4-462A-B399-C208532AE581}"/>
                  </a:ext>
                </a:extLst>
              </p:cNvPr>
              <p:cNvGrpSpPr/>
              <p:nvPr/>
            </p:nvGrpSpPr>
            <p:grpSpPr>
              <a:xfrm>
                <a:off x="2194060" y="4210808"/>
                <a:ext cx="489918" cy="456561"/>
                <a:chOff x="2359869" y="4076771"/>
                <a:chExt cx="730945" cy="681176"/>
              </a:xfrm>
            </p:grpSpPr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D6525EB9-A36E-472E-837E-6BE8D57FC685}"/>
                    </a:ext>
                  </a:extLst>
                </p:cNvPr>
                <p:cNvGrpSpPr/>
                <p:nvPr/>
              </p:nvGrpSpPr>
              <p:grpSpPr>
                <a:xfrm>
                  <a:off x="2752518" y="4462681"/>
                  <a:ext cx="338296" cy="295266"/>
                  <a:chOff x="-1057937" y="4114455"/>
                  <a:chExt cx="338296" cy="295266"/>
                </a:xfrm>
              </p:grpSpPr>
              <p:grpSp>
                <p:nvGrpSpPr>
                  <p:cNvPr id="71" name="Group 70">
                    <a:extLst>
                      <a:ext uri="{FF2B5EF4-FFF2-40B4-BE49-F238E27FC236}">
                        <a16:creationId xmlns:a16="http://schemas.microsoft.com/office/drawing/2014/main" id="{78A4D977-17BC-4017-8629-E200F8B7F196}"/>
                      </a:ext>
                    </a:extLst>
                  </p:cNvPr>
                  <p:cNvGrpSpPr/>
                  <p:nvPr/>
                </p:nvGrpSpPr>
                <p:grpSpPr>
                  <a:xfrm>
                    <a:off x="-1057937" y="4321624"/>
                    <a:ext cx="338296" cy="88097"/>
                    <a:chOff x="-1057937" y="4321624"/>
                    <a:chExt cx="338296" cy="88097"/>
                  </a:xfrm>
                </p:grpSpPr>
                <p:sp>
                  <p:nvSpPr>
                    <p:cNvPr id="79" name="Freeform: Shape 78">
                      <a:extLst>
                        <a:ext uri="{FF2B5EF4-FFF2-40B4-BE49-F238E27FC236}">
                          <a16:creationId xmlns:a16="http://schemas.microsoft.com/office/drawing/2014/main" id="{9D65E87E-6E98-430A-B562-2F00249D92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57937" y="4321624"/>
                      <a:ext cx="338296" cy="88097"/>
                    </a:xfrm>
                    <a:custGeom>
                      <a:avLst/>
                      <a:gdLst>
                        <a:gd name="connsiteX0" fmla="*/ 339250 w 338296"/>
                        <a:gd name="connsiteY0" fmla="*/ 954 h 88096"/>
                        <a:gd name="connsiteX1" fmla="*/ 954 w 338296"/>
                        <a:gd name="connsiteY1" fmla="*/ 954 h 88096"/>
                        <a:gd name="connsiteX2" fmla="*/ 954 w 338296"/>
                        <a:gd name="connsiteY2" fmla="*/ 89372 h 88096"/>
                        <a:gd name="connsiteX3" fmla="*/ 339250 w 338296"/>
                        <a:gd name="connsiteY3" fmla="*/ 89372 h 88096"/>
                        <a:gd name="connsiteX4" fmla="*/ 339250 w 338296"/>
                        <a:gd name="connsiteY4" fmla="*/ 954 h 88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38296" h="88096">
                          <a:moveTo>
                            <a:pt x="339250" y="954"/>
                          </a:moveTo>
                          <a:lnTo>
                            <a:pt x="954" y="954"/>
                          </a:lnTo>
                          <a:lnTo>
                            <a:pt x="954" y="89372"/>
                          </a:lnTo>
                          <a:lnTo>
                            <a:pt x="339250" y="89372"/>
                          </a:lnTo>
                          <a:lnTo>
                            <a:pt x="339250" y="954"/>
                          </a:lnTo>
                          <a:close/>
                        </a:path>
                      </a:pathLst>
                    </a:custGeom>
                    <a:solidFill>
                      <a:srgbClr val="0078D7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80" name="Freeform: Shape 79">
                      <a:extLst>
                        <a:ext uri="{FF2B5EF4-FFF2-40B4-BE49-F238E27FC236}">
                          <a16:creationId xmlns:a16="http://schemas.microsoft.com/office/drawing/2014/main" id="{2C2F9506-D069-44C5-B9C1-B0B12D1494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21183" y="4347943"/>
                      <a:ext cx="35239" cy="35239"/>
                    </a:xfrm>
                    <a:custGeom>
                      <a:avLst/>
                      <a:gdLst>
                        <a:gd name="connsiteX0" fmla="*/ 19362 w 35239"/>
                        <a:gd name="connsiteY0" fmla="*/ 37770 h 35238"/>
                        <a:gd name="connsiteX1" fmla="*/ 37770 w 35239"/>
                        <a:gd name="connsiteY1" fmla="*/ 19362 h 35238"/>
                        <a:gd name="connsiteX2" fmla="*/ 19362 w 35239"/>
                        <a:gd name="connsiteY2" fmla="*/ 954 h 35238"/>
                        <a:gd name="connsiteX3" fmla="*/ 954 w 35239"/>
                        <a:gd name="connsiteY3" fmla="*/ 19362 h 35238"/>
                        <a:gd name="connsiteX4" fmla="*/ 19362 w 35239"/>
                        <a:gd name="connsiteY4" fmla="*/ 37770 h 352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5239" h="35238">
                          <a:moveTo>
                            <a:pt x="19362" y="37770"/>
                          </a:moveTo>
                          <a:cubicBezTo>
                            <a:pt x="29528" y="37770"/>
                            <a:pt x="37770" y="29528"/>
                            <a:pt x="37770" y="19362"/>
                          </a:cubicBezTo>
                          <a:cubicBezTo>
                            <a:pt x="37770" y="9195"/>
                            <a:pt x="29528" y="954"/>
                            <a:pt x="19362" y="954"/>
                          </a:cubicBezTo>
                          <a:cubicBezTo>
                            <a:pt x="9195" y="954"/>
                            <a:pt x="954" y="9195"/>
                            <a:pt x="954" y="19362"/>
                          </a:cubicBezTo>
                          <a:cubicBezTo>
                            <a:pt x="954" y="29528"/>
                            <a:pt x="9195" y="37770"/>
                            <a:pt x="19362" y="37770"/>
                          </a:cubicBezTo>
                          <a:close/>
                        </a:path>
                      </a:pathLst>
                    </a:custGeom>
                    <a:solidFill>
                      <a:srgbClr val="50E6FF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  <p:grpSp>
                <p:nvGrpSpPr>
                  <p:cNvPr id="73" name="Group 72">
                    <a:extLst>
                      <a:ext uri="{FF2B5EF4-FFF2-40B4-BE49-F238E27FC236}">
                        <a16:creationId xmlns:a16="http://schemas.microsoft.com/office/drawing/2014/main" id="{09D8B924-40B0-4B80-BCBB-A9638C5084F3}"/>
                      </a:ext>
                    </a:extLst>
                  </p:cNvPr>
                  <p:cNvGrpSpPr/>
                  <p:nvPr/>
                </p:nvGrpSpPr>
                <p:grpSpPr>
                  <a:xfrm>
                    <a:off x="-1057937" y="4218040"/>
                    <a:ext cx="338296" cy="88097"/>
                    <a:chOff x="-1057937" y="4321624"/>
                    <a:chExt cx="338296" cy="88097"/>
                  </a:xfrm>
                </p:grpSpPr>
                <p:sp>
                  <p:nvSpPr>
                    <p:cNvPr id="77" name="Freeform: Shape 76">
                      <a:extLst>
                        <a:ext uri="{FF2B5EF4-FFF2-40B4-BE49-F238E27FC236}">
                          <a16:creationId xmlns:a16="http://schemas.microsoft.com/office/drawing/2014/main" id="{2DD49A64-9263-4846-911E-14C7B3AEBE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57937" y="4321624"/>
                      <a:ext cx="338296" cy="88097"/>
                    </a:xfrm>
                    <a:custGeom>
                      <a:avLst/>
                      <a:gdLst>
                        <a:gd name="connsiteX0" fmla="*/ 339250 w 338296"/>
                        <a:gd name="connsiteY0" fmla="*/ 954 h 88096"/>
                        <a:gd name="connsiteX1" fmla="*/ 954 w 338296"/>
                        <a:gd name="connsiteY1" fmla="*/ 954 h 88096"/>
                        <a:gd name="connsiteX2" fmla="*/ 954 w 338296"/>
                        <a:gd name="connsiteY2" fmla="*/ 89372 h 88096"/>
                        <a:gd name="connsiteX3" fmla="*/ 339250 w 338296"/>
                        <a:gd name="connsiteY3" fmla="*/ 89372 h 88096"/>
                        <a:gd name="connsiteX4" fmla="*/ 339250 w 338296"/>
                        <a:gd name="connsiteY4" fmla="*/ 954 h 88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38296" h="88096">
                          <a:moveTo>
                            <a:pt x="339250" y="954"/>
                          </a:moveTo>
                          <a:lnTo>
                            <a:pt x="954" y="954"/>
                          </a:lnTo>
                          <a:lnTo>
                            <a:pt x="954" y="89372"/>
                          </a:lnTo>
                          <a:lnTo>
                            <a:pt x="339250" y="89372"/>
                          </a:lnTo>
                          <a:lnTo>
                            <a:pt x="339250" y="954"/>
                          </a:lnTo>
                          <a:close/>
                        </a:path>
                      </a:pathLst>
                    </a:custGeom>
                    <a:solidFill>
                      <a:srgbClr val="0078D7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78" name="Freeform: Shape 77">
                      <a:extLst>
                        <a:ext uri="{FF2B5EF4-FFF2-40B4-BE49-F238E27FC236}">
                          <a16:creationId xmlns:a16="http://schemas.microsoft.com/office/drawing/2014/main" id="{368A1B04-B084-46A6-9E75-EB35A85316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21183" y="4347943"/>
                      <a:ext cx="35239" cy="35239"/>
                    </a:xfrm>
                    <a:custGeom>
                      <a:avLst/>
                      <a:gdLst>
                        <a:gd name="connsiteX0" fmla="*/ 19362 w 35239"/>
                        <a:gd name="connsiteY0" fmla="*/ 37770 h 35238"/>
                        <a:gd name="connsiteX1" fmla="*/ 37770 w 35239"/>
                        <a:gd name="connsiteY1" fmla="*/ 19362 h 35238"/>
                        <a:gd name="connsiteX2" fmla="*/ 19362 w 35239"/>
                        <a:gd name="connsiteY2" fmla="*/ 954 h 35238"/>
                        <a:gd name="connsiteX3" fmla="*/ 954 w 35239"/>
                        <a:gd name="connsiteY3" fmla="*/ 19362 h 35238"/>
                        <a:gd name="connsiteX4" fmla="*/ 19362 w 35239"/>
                        <a:gd name="connsiteY4" fmla="*/ 37770 h 352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5239" h="35238">
                          <a:moveTo>
                            <a:pt x="19362" y="37770"/>
                          </a:moveTo>
                          <a:cubicBezTo>
                            <a:pt x="29528" y="37770"/>
                            <a:pt x="37770" y="29528"/>
                            <a:pt x="37770" y="19362"/>
                          </a:cubicBezTo>
                          <a:cubicBezTo>
                            <a:pt x="37770" y="9195"/>
                            <a:pt x="29528" y="954"/>
                            <a:pt x="19362" y="954"/>
                          </a:cubicBezTo>
                          <a:cubicBezTo>
                            <a:pt x="9195" y="954"/>
                            <a:pt x="954" y="9195"/>
                            <a:pt x="954" y="19362"/>
                          </a:cubicBezTo>
                          <a:cubicBezTo>
                            <a:pt x="954" y="29528"/>
                            <a:pt x="9195" y="37770"/>
                            <a:pt x="19362" y="37770"/>
                          </a:cubicBezTo>
                          <a:close/>
                        </a:path>
                      </a:pathLst>
                    </a:custGeom>
                    <a:solidFill>
                      <a:srgbClr val="50E6FF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  <p:grpSp>
                <p:nvGrpSpPr>
                  <p:cNvPr id="74" name="Group 73">
                    <a:extLst>
                      <a:ext uri="{FF2B5EF4-FFF2-40B4-BE49-F238E27FC236}">
                        <a16:creationId xmlns:a16="http://schemas.microsoft.com/office/drawing/2014/main" id="{75119AD5-7B15-48B4-B014-4A0D2A6FF4BA}"/>
                      </a:ext>
                    </a:extLst>
                  </p:cNvPr>
                  <p:cNvGrpSpPr/>
                  <p:nvPr/>
                </p:nvGrpSpPr>
                <p:grpSpPr>
                  <a:xfrm>
                    <a:off x="-1057937" y="4114455"/>
                    <a:ext cx="338296" cy="88097"/>
                    <a:chOff x="-1057937" y="4321624"/>
                    <a:chExt cx="338296" cy="88097"/>
                  </a:xfrm>
                </p:grpSpPr>
                <p:sp>
                  <p:nvSpPr>
                    <p:cNvPr id="75" name="Freeform: Shape 74">
                      <a:extLst>
                        <a:ext uri="{FF2B5EF4-FFF2-40B4-BE49-F238E27FC236}">
                          <a16:creationId xmlns:a16="http://schemas.microsoft.com/office/drawing/2014/main" id="{70E4A677-EED7-495D-9199-96E1B18161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57937" y="4321624"/>
                      <a:ext cx="338296" cy="88097"/>
                    </a:xfrm>
                    <a:custGeom>
                      <a:avLst/>
                      <a:gdLst>
                        <a:gd name="connsiteX0" fmla="*/ 339250 w 338296"/>
                        <a:gd name="connsiteY0" fmla="*/ 954 h 88096"/>
                        <a:gd name="connsiteX1" fmla="*/ 954 w 338296"/>
                        <a:gd name="connsiteY1" fmla="*/ 954 h 88096"/>
                        <a:gd name="connsiteX2" fmla="*/ 954 w 338296"/>
                        <a:gd name="connsiteY2" fmla="*/ 89372 h 88096"/>
                        <a:gd name="connsiteX3" fmla="*/ 339250 w 338296"/>
                        <a:gd name="connsiteY3" fmla="*/ 89372 h 88096"/>
                        <a:gd name="connsiteX4" fmla="*/ 339250 w 338296"/>
                        <a:gd name="connsiteY4" fmla="*/ 954 h 880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38296" h="88096">
                          <a:moveTo>
                            <a:pt x="339250" y="954"/>
                          </a:moveTo>
                          <a:lnTo>
                            <a:pt x="954" y="954"/>
                          </a:lnTo>
                          <a:lnTo>
                            <a:pt x="954" y="89372"/>
                          </a:lnTo>
                          <a:lnTo>
                            <a:pt x="339250" y="89372"/>
                          </a:lnTo>
                          <a:lnTo>
                            <a:pt x="339250" y="954"/>
                          </a:lnTo>
                          <a:close/>
                        </a:path>
                      </a:pathLst>
                    </a:custGeom>
                    <a:solidFill>
                      <a:srgbClr val="0078D7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76" name="Freeform: Shape 75">
                      <a:extLst>
                        <a:ext uri="{FF2B5EF4-FFF2-40B4-BE49-F238E27FC236}">
                          <a16:creationId xmlns:a16="http://schemas.microsoft.com/office/drawing/2014/main" id="{34379FBA-1558-4251-881A-2DB9EFE38C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021183" y="4347943"/>
                      <a:ext cx="35239" cy="35239"/>
                    </a:xfrm>
                    <a:custGeom>
                      <a:avLst/>
                      <a:gdLst>
                        <a:gd name="connsiteX0" fmla="*/ 19362 w 35239"/>
                        <a:gd name="connsiteY0" fmla="*/ 37770 h 35238"/>
                        <a:gd name="connsiteX1" fmla="*/ 37770 w 35239"/>
                        <a:gd name="connsiteY1" fmla="*/ 19362 h 35238"/>
                        <a:gd name="connsiteX2" fmla="*/ 19362 w 35239"/>
                        <a:gd name="connsiteY2" fmla="*/ 954 h 35238"/>
                        <a:gd name="connsiteX3" fmla="*/ 954 w 35239"/>
                        <a:gd name="connsiteY3" fmla="*/ 19362 h 35238"/>
                        <a:gd name="connsiteX4" fmla="*/ 19362 w 35239"/>
                        <a:gd name="connsiteY4" fmla="*/ 37770 h 352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5239" h="35238">
                          <a:moveTo>
                            <a:pt x="19362" y="37770"/>
                          </a:moveTo>
                          <a:cubicBezTo>
                            <a:pt x="29528" y="37770"/>
                            <a:pt x="37770" y="29528"/>
                            <a:pt x="37770" y="19362"/>
                          </a:cubicBezTo>
                          <a:cubicBezTo>
                            <a:pt x="37770" y="9195"/>
                            <a:pt x="29528" y="954"/>
                            <a:pt x="19362" y="954"/>
                          </a:cubicBezTo>
                          <a:cubicBezTo>
                            <a:pt x="9195" y="954"/>
                            <a:pt x="954" y="9195"/>
                            <a:pt x="954" y="19362"/>
                          </a:cubicBezTo>
                          <a:cubicBezTo>
                            <a:pt x="954" y="29528"/>
                            <a:pt x="9195" y="37770"/>
                            <a:pt x="19362" y="37770"/>
                          </a:cubicBezTo>
                          <a:close/>
                        </a:path>
                      </a:pathLst>
                    </a:custGeom>
                    <a:solidFill>
                      <a:srgbClr val="50E6FF"/>
                    </a:solidFill>
                    <a:ln w="34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defTabSz="914225">
                        <a:defRPr/>
                      </a:pPr>
                      <a:endParaRPr lang="en-US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</p:grpSp>
            <p:sp>
              <p:nvSpPr>
                <p:cNvPr id="69" name="Oval 15">
                  <a:extLst>
                    <a:ext uri="{FF2B5EF4-FFF2-40B4-BE49-F238E27FC236}">
                      <a16:creationId xmlns:a16="http://schemas.microsoft.com/office/drawing/2014/main" id="{10A82E2D-0CAC-4EB6-BB58-BE2BD5DF805A}"/>
                    </a:ext>
                  </a:extLst>
                </p:cNvPr>
                <p:cNvSpPr/>
                <p:nvPr/>
              </p:nvSpPr>
              <p:spPr bwMode="auto">
                <a:xfrm>
                  <a:off x="2577306" y="4327309"/>
                  <a:ext cx="175143" cy="175143"/>
                </a:xfrm>
                <a:custGeom>
                  <a:avLst/>
                  <a:gdLst>
                    <a:gd name="connsiteX0" fmla="*/ 0 w 259556"/>
                    <a:gd name="connsiteY0" fmla="*/ 129778 h 259556"/>
                    <a:gd name="connsiteX1" fmla="*/ 129778 w 259556"/>
                    <a:gd name="connsiteY1" fmla="*/ 0 h 259556"/>
                    <a:gd name="connsiteX2" fmla="*/ 259556 w 259556"/>
                    <a:gd name="connsiteY2" fmla="*/ 129778 h 259556"/>
                    <a:gd name="connsiteX3" fmla="*/ 129778 w 259556"/>
                    <a:gd name="connsiteY3" fmla="*/ 259556 h 259556"/>
                    <a:gd name="connsiteX4" fmla="*/ 0 w 259556"/>
                    <a:gd name="connsiteY4" fmla="*/ 129778 h 259556"/>
                    <a:gd name="connsiteX0" fmla="*/ 259556 w 350996"/>
                    <a:gd name="connsiteY0" fmla="*/ 129778 h 259556"/>
                    <a:gd name="connsiteX1" fmla="*/ 129778 w 350996"/>
                    <a:gd name="connsiteY1" fmla="*/ 259556 h 259556"/>
                    <a:gd name="connsiteX2" fmla="*/ 0 w 350996"/>
                    <a:gd name="connsiteY2" fmla="*/ 129778 h 259556"/>
                    <a:gd name="connsiteX3" fmla="*/ 129778 w 350996"/>
                    <a:gd name="connsiteY3" fmla="*/ 0 h 259556"/>
                    <a:gd name="connsiteX4" fmla="*/ 350996 w 350996"/>
                    <a:gd name="connsiteY4" fmla="*/ 221218 h 259556"/>
                    <a:gd name="connsiteX0" fmla="*/ 259556 w 365232"/>
                    <a:gd name="connsiteY0" fmla="*/ 129778 h 259556"/>
                    <a:gd name="connsiteX1" fmla="*/ 129778 w 365232"/>
                    <a:gd name="connsiteY1" fmla="*/ 259556 h 259556"/>
                    <a:gd name="connsiteX2" fmla="*/ 0 w 365232"/>
                    <a:gd name="connsiteY2" fmla="*/ 129778 h 259556"/>
                    <a:gd name="connsiteX3" fmla="*/ 129778 w 365232"/>
                    <a:gd name="connsiteY3" fmla="*/ 0 h 259556"/>
                    <a:gd name="connsiteX4" fmla="*/ 350996 w 365232"/>
                    <a:gd name="connsiteY4" fmla="*/ 221218 h 259556"/>
                    <a:gd name="connsiteX5" fmla="*/ 342900 w 365232"/>
                    <a:gd name="connsiteY5" fmla="*/ 214312 h 259556"/>
                    <a:gd name="connsiteX0" fmla="*/ 259556 w 350996"/>
                    <a:gd name="connsiteY0" fmla="*/ 129778 h 259556"/>
                    <a:gd name="connsiteX1" fmla="*/ 129778 w 350996"/>
                    <a:gd name="connsiteY1" fmla="*/ 259556 h 259556"/>
                    <a:gd name="connsiteX2" fmla="*/ 0 w 350996"/>
                    <a:gd name="connsiteY2" fmla="*/ 129778 h 259556"/>
                    <a:gd name="connsiteX3" fmla="*/ 129778 w 350996"/>
                    <a:gd name="connsiteY3" fmla="*/ 0 h 259556"/>
                    <a:gd name="connsiteX4" fmla="*/ 350996 w 350996"/>
                    <a:gd name="connsiteY4" fmla="*/ 221218 h 259556"/>
                    <a:gd name="connsiteX0" fmla="*/ 259556 w 259556"/>
                    <a:gd name="connsiteY0" fmla="*/ 129778 h 259556"/>
                    <a:gd name="connsiteX1" fmla="*/ 129778 w 259556"/>
                    <a:gd name="connsiteY1" fmla="*/ 259556 h 259556"/>
                    <a:gd name="connsiteX2" fmla="*/ 0 w 259556"/>
                    <a:gd name="connsiteY2" fmla="*/ 129778 h 259556"/>
                    <a:gd name="connsiteX3" fmla="*/ 129778 w 259556"/>
                    <a:gd name="connsiteY3" fmla="*/ 0 h 259556"/>
                    <a:gd name="connsiteX0" fmla="*/ 129778 w 129778"/>
                    <a:gd name="connsiteY0" fmla="*/ 259556 h 259556"/>
                    <a:gd name="connsiteX1" fmla="*/ 0 w 129778"/>
                    <a:gd name="connsiteY1" fmla="*/ 129778 h 259556"/>
                    <a:gd name="connsiteX2" fmla="*/ 129778 w 129778"/>
                    <a:gd name="connsiteY2" fmla="*/ 0 h 259556"/>
                    <a:gd name="connsiteX0" fmla="*/ 129778 w 129778"/>
                    <a:gd name="connsiteY0" fmla="*/ 129778 h 129778"/>
                    <a:gd name="connsiteX1" fmla="*/ 0 w 129778"/>
                    <a:gd name="connsiteY1" fmla="*/ 0 h 129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9778" h="129778">
                      <a:moveTo>
                        <a:pt x="129778" y="129778"/>
                      </a:moveTo>
                      <a:cubicBezTo>
                        <a:pt x="58104" y="129778"/>
                        <a:pt x="0" y="71674"/>
                        <a:pt x="0" y="0"/>
                      </a:cubicBezTo>
                    </a:path>
                  </a:pathLst>
                </a:custGeom>
                <a:noFill/>
                <a:ln>
                  <a:solidFill>
                    <a:srgbClr val="50E6FF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3229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0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DA889F64-F6FD-425A-B675-32E635CF7583}"/>
                    </a:ext>
                  </a:extLst>
                </p:cNvPr>
                <p:cNvSpPr/>
                <p:nvPr/>
              </p:nvSpPr>
              <p:spPr>
                <a:xfrm>
                  <a:off x="2359869" y="4076771"/>
                  <a:ext cx="427088" cy="302735"/>
                </a:xfrm>
                <a:custGeom>
                  <a:avLst/>
                  <a:gdLst>
                    <a:gd name="connsiteX0" fmla="*/ 427089 w 427088"/>
                    <a:gd name="connsiteY0" fmla="*/ 207892 h 302734"/>
                    <a:gd name="connsiteX1" fmla="*/ 343754 w 427088"/>
                    <a:gd name="connsiteY1" fmla="*/ 115665 h 302734"/>
                    <a:gd name="connsiteX2" fmla="*/ 219261 w 427088"/>
                    <a:gd name="connsiteY2" fmla="*/ 65 h 302734"/>
                    <a:gd name="connsiteX3" fmla="*/ 100103 w 427088"/>
                    <a:gd name="connsiteY3" fmla="*/ 80858 h 302734"/>
                    <a:gd name="connsiteX4" fmla="*/ 0 w 427088"/>
                    <a:gd name="connsiteY4" fmla="*/ 191123 h 302734"/>
                    <a:gd name="connsiteX5" fmla="*/ 120174 w 427088"/>
                    <a:gd name="connsiteY5" fmla="*/ 302659 h 302734"/>
                    <a:gd name="connsiteX6" fmla="*/ 130845 w 427088"/>
                    <a:gd name="connsiteY6" fmla="*/ 302659 h 302734"/>
                    <a:gd name="connsiteX7" fmla="*/ 325462 w 427088"/>
                    <a:gd name="connsiteY7" fmla="*/ 302659 h 302734"/>
                    <a:gd name="connsiteX8" fmla="*/ 330797 w 427088"/>
                    <a:gd name="connsiteY8" fmla="*/ 302659 h 302734"/>
                    <a:gd name="connsiteX9" fmla="*/ 427089 w 427088"/>
                    <a:gd name="connsiteY9" fmla="*/ 207892 h 302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27088" h="302734">
                      <a:moveTo>
                        <a:pt x="427089" y="207892"/>
                      </a:moveTo>
                      <a:cubicBezTo>
                        <a:pt x="425737" y="160852"/>
                        <a:pt x="390417" y="121762"/>
                        <a:pt x="343754" y="115665"/>
                      </a:cubicBezTo>
                      <a:cubicBezTo>
                        <a:pt x="341000" y="49502"/>
                        <a:pt x="285446" y="-2084"/>
                        <a:pt x="219261" y="65"/>
                      </a:cubicBezTo>
                      <a:cubicBezTo>
                        <a:pt x="166395" y="-1106"/>
                        <a:pt x="118581" y="31313"/>
                        <a:pt x="100103" y="80858"/>
                      </a:cubicBezTo>
                      <a:cubicBezTo>
                        <a:pt x="43983" y="87656"/>
                        <a:pt x="1356" y="134610"/>
                        <a:pt x="0" y="191123"/>
                      </a:cubicBezTo>
                      <a:cubicBezTo>
                        <a:pt x="2479" y="255064"/>
                        <a:pt x="56225" y="304948"/>
                        <a:pt x="120174" y="302659"/>
                      </a:cubicBezTo>
                      <a:lnTo>
                        <a:pt x="130845" y="302659"/>
                      </a:lnTo>
                      <a:lnTo>
                        <a:pt x="325462" y="302659"/>
                      </a:lnTo>
                      <a:lnTo>
                        <a:pt x="330797" y="302659"/>
                      </a:lnTo>
                      <a:cubicBezTo>
                        <a:pt x="383277" y="302395"/>
                        <a:pt x="425989" y="260359"/>
                        <a:pt x="427089" y="20789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549CEC"/>
                    </a:gs>
                    <a:gs pos="100000">
                      <a:srgbClr val="2287DE"/>
                    </a:gs>
                  </a:gsLst>
                  <a:lin ang="5400000" scaled="1"/>
                  <a:tileRect/>
                </a:gradFill>
                <a:ln w="254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225">
                    <a:defRPr/>
                  </a:pPr>
                  <a:endParaRPr lang="en-US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151A74E3-4537-46BD-9807-C8C0A4A20C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359436" y="4201792"/>
                <a:ext cx="474595" cy="474593"/>
              </a:xfrm>
              <a:prstGeom prst="rect">
                <a:avLst/>
              </a:prstGeom>
            </p:spPr>
          </p:pic>
          <p:pic>
            <p:nvPicPr>
              <p:cNvPr id="67" name="Graphic 66">
                <a:extLst>
                  <a:ext uri="{FF2B5EF4-FFF2-40B4-BE49-F238E27FC236}">
                    <a16:creationId xmlns:a16="http://schemas.microsoft.com/office/drawing/2014/main" id="{D754AE95-2B9F-4E27-BD90-4AF05E7222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044008" y="4244713"/>
                <a:ext cx="388751" cy="388751"/>
              </a:xfrm>
              <a:prstGeom prst="rect">
                <a:avLst/>
              </a:prstGeom>
            </p:spPr>
          </p:pic>
        </p:grp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A33C594-91E3-4461-A4B8-87C2BE6B06B7}"/>
              </a:ext>
            </a:extLst>
          </p:cNvPr>
          <p:cNvSpPr txBox="1"/>
          <p:nvPr/>
        </p:nvSpPr>
        <p:spPr>
          <a:xfrm>
            <a:off x="5350935" y="2460797"/>
            <a:ext cx="1664212" cy="246221"/>
          </a:xfrm>
          <a:prstGeom prst="rect">
            <a:avLst/>
          </a:prstGeom>
          <a:noFill/>
        </p:spPr>
        <p:txBody>
          <a:bodyPr wrap="none" lIns="91427" tIns="0" rIns="91427" bIns="0" rtlCol="0">
            <a:spAutoFit/>
          </a:bodyPr>
          <a:lstStyle/>
          <a:p>
            <a:pPr algn="ctr" defTabSz="914225">
              <a:defRPr/>
            </a:pPr>
            <a:r>
              <a:rPr lang="en-US" sz="1600">
                <a:solidFill>
                  <a:srgbClr val="FFFFFF"/>
                </a:solidFill>
                <a:latin typeface="Segoe UI Semibold"/>
              </a:rPr>
              <a:t>Microsoft Az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58BBD9-4BB2-4F85-A647-A3B31973FD29}"/>
              </a:ext>
            </a:extLst>
          </p:cNvPr>
          <p:cNvGrpSpPr/>
          <p:nvPr/>
        </p:nvGrpSpPr>
        <p:grpSpPr>
          <a:xfrm>
            <a:off x="5045678" y="1596688"/>
            <a:ext cx="2100644" cy="1157984"/>
            <a:chOff x="4947558" y="1847273"/>
            <a:chExt cx="2100942" cy="1158148"/>
          </a:xfrm>
        </p:grpSpPr>
        <p:sp>
          <p:nvSpPr>
            <p:cNvPr id="46" name="cloud 4" descr="cloud">
              <a:extLst>
                <a:ext uri="{FF2B5EF4-FFF2-40B4-BE49-F238E27FC236}">
                  <a16:creationId xmlns:a16="http://schemas.microsoft.com/office/drawing/2014/main" id="{6102363A-89A6-4231-B855-109DEC769BB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4947558" y="1847273"/>
              <a:ext cx="2100942" cy="1158148"/>
            </a:xfrm>
            <a:custGeom>
              <a:avLst/>
              <a:gdLst>
                <a:gd name="connsiteX0" fmla="*/ 2780439 w 5647350"/>
                <a:gd name="connsiteY0" fmla="*/ 3113116 h 3113116"/>
                <a:gd name="connsiteX1" fmla="*/ 4003228 w 5647350"/>
                <a:gd name="connsiteY1" fmla="*/ 2302597 h 3113116"/>
                <a:gd name="connsiteX2" fmla="*/ 4014578 w 5647350"/>
                <a:gd name="connsiteY2" fmla="*/ 2266034 h 3113116"/>
                <a:gd name="connsiteX3" fmla="*/ 4121367 w 5647350"/>
                <a:gd name="connsiteY3" fmla="*/ 2305119 h 3113116"/>
                <a:gd name="connsiteX4" fmla="*/ 4471137 w 5647350"/>
                <a:gd name="connsiteY4" fmla="*/ 2357999 h 3113116"/>
                <a:gd name="connsiteX5" fmla="*/ 5647350 w 5647350"/>
                <a:gd name="connsiteY5" fmla="*/ 1181786 h 3113116"/>
                <a:gd name="connsiteX6" fmla="*/ 4591398 w 5647350"/>
                <a:gd name="connsiteY6" fmla="*/ 11645 h 3113116"/>
                <a:gd name="connsiteX7" fmla="*/ 4501659 w 5647350"/>
                <a:gd name="connsiteY7" fmla="*/ 7114 h 3113116"/>
                <a:gd name="connsiteX8" fmla="*/ 4452514 w 5647350"/>
                <a:gd name="connsiteY8" fmla="*/ 2160 h 3113116"/>
                <a:gd name="connsiteX9" fmla="*/ 661901 w 5647350"/>
                <a:gd name="connsiteY9" fmla="*/ 2161 h 3113116"/>
                <a:gd name="connsiteX10" fmla="*/ 606779 w 5647350"/>
                <a:gd name="connsiteY10" fmla="*/ 0 h 3113116"/>
                <a:gd name="connsiteX11" fmla="*/ 477910 w 5647350"/>
                <a:gd name="connsiteY11" fmla="*/ 20972 h 3113116"/>
                <a:gd name="connsiteX12" fmla="*/ 22123 w 5647350"/>
                <a:gd name="connsiteY12" fmla="*/ 810419 h 3113116"/>
                <a:gd name="connsiteX13" fmla="*/ 682701 w 5647350"/>
                <a:gd name="connsiteY13" fmla="*/ 1287178 h 3113116"/>
                <a:gd name="connsiteX14" fmla="*/ 731822 w 5647350"/>
                <a:gd name="connsiteY14" fmla="*/ 1279184 h 3113116"/>
                <a:gd name="connsiteX15" fmla="*/ 718255 w 5647350"/>
                <a:gd name="connsiteY15" fmla="*/ 1360043 h 3113116"/>
                <a:gd name="connsiteX16" fmla="*/ 818090 w 5647350"/>
                <a:gd name="connsiteY16" fmla="*/ 1791984 h 3113116"/>
                <a:gd name="connsiteX17" fmla="*/ 1422047 w 5647350"/>
                <a:gd name="connsiteY17" fmla="*/ 2169387 h 3113116"/>
                <a:gd name="connsiteX18" fmla="*/ 1509532 w 5647350"/>
                <a:gd name="connsiteY18" fmla="*/ 2167085 h 3113116"/>
                <a:gd name="connsiteX19" fmla="*/ 1513025 w 5647350"/>
                <a:gd name="connsiteY19" fmla="*/ 2180671 h 3113116"/>
                <a:gd name="connsiteX20" fmla="*/ 2780439 w 5647350"/>
                <a:gd name="connsiteY20" fmla="*/ 3113116 h 311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47350" h="3113116">
                  <a:moveTo>
                    <a:pt x="2780439" y="3113116"/>
                  </a:moveTo>
                  <a:cubicBezTo>
                    <a:pt x="3330132" y="3113116"/>
                    <a:pt x="3801767" y="2778905"/>
                    <a:pt x="4003228" y="2302597"/>
                  </a:cubicBezTo>
                  <a:lnTo>
                    <a:pt x="4014578" y="2266034"/>
                  </a:lnTo>
                  <a:lnTo>
                    <a:pt x="4121367" y="2305119"/>
                  </a:lnTo>
                  <a:cubicBezTo>
                    <a:pt x="4231860" y="2339485"/>
                    <a:pt x="4349336" y="2357999"/>
                    <a:pt x="4471137" y="2357999"/>
                  </a:cubicBezTo>
                  <a:cubicBezTo>
                    <a:pt x="5120742" y="2357999"/>
                    <a:pt x="5647350" y="1831391"/>
                    <a:pt x="5647350" y="1181786"/>
                  </a:cubicBezTo>
                  <a:cubicBezTo>
                    <a:pt x="5647350" y="572781"/>
                    <a:pt x="5184511" y="71879"/>
                    <a:pt x="4591398" y="11645"/>
                  </a:cubicBezTo>
                  <a:lnTo>
                    <a:pt x="4501659" y="7114"/>
                  </a:lnTo>
                  <a:lnTo>
                    <a:pt x="4452514" y="2160"/>
                  </a:lnTo>
                  <a:lnTo>
                    <a:pt x="661901" y="2161"/>
                  </a:lnTo>
                  <a:lnTo>
                    <a:pt x="606779" y="0"/>
                  </a:lnTo>
                  <a:cubicBezTo>
                    <a:pt x="564026" y="2566"/>
                    <a:pt x="520893" y="9455"/>
                    <a:pt x="477910" y="20972"/>
                  </a:cubicBezTo>
                  <a:cubicBezTo>
                    <a:pt x="134048" y="113110"/>
                    <a:pt x="-70014" y="466557"/>
                    <a:pt x="22123" y="810419"/>
                  </a:cubicBezTo>
                  <a:cubicBezTo>
                    <a:pt x="102744" y="1111298"/>
                    <a:pt x="383429" y="1305143"/>
                    <a:pt x="682701" y="1287178"/>
                  </a:cubicBezTo>
                  <a:lnTo>
                    <a:pt x="731822" y="1279184"/>
                  </a:lnTo>
                  <a:lnTo>
                    <a:pt x="718255" y="1360043"/>
                  </a:lnTo>
                  <a:cubicBezTo>
                    <a:pt x="707958" y="1505742"/>
                    <a:pt x="739562" y="1655971"/>
                    <a:pt x="818090" y="1791984"/>
                  </a:cubicBezTo>
                  <a:cubicBezTo>
                    <a:pt x="948969" y="2018674"/>
                    <a:pt x="1179216" y="2152226"/>
                    <a:pt x="1422047" y="2169387"/>
                  </a:cubicBezTo>
                  <a:lnTo>
                    <a:pt x="1509532" y="2167085"/>
                  </a:lnTo>
                  <a:lnTo>
                    <a:pt x="1513025" y="2180671"/>
                  </a:lnTo>
                  <a:cubicBezTo>
                    <a:pt x="1681048" y="2720882"/>
                    <a:pt x="2184939" y="3113116"/>
                    <a:pt x="2780439" y="3113116"/>
                  </a:cubicBezTo>
                  <a:close/>
                </a:path>
              </a:pathLst>
            </a:custGeom>
            <a:solidFill>
              <a:schemeClr val="tx2"/>
            </a:solidFill>
            <a:ln w="254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765" kern="0">
                <a:gradFill flip="none" rotWithShape="1">
                  <a:gsLst>
                    <a:gs pos="2917">
                      <a:srgbClr val="2487DE"/>
                    </a:gs>
                    <a:gs pos="100000">
                      <a:srgbClr val="5C9FEF"/>
                    </a:gs>
                  </a:gsLst>
                  <a:lin ang="16200000" scaled="1"/>
                  <a:tileRect/>
                </a:gradFill>
                <a:latin typeface="Segoe UI Semilight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E2148C3-C8F7-46C6-81AC-F85785E5FF9B}"/>
                </a:ext>
              </a:extLst>
            </p:cNvPr>
            <p:cNvSpPr txBox="1"/>
            <p:nvPr/>
          </p:nvSpPr>
          <p:spPr>
            <a:xfrm>
              <a:off x="5263776" y="2501203"/>
              <a:ext cx="1664448" cy="246256"/>
            </a:xfrm>
            <a:prstGeom prst="rect">
              <a:avLst/>
            </a:prstGeom>
            <a:noFill/>
          </p:spPr>
          <p:txBody>
            <a:bodyPr wrap="none" lIns="91427" tIns="0" rIns="91427" bIns="0" rtlCol="0">
              <a:spAutoFit/>
            </a:bodyPr>
            <a:lstStyle/>
            <a:p>
              <a:pPr algn="ctr" defTabSz="914225">
                <a:defRPr/>
              </a:pPr>
              <a:r>
                <a:rPr lang="en-US" sz="1600">
                  <a:gradFill>
                    <a:gsLst>
                      <a:gs pos="2917">
                        <a:schemeClr val="bg1"/>
                      </a:gs>
                      <a:gs pos="30000">
                        <a:schemeClr val="bg1"/>
                      </a:gs>
                    </a:gsLst>
                    <a:lin ang="5400000" scaled="0"/>
                  </a:gradFill>
                  <a:latin typeface="Segoe UI Semibold"/>
                </a:rPr>
                <a:t>Microsoft Azure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F6DDD7E-6B1A-46AE-92E7-251635774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552563"/>
            <a:ext cx="11306469" cy="616379"/>
          </a:xfrm>
        </p:spPr>
        <p:txBody>
          <a:bodyPr/>
          <a:lstStyle/>
          <a:p>
            <a:r>
              <a:rPr lang="en-US"/>
              <a:t>Innovation anywhere with Az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AD53D7-A5F1-4827-8847-8670FE920D7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18644" y="1123950"/>
            <a:ext cx="11617325" cy="439738"/>
          </a:xfrm>
        </p:spPr>
        <p:txBody>
          <a:bodyPr/>
          <a:lstStyle/>
          <a:p>
            <a:r>
              <a:rPr lang="en-US" sz="2000" spc="0">
                <a:solidFill>
                  <a:schemeClr val="tx2"/>
                </a:solidFill>
              </a:rPr>
              <a:t>Azure Hybrid</a:t>
            </a:r>
          </a:p>
        </p:txBody>
      </p:sp>
    </p:spTree>
    <p:extLst>
      <p:ext uri="{BB962C8B-B14F-4D97-AF65-F5344CB8AC3E}">
        <p14:creationId xmlns:p14="http://schemas.microsoft.com/office/powerpoint/2010/main" val="133331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3.7037E-7 L 0 0.01898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4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2.96296E-6 L 0 0.01898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900"/>
                            </p:stCondLst>
                            <p:childTnLst>
                              <p:par>
                                <p:cTn id="16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400" fill="hold"/>
                                        <p:tgtEl>
                                          <p:spTgt spid="3"/>
                                        </p:tgtEl>
                                      </p:cBhvr>
                                      <p:by x="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55" grpId="0" animBg="1"/>
      <p:bldP spid="55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DAC6C66A-C47A-4059-8AB0-ED2CC184F70F}"/>
              </a:ext>
            </a:extLst>
          </p:cNvPr>
          <p:cNvGrpSpPr/>
          <p:nvPr/>
        </p:nvGrpSpPr>
        <p:grpSpPr>
          <a:xfrm>
            <a:off x="427037" y="2196343"/>
            <a:ext cx="3618701" cy="4233032"/>
            <a:chOff x="427037" y="2196343"/>
            <a:chExt cx="3618701" cy="423303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6404293-CA8E-4475-83A6-D786B678ADDE}"/>
                </a:ext>
              </a:extLst>
            </p:cNvPr>
            <p:cNvGrpSpPr/>
            <p:nvPr/>
          </p:nvGrpSpPr>
          <p:grpSpPr>
            <a:xfrm>
              <a:off x="427037" y="2196343"/>
              <a:ext cx="3618701" cy="4233032"/>
              <a:chOff x="427037" y="2196343"/>
              <a:chExt cx="3421959" cy="4233032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C498288-EFBD-4911-8154-BB0FB02304AA}"/>
                  </a:ext>
                </a:extLst>
              </p:cNvPr>
              <p:cNvSpPr/>
              <p:nvPr/>
            </p:nvSpPr>
            <p:spPr bwMode="auto">
              <a:xfrm>
                <a:off x="427037" y="2196343"/>
                <a:ext cx="3421959" cy="42330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90550CB-C9BF-4876-8B15-65D0506FA7DD}"/>
                  </a:ext>
                </a:extLst>
              </p:cNvPr>
              <p:cNvSpPr/>
              <p:nvPr/>
            </p:nvSpPr>
            <p:spPr bwMode="auto">
              <a:xfrm>
                <a:off x="427037" y="5406836"/>
                <a:ext cx="3421958" cy="823935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284" rIns="182880" bIns="1462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Machine learning at the edge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Edge compute and IoT solutions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Network data transfer to cloud</a:t>
                </a:r>
              </a:p>
            </p:txBody>
          </p:sp>
          <p:sp>
            <p:nvSpPr>
              <p:cNvPr id="37" name="Title 3">
                <a:extLst>
                  <a:ext uri="{FF2B5EF4-FFF2-40B4-BE49-F238E27FC236}">
                    <a16:creationId xmlns:a16="http://schemas.microsoft.com/office/drawing/2014/main" id="{D8F86F2A-7A69-41E3-BD7F-CD1F9404D5D5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27037" y="4792663"/>
                <a:ext cx="3421958" cy="486785"/>
              </a:xfrm>
              <a:prstGeom prst="rect">
                <a:avLst/>
              </a:prstGeom>
              <a:noFill/>
            </p:spPr>
            <p:txBody>
              <a:bodyPr vert="horz" wrap="square" lIns="182880" tIns="0" rIns="182880" bIns="0" rtlCol="0" anchor="t" anchorCtr="0">
                <a:spAutoFit/>
              </a:bodyPr>
              <a:lstStyle>
                <a:lvl1pPr algn="l" defTabSz="932742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3600" b="0" kern="1200" cap="none" spc="-50" baseline="0">
                    <a:ln w="3175">
                      <a:noFill/>
                    </a:ln>
                    <a:gradFill>
                      <a:gsLst>
                        <a:gs pos="74359">
                          <a:schemeClr val="tx1"/>
                        </a:gs>
                        <a:gs pos="57576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lvl1pPr>
              </a:lstStyle>
              <a:p>
                <a:pPr defTabSz="932563">
                  <a:spcBef>
                    <a:spcPts val="0"/>
                  </a:spcBef>
                  <a:spcAft>
                    <a:spcPts val="184"/>
                  </a:spcAft>
                  <a:defRPr/>
                </a:pPr>
                <a:r>
                  <a:rPr lang="en-US" sz="1961" spc="0">
                    <a:ln>
                      <a:noFill/>
                    </a:ln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bold"/>
                    <a:cs typeface="+mn-cs"/>
                  </a:rPr>
                  <a:t>Azure Stack Edge</a:t>
                </a:r>
              </a:p>
              <a:p>
                <a:pPr defTabSz="932563">
                  <a:spcBef>
                    <a:spcPts val="0"/>
                  </a:spcBef>
                  <a:spcAft>
                    <a:spcPts val="184"/>
                  </a:spcAft>
                  <a:defRPr/>
                </a:pPr>
                <a:r>
                  <a:rPr lang="en-US" sz="1372" spc="29">
                    <a:solidFill>
                      <a:schemeClr val="tx2"/>
                    </a:solidFill>
                    <a:latin typeface="+mj-lt"/>
                  </a:rPr>
                  <a:t>Cloud-managed appliance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521124D-CACE-4615-8891-E1B47B10EBB5}"/>
                </a:ext>
              </a:extLst>
            </p:cNvPr>
            <p:cNvGrpSpPr/>
            <p:nvPr/>
          </p:nvGrpSpPr>
          <p:grpSpPr>
            <a:xfrm>
              <a:off x="427037" y="2196343"/>
              <a:ext cx="3618700" cy="2393120"/>
              <a:chOff x="981609" y="2196343"/>
              <a:chExt cx="3618700" cy="239312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0657C00-2915-4699-A24C-BE561ADC2828}"/>
                  </a:ext>
                </a:extLst>
              </p:cNvPr>
              <p:cNvSpPr/>
              <p:nvPr/>
            </p:nvSpPr>
            <p:spPr bwMode="auto">
              <a:xfrm>
                <a:off x="981609" y="2196343"/>
                <a:ext cx="3618700" cy="239312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6">
                      <a:lumMod val="40000"/>
                      <a:lumOff val="60000"/>
                    </a:schemeClr>
                  </a:gs>
                  <a:gs pos="46000">
                    <a:schemeClr val="accent6">
                      <a:lumMod val="95000"/>
                      <a:lumOff val="5000"/>
                    </a:schemeClr>
                  </a:gs>
                  <a:gs pos="100000">
                    <a:schemeClr val="accent6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36" name="Picture 2" descr="Data-Box-Edge-2019-Draft2-DarkR[4].png">
                <a:extLst>
                  <a:ext uri="{FF2B5EF4-FFF2-40B4-BE49-F238E27FC236}">
                    <a16:creationId xmlns:a16="http://schemas.microsoft.com/office/drawing/2014/main" id="{C6CF9E96-36BF-4BDD-968B-B9B1969FB1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766119" y="2850009"/>
                <a:ext cx="2049681" cy="10857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3FE4B40-C771-468A-95A2-7E7B85B1CF17}"/>
              </a:ext>
            </a:extLst>
          </p:cNvPr>
          <p:cNvGrpSpPr/>
          <p:nvPr/>
        </p:nvGrpSpPr>
        <p:grpSpPr>
          <a:xfrm>
            <a:off x="8146262" y="2196343"/>
            <a:ext cx="3618701" cy="4233032"/>
            <a:chOff x="8146262" y="2196343"/>
            <a:chExt cx="3618701" cy="423303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0624E39-ABD2-42D8-864F-EFB8364C3E64}"/>
                </a:ext>
              </a:extLst>
            </p:cNvPr>
            <p:cNvGrpSpPr/>
            <p:nvPr/>
          </p:nvGrpSpPr>
          <p:grpSpPr>
            <a:xfrm>
              <a:off x="8146262" y="2196343"/>
              <a:ext cx="3618701" cy="4233032"/>
              <a:chOff x="7726581" y="2196343"/>
              <a:chExt cx="3421959" cy="4233032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9EC5452-73B3-4272-B026-C4061CD310D8}"/>
                  </a:ext>
                </a:extLst>
              </p:cNvPr>
              <p:cNvSpPr/>
              <p:nvPr/>
            </p:nvSpPr>
            <p:spPr bwMode="auto">
              <a:xfrm>
                <a:off x="7726581" y="2196343"/>
                <a:ext cx="3421959" cy="42330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D35065E-FD63-4D49-AF3C-55C91B241F3F}"/>
                  </a:ext>
                </a:extLst>
              </p:cNvPr>
              <p:cNvSpPr/>
              <p:nvPr/>
            </p:nvSpPr>
            <p:spPr bwMode="auto">
              <a:xfrm>
                <a:off x="7726581" y="5406836"/>
                <a:ext cx="3419856" cy="823935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284" rIns="182880" bIns="1462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Connected and disconnected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Data sovereignty 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Application modernization</a:t>
                </a:r>
              </a:p>
            </p:txBody>
          </p:sp>
          <p:sp>
            <p:nvSpPr>
              <p:cNvPr id="38" name="Title 3" descr="Azure Stack Hub&#10;">
                <a:extLst>
                  <a:ext uri="{FF2B5EF4-FFF2-40B4-BE49-F238E27FC236}">
                    <a16:creationId xmlns:a16="http://schemas.microsoft.com/office/drawing/2014/main" id="{37A52563-5A97-4B0F-A81D-4B6D4872CD6A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726581" y="4792663"/>
                <a:ext cx="3419856" cy="486785"/>
              </a:xfrm>
              <a:prstGeom prst="rect">
                <a:avLst/>
              </a:prstGeom>
              <a:noFill/>
            </p:spPr>
            <p:txBody>
              <a:bodyPr vert="horz" wrap="square" lIns="182880" tIns="0" rIns="182880" bIns="0" rtlCol="0" anchor="t" anchorCtr="0">
                <a:spAutoFit/>
              </a:bodyPr>
              <a:lstStyle>
                <a:lvl1pPr algn="l" defTabSz="932742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3600" b="0" kern="1200" cap="none" spc="-50" baseline="0">
                    <a:ln w="3175">
                      <a:noFill/>
                    </a:ln>
                    <a:gradFill>
                      <a:gsLst>
                        <a:gs pos="74359">
                          <a:schemeClr val="tx1"/>
                        </a:gs>
                        <a:gs pos="57576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lvl1pPr>
              </a:lstStyle>
              <a:p>
                <a:pPr defTabSz="932563">
                  <a:spcBef>
                    <a:spcPts val="0"/>
                  </a:spcBef>
                  <a:spcAft>
                    <a:spcPts val="184"/>
                  </a:spcAft>
                  <a:defRPr/>
                </a:pPr>
                <a:r>
                  <a:rPr lang="en-US" sz="1961" spc="0">
                    <a:ln>
                      <a:noFill/>
                    </a:ln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bold"/>
                    <a:cs typeface="+mn-cs"/>
                  </a:rPr>
                  <a:t>Azure Stack Hub</a:t>
                </a:r>
              </a:p>
              <a:p>
                <a:pPr defTabSz="932563">
                  <a:spcBef>
                    <a:spcPts val="0"/>
                  </a:spcBef>
                  <a:spcAft>
                    <a:spcPts val="184"/>
                  </a:spcAft>
                  <a:defRPr/>
                </a:pPr>
                <a:r>
                  <a:rPr lang="en-US" sz="1372" spc="29">
                    <a:solidFill>
                      <a:schemeClr val="tx2"/>
                    </a:solidFill>
                    <a:latin typeface="+mj-lt"/>
                  </a:rPr>
                  <a:t>Cloud-native integrated system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E192853-39E2-4CB0-9D5E-269FB2B6C6D1}"/>
                </a:ext>
              </a:extLst>
            </p:cNvPr>
            <p:cNvGrpSpPr/>
            <p:nvPr/>
          </p:nvGrpSpPr>
          <p:grpSpPr>
            <a:xfrm>
              <a:off x="8146262" y="2196343"/>
              <a:ext cx="3618701" cy="2393120"/>
              <a:chOff x="7591690" y="2196343"/>
              <a:chExt cx="3618701" cy="239312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38D515F-6F8C-4BFE-9973-2D3EE50270BC}"/>
                  </a:ext>
                </a:extLst>
              </p:cNvPr>
              <p:cNvSpPr/>
              <p:nvPr/>
            </p:nvSpPr>
            <p:spPr bwMode="auto">
              <a:xfrm>
                <a:off x="7591690" y="2196343"/>
                <a:ext cx="3618701" cy="239312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6">
                      <a:lumMod val="40000"/>
                      <a:lumOff val="60000"/>
                    </a:schemeClr>
                  </a:gs>
                  <a:gs pos="46000">
                    <a:schemeClr val="accent6">
                      <a:lumMod val="95000"/>
                      <a:lumOff val="5000"/>
                    </a:schemeClr>
                  </a:gs>
                  <a:gs pos="100000">
                    <a:schemeClr val="accent6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31FD3AE5-3E3B-4EB3-A2AF-5FC26AE9B76D}"/>
                  </a:ext>
                </a:extLst>
              </p:cNvPr>
              <p:cNvPicPr preferRelativeResize="0"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5064" y="2344861"/>
                <a:ext cx="1591953" cy="20960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1D8E829-E97C-48B5-A748-D85B22F6C04A}"/>
              </a:ext>
            </a:extLst>
          </p:cNvPr>
          <p:cNvGrpSpPr/>
          <p:nvPr/>
        </p:nvGrpSpPr>
        <p:grpSpPr>
          <a:xfrm>
            <a:off x="4285535" y="2196343"/>
            <a:ext cx="3620927" cy="4233032"/>
            <a:chOff x="4285535" y="2196343"/>
            <a:chExt cx="3620927" cy="423303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0410CC8-A8B2-479E-BFA9-ACA207FE3DC2}"/>
                </a:ext>
              </a:extLst>
            </p:cNvPr>
            <p:cNvGrpSpPr/>
            <p:nvPr/>
          </p:nvGrpSpPr>
          <p:grpSpPr>
            <a:xfrm>
              <a:off x="4287761" y="2196343"/>
              <a:ext cx="3618701" cy="4233032"/>
              <a:chOff x="4077860" y="2196343"/>
              <a:chExt cx="3421959" cy="4233032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2973081-0079-44AA-8EA6-559BC7805963}"/>
                  </a:ext>
                </a:extLst>
              </p:cNvPr>
              <p:cNvSpPr/>
              <p:nvPr/>
            </p:nvSpPr>
            <p:spPr bwMode="auto">
              <a:xfrm>
                <a:off x="4077860" y="2196343"/>
                <a:ext cx="3421959" cy="42330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AFC12CB-E1AF-49BE-B581-E63F45964D25}"/>
                  </a:ext>
                </a:extLst>
              </p:cNvPr>
              <p:cNvSpPr/>
              <p:nvPr/>
            </p:nvSpPr>
            <p:spPr bwMode="auto">
              <a:xfrm>
                <a:off x="4077860" y="5406836"/>
                <a:ext cx="3419856" cy="823935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284" rIns="182880" bIns="14628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Scalable virtualization and storage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Remote branch office</a:t>
                </a:r>
              </a:p>
              <a:p>
                <a:pPr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US" sz="1372" spc="29"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</a:rPr>
                  <a:t>High-performance workloads</a:t>
                </a:r>
              </a:p>
            </p:txBody>
          </p:sp>
          <p:sp>
            <p:nvSpPr>
              <p:cNvPr id="39" name="Title 3" descr="&#10;">
                <a:extLst>
                  <a:ext uri="{FF2B5EF4-FFF2-40B4-BE49-F238E27FC236}">
                    <a16:creationId xmlns:a16="http://schemas.microsoft.com/office/drawing/2014/main" id="{E3EBFABB-FD66-4825-A63D-200435608477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077860" y="4792663"/>
                <a:ext cx="3419856" cy="486785"/>
              </a:xfrm>
              <a:prstGeom prst="rect">
                <a:avLst/>
              </a:prstGeom>
              <a:noFill/>
            </p:spPr>
            <p:txBody>
              <a:bodyPr vert="horz" wrap="square" lIns="182880" tIns="0" rIns="182880" bIns="0" rtlCol="0" anchor="t" anchorCtr="0">
                <a:spAutoFit/>
              </a:bodyPr>
              <a:lstStyle>
                <a:lvl1pPr algn="l" defTabSz="932742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3600" b="0" kern="1200" cap="none" spc="-50" baseline="0">
                    <a:ln w="3175">
                      <a:noFill/>
                    </a:ln>
                    <a:gradFill>
                      <a:gsLst>
                        <a:gs pos="74359">
                          <a:schemeClr val="tx1"/>
                        </a:gs>
                        <a:gs pos="57576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lvl1pPr>
              </a:lstStyle>
              <a:p>
                <a:pPr defTabSz="932563">
                  <a:spcBef>
                    <a:spcPts val="800"/>
                  </a:spcBef>
                  <a:spcAft>
                    <a:spcPts val="184"/>
                  </a:spcAft>
                  <a:defRPr/>
                </a:pPr>
                <a:r>
                  <a:rPr lang="en-US" sz="1961" spc="0">
                    <a:ln>
                      <a:noFill/>
                    </a:ln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bold"/>
                    <a:cs typeface="+mn-cs"/>
                  </a:rPr>
                  <a:t>Azure Stack </a:t>
                </a:r>
                <a:r>
                  <a:rPr lang="en-US" sz="1961" spc="0" err="1">
                    <a:ln>
                      <a:noFill/>
                    </a:ln>
                    <a:gradFill>
                      <a:gsLst>
                        <a:gs pos="2917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bold"/>
                    <a:cs typeface="+mn-cs"/>
                  </a:rPr>
                  <a:t>HCI</a:t>
                </a:r>
                <a:endParaRPr lang="en-US" sz="1961" spc="0">
                  <a:ln>
                    <a:noFill/>
                  </a:ln>
                  <a:gradFill>
                    <a:gsLst>
                      <a:gs pos="2917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bold"/>
                  <a:cs typeface="+mn-cs"/>
                </a:endParaRPr>
              </a:p>
              <a:p>
                <a:pPr defTabSz="932563">
                  <a:spcBef>
                    <a:spcPts val="0"/>
                  </a:spcBef>
                  <a:spcAft>
                    <a:spcPts val="184"/>
                  </a:spcAft>
                  <a:defRPr/>
                </a:pPr>
                <a:r>
                  <a:rPr lang="en-US" sz="1372" spc="29">
                    <a:solidFill>
                      <a:schemeClr val="tx2"/>
                    </a:solidFill>
                    <a:latin typeface="+mj-lt"/>
                  </a:rPr>
                  <a:t>Hyperconverged solution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BFBB629-8712-4311-8421-C1511DA62133}"/>
                </a:ext>
              </a:extLst>
            </p:cNvPr>
            <p:cNvGrpSpPr/>
            <p:nvPr/>
          </p:nvGrpSpPr>
          <p:grpSpPr>
            <a:xfrm>
              <a:off x="4285535" y="2196343"/>
              <a:ext cx="3618701" cy="2393120"/>
              <a:chOff x="4570746" y="2196343"/>
              <a:chExt cx="3236232" cy="239312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6CEC498-CF0B-432A-AAB6-1D4FF5514EA4}"/>
                  </a:ext>
                </a:extLst>
              </p:cNvPr>
              <p:cNvSpPr/>
              <p:nvPr/>
            </p:nvSpPr>
            <p:spPr bwMode="auto">
              <a:xfrm>
                <a:off x="4570746" y="2196343"/>
                <a:ext cx="3236232" cy="239312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6">
                      <a:lumMod val="40000"/>
                      <a:lumOff val="60000"/>
                    </a:schemeClr>
                  </a:gs>
                  <a:gs pos="46000">
                    <a:schemeClr val="accent6">
                      <a:lumMod val="95000"/>
                      <a:lumOff val="5000"/>
                    </a:schemeClr>
                  </a:gs>
                  <a:gs pos="100000">
                    <a:schemeClr val="accent6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4" name="Picture 2">
                <a:extLst>
                  <a:ext uri="{FF2B5EF4-FFF2-40B4-BE49-F238E27FC236}">
                    <a16:creationId xmlns:a16="http://schemas.microsoft.com/office/drawing/2014/main" id="{20AAB283-D485-4B6A-AD51-C2639F6FBA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01434" y="2864587"/>
                <a:ext cx="1976850" cy="11288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F38E5A6-4514-4B38-A0DB-80E031741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5" y="552563"/>
            <a:ext cx="8455422" cy="616379"/>
          </a:xfrm>
        </p:spPr>
        <p:txBody>
          <a:bodyPr/>
          <a:lstStyle/>
          <a:p>
            <a:r>
              <a:rPr lang="en-US"/>
              <a:t>Consistently build and run hybrid apps across on-premises, cloud, and edge 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ED66624-11FF-4148-9F2A-4EEEBCCE57AC}"/>
              </a:ext>
            </a:extLst>
          </p:cNvPr>
          <p:cNvSpPr txBox="1">
            <a:spLocks/>
          </p:cNvSpPr>
          <p:nvPr/>
        </p:nvSpPr>
        <p:spPr>
          <a:xfrm>
            <a:off x="427038" y="1508268"/>
            <a:ext cx="11617325" cy="439738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353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196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8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9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pc="0">
                <a:solidFill>
                  <a:schemeClr val="tx2"/>
                </a:solidFill>
              </a:rPr>
              <a:t>Azure Stack portfolio</a:t>
            </a:r>
          </a:p>
        </p:txBody>
      </p:sp>
    </p:spTree>
    <p:extLst>
      <p:ext uri="{BB962C8B-B14F-4D97-AF65-F5344CB8AC3E}">
        <p14:creationId xmlns:p14="http://schemas.microsoft.com/office/powerpoint/2010/main" val="103149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89A51-E07E-4E20-AAB9-083F73F15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Stack Hub</a:t>
            </a: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236EEEA0-C744-4F49-B09E-5E3366E8E38B}"/>
              </a:ext>
            </a:extLst>
          </p:cNvPr>
          <p:cNvSpPr/>
          <p:nvPr/>
        </p:nvSpPr>
        <p:spPr bwMode="auto">
          <a:xfrm>
            <a:off x="0" y="1600199"/>
            <a:ext cx="12190272" cy="48291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6A6018A-BB9C-4028-8590-94610995C042}"/>
              </a:ext>
            </a:extLst>
          </p:cNvPr>
          <p:cNvSpPr txBox="1">
            <a:spLocks/>
          </p:cNvSpPr>
          <p:nvPr/>
        </p:nvSpPr>
        <p:spPr>
          <a:xfrm>
            <a:off x="7554678" y="3876287"/>
            <a:ext cx="4206240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spcAft>
                <a:spcPts val="600"/>
              </a:spcAft>
              <a:buNone/>
              <a:defRPr/>
            </a:pPr>
            <a:r>
              <a:rPr lang="en-US" sz="1800">
                <a:gradFill>
                  <a:gsLst>
                    <a:gs pos="23466">
                      <a:srgbClr val="1A1A1A"/>
                    </a:gs>
                    <a:gs pos="56000">
                      <a:srgbClr val="1A1A1A"/>
                    </a:gs>
                  </a:gsLst>
                  <a:lin ang="5400000" scaled="0"/>
                </a:gradFill>
                <a:latin typeface="+mj-lt"/>
              </a:rPr>
              <a:t>Regulatory &amp; data sovereignty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FE429C-CEEF-4451-9FA0-932057AC5F1F}"/>
              </a:ext>
            </a:extLst>
          </p:cNvPr>
          <p:cNvSpPr/>
          <p:nvPr/>
        </p:nvSpPr>
        <p:spPr>
          <a:xfrm>
            <a:off x="7554678" y="5077066"/>
            <a:ext cx="4206240" cy="27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32205">
              <a:spcBef>
                <a:spcPct val="20000"/>
              </a:spcBef>
              <a:spcAft>
                <a:spcPts val="600"/>
              </a:spcAft>
              <a:buSzPct val="90000"/>
              <a:defRPr/>
            </a:pPr>
            <a:r>
              <a:rPr lang="en-US">
                <a:gradFill>
                  <a:gsLst>
                    <a:gs pos="23466">
                      <a:srgbClr val="1A1A1A"/>
                    </a:gs>
                    <a:gs pos="56000">
                      <a:srgbClr val="1A1A1A"/>
                    </a:gs>
                  </a:gsLst>
                  <a:lin ang="5400000" scaled="0"/>
                </a:gradFill>
                <a:latin typeface="+mj-lt"/>
              </a:rPr>
              <a:t>Application modernization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7E42C4CE-087E-45F3-974A-D4D1F01369E9}"/>
              </a:ext>
            </a:extLst>
          </p:cNvPr>
          <p:cNvSpPr txBox="1">
            <a:spLocks/>
          </p:cNvSpPr>
          <p:nvPr/>
        </p:nvSpPr>
        <p:spPr>
          <a:xfrm>
            <a:off x="7554678" y="2675508"/>
            <a:ext cx="4206240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spcAft>
                <a:spcPts val="600"/>
              </a:spcAft>
              <a:buNone/>
              <a:defRPr/>
            </a:pPr>
            <a:r>
              <a:rPr lang="en-US" sz="180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+mj-lt"/>
                <a:cs typeface="Segoe UI"/>
              </a:rPr>
              <a:t>Azure connected or disconnected cloud</a:t>
            </a:r>
            <a:endParaRPr lang="en-US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EDD9E440-D9A5-4EAA-B95F-43ECF06A1685}"/>
              </a:ext>
            </a:extLst>
          </p:cNvPr>
          <p:cNvSpPr/>
          <p:nvPr/>
        </p:nvSpPr>
        <p:spPr bwMode="auto">
          <a:xfrm>
            <a:off x="1729" y="1600199"/>
            <a:ext cx="6353034" cy="4829175"/>
          </a:xfrm>
          <a:prstGeom prst="homePlate">
            <a:avLst>
              <a:gd name="adj" fmla="val 11179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  <a:effectLst>
            <a:outerShdw blurRad="254000" dist="38100" dir="2700000" sx="101000" sy="101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053C847-BF23-4D02-9519-5099378C3DF8}"/>
              </a:ext>
            </a:extLst>
          </p:cNvPr>
          <p:cNvSpPr/>
          <p:nvPr/>
        </p:nvSpPr>
        <p:spPr>
          <a:xfrm>
            <a:off x="1203703" y="5374170"/>
            <a:ext cx="3749040" cy="6806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32205">
              <a:lnSpc>
                <a:spcPct val="90000"/>
              </a:lnSpc>
              <a:spcAft>
                <a:spcPts val="674"/>
              </a:spcAft>
              <a:buSzPct val="90000"/>
              <a:defRPr/>
            </a:pPr>
            <a:r>
              <a:rPr lang="en-US" sz="1600">
                <a:latin typeface="Segoe UI Semibold"/>
                <a:ea typeface="MS PGothic" panose="020B0600070205080204" pitchFamily="34" charset="-128"/>
                <a:cs typeface="Segoe UI Semilight" panose="020B0402040204020203" pitchFamily="34" charset="0"/>
              </a:rPr>
              <a:t>Purpose-built integrated system</a:t>
            </a:r>
          </a:p>
          <a:p>
            <a:pPr defTabSz="932205">
              <a:spcAft>
                <a:spcPts val="600"/>
              </a:spcAft>
              <a:buSzPct val="90000"/>
              <a:defRPr/>
            </a:pPr>
            <a:r>
              <a:rPr lang="en-US" sz="1200">
                <a:latin typeface="Segoe UI"/>
              </a:rPr>
              <a:t>Cloud inspired infrastructure via integrated systems from major H/W partner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7BAAD2C4-08FB-40F4-BC7B-B2C54E11DAD2}"/>
              </a:ext>
            </a:extLst>
          </p:cNvPr>
          <p:cNvSpPr txBox="1">
            <a:spLocks/>
          </p:cNvSpPr>
          <p:nvPr/>
        </p:nvSpPr>
        <p:spPr>
          <a:xfrm>
            <a:off x="1203703" y="1974704"/>
            <a:ext cx="3749040" cy="6806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lnSpc>
                <a:spcPct val="90000"/>
              </a:lnSpc>
              <a:spcBef>
                <a:spcPts val="0"/>
              </a:spcBef>
              <a:spcAft>
                <a:spcPts val="674"/>
              </a:spcAft>
              <a:buNone/>
              <a:defRPr/>
            </a:pPr>
            <a: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  <a:t>Complete autonomous cloud</a:t>
            </a:r>
            <a:endParaRPr lang="en-US" sz="2000">
              <a:solidFill>
                <a:schemeClr val="tx1"/>
              </a:solidFill>
              <a:latin typeface="Segoe UI Semibold"/>
              <a:ea typeface="MS PGothic" panose="020B0600070205080204" pitchFamily="34" charset="-128"/>
            </a:endParaRPr>
          </a:p>
          <a:p>
            <a:pPr marL="0" indent="0" defTabSz="932205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200">
                <a:solidFill>
                  <a:schemeClr val="tx1"/>
                </a:solidFill>
                <a:latin typeface="Segoe UI"/>
              </a:rPr>
              <a:t>Only consistent hybrid cloud that can run at the connected or disconnected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F27D7B3-0191-459E-94A9-C151A51C6D0E}"/>
              </a:ext>
            </a:extLst>
          </p:cNvPr>
          <p:cNvSpPr txBox="1">
            <a:spLocks/>
          </p:cNvSpPr>
          <p:nvPr/>
        </p:nvSpPr>
        <p:spPr>
          <a:xfrm>
            <a:off x="1203703" y="3033993"/>
            <a:ext cx="3749040" cy="902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lnSpc>
                <a:spcPct val="90000"/>
              </a:lnSpc>
              <a:spcBef>
                <a:spcPts val="0"/>
              </a:spcBef>
              <a:spcAft>
                <a:spcPts val="674"/>
              </a:spcAft>
              <a:buNone/>
              <a:defRPr/>
            </a:pPr>
            <a: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  <a:t>Consistent application </a:t>
            </a:r>
            <a:b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</a:br>
            <a: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  <a:t>development and operations</a:t>
            </a:r>
          </a:p>
          <a:p>
            <a:pPr marL="0" indent="0" defTabSz="932205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200">
                <a:solidFill>
                  <a:schemeClr val="tx1"/>
                </a:solidFill>
                <a:latin typeface="Segoe UI"/>
              </a:rPr>
              <a:t>Common application model, tools and APIs with Azure simplifying DevOp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9DABB00-9D97-4937-AB87-5D0481D8CC80}"/>
              </a:ext>
            </a:extLst>
          </p:cNvPr>
          <p:cNvSpPr/>
          <p:nvPr/>
        </p:nvSpPr>
        <p:spPr>
          <a:xfrm>
            <a:off x="1203703" y="4314881"/>
            <a:ext cx="3749040" cy="6806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32205">
              <a:lnSpc>
                <a:spcPct val="90000"/>
              </a:lnSpc>
              <a:spcAft>
                <a:spcPts val="674"/>
              </a:spcAft>
              <a:buSzPct val="90000"/>
              <a:defRPr/>
            </a:pPr>
            <a:r>
              <a:rPr lang="en-US" sz="1600">
                <a:latin typeface="Segoe UI Semibold"/>
                <a:ea typeface="MS PGothic" panose="020B0600070205080204" pitchFamily="34" charset="-128"/>
                <a:cs typeface="Segoe UI Semilight" panose="020B0402040204020203" pitchFamily="34" charset="0"/>
              </a:rPr>
              <a:t>Azure Services available on-premises</a:t>
            </a:r>
          </a:p>
          <a:p>
            <a:pPr defTabSz="932205">
              <a:spcAft>
                <a:spcPts val="600"/>
              </a:spcAft>
              <a:defRPr/>
            </a:pPr>
            <a:r>
              <a:rPr lang="en-US" sz="1200">
                <a:latin typeface="Segoe UI"/>
              </a:rPr>
              <a:t>Azure web services, containers, Azure functions, </a:t>
            </a:r>
            <a:br>
              <a:rPr lang="en-US" sz="1200">
                <a:latin typeface="Segoe UI"/>
              </a:rPr>
            </a:br>
            <a:r>
              <a:rPr lang="en-US" sz="1200">
                <a:latin typeface="Segoe UI"/>
              </a:rPr>
              <a:t>and Azure marketplace</a:t>
            </a:r>
            <a:endParaRPr lang="en-US" sz="1200">
              <a:latin typeface="Segoe UI"/>
              <a:cs typeface="Segoe UI Semilight" panose="020B0402040204020203" pitchFamily="34" charset="0"/>
            </a:endParaRPr>
          </a:p>
        </p:txBody>
      </p:sp>
      <p:grpSp>
        <p:nvGrpSpPr>
          <p:cNvPr id="82" name="Group 81" descr="robotic arm">
            <a:extLst>
              <a:ext uri="{FF2B5EF4-FFF2-40B4-BE49-F238E27FC236}">
                <a16:creationId xmlns:a16="http://schemas.microsoft.com/office/drawing/2014/main" id="{CC0AD5FA-F320-4F18-BAEB-286620E265DD}"/>
              </a:ext>
            </a:extLst>
          </p:cNvPr>
          <p:cNvGrpSpPr/>
          <p:nvPr/>
        </p:nvGrpSpPr>
        <p:grpSpPr>
          <a:xfrm>
            <a:off x="6904023" y="2593180"/>
            <a:ext cx="391833" cy="440813"/>
            <a:chOff x="7150101" y="5464176"/>
            <a:chExt cx="317500" cy="357188"/>
          </a:xfrm>
        </p:grpSpPr>
        <p:sp>
          <p:nvSpPr>
            <p:cNvPr id="84" name="Freeform 94">
              <a:extLst>
                <a:ext uri="{FF2B5EF4-FFF2-40B4-BE49-F238E27FC236}">
                  <a16:creationId xmlns:a16="http://schemas.microsoft.com/office/drawing/2014/main" id="{FC5AAFCB-0B38-4D6B-8EC4-37E3504E7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0101" y="5568951"/>
              <a:ext cx="185738" cy="252413"/>
            </a:xfrm>
            <a:custGeom>
              <a:avLst/>
              <a:gdLst>
                <a:gd name="T0" fmla="*/ 91 w 110"/>
                <a:gd name="T1" fmla="*/ 136 h 150"/>
                <a:gd name="T2" fmla="*/ 91 w 110"/>
                <a:gd name="T3" fmla="*/ 36 h 150"/>
                <a:gd name="T4" fmla="*/ 55 w 110"/>
                <a:gd name="T5" fmla="*/ 0 h 150"/>
                <a:gd name="T6" fmla="*/ 19 w 110"/>
                <a:gd name="T7" fmla="*/ 36 h 150"/>
                <a:gd name="T8" fmla="*/ 19 w 110"/>
                <a:gd name="T9" fmla="*/ 136 h 150"/>
                <a:gd name="T10" fmla="*/ 0 w 110"/>
                <a:gd name="T11" fmla="*/ 136 h 150"/>
                <a:gd name="T12" fmla="*/ 0 w 110"/>
                <a:gd name="T13" fmla="*/ 150 h 150"/>
                <a:gd name="T14" fmla="*/ 110 w 110"/>
                <a:gd name="T15" fmla="*/ 150 h 150"/>
                <a:gd name="T16" fmla="*/ 110 w 110"/>
                <a:gd name="T17" fmla="*/ 136 h 150"/>
                <a:gd name="T18" fmla="*/ 91 w 110"/>
                <a:gd name="T19" fmla="*/ 136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50">
                  <a:moveTo>
                    <a:pt x="91" y="136"/>
                  </a:moveTo>
                  <a:cubicBezTo>
                    <a:pt x="91" y="36"/>
                    <a:pt x="91" y="36"/>
                    <a:pt x="91" y="36"/>
                  </a:cubicBezTo>
                  <a:cubicBezTo>
                    <a:pt x="91" y="16"/>
                    <a:pt x="75" y="0"/>
                    <a:pt x="55" y="0"/>
                  </a:cubicBezTo>
                  <a:cubicBezTo>
                    <a:pt x="35" y="0"/>
                    <a:pt x="19" y="16"/>
                    <a:pt x="19" y="36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110" y="150"/>
                    <a:pt x="110" y="150"/>
                    <a:pt x="110" y="150"/>
                  </a:cubicBezTo>
                  <a:cubicBezTo>
                    <a:pt x="110" y="136"/>
                    <a:pt x="110" y="136"/>
                    <a:pt x="110" y="136"/>
                  </a:cubicBezTo>
                  <a:lnTo>
                    <a:pt x="91" y="13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89" name="Freeform 95">
              <a:extLst>
                <a:ext uri="{FF2B5EF4-FFF2-40B4-BE49-F238E27FC236}">
                  <a16:creationId xmlns:a16="http://schemas.microsoft.com/office/drawing/2014/main" id="{37ACDD79-BECA-4B82-A09D-BC97AD7B7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726" y="5467351"/>
              <a:ext cx="203200" cy="201613"/>
            </a:xfrm>
            <a:custGeom>
              <a:avLst/>
              <a:gdLst>
                <a:gd name="T0" fmla="*/ 111 w 121"/>
                <a:gd name="T1" fmla="*/ 43 h 120"/>
                <a:gd name="T2" fmla="*/ 43 w 121"/>
                <a:gd name="T3" fmla="*/ 111 h 120"/>
                <a:gd name="T4" fmla="*/ 9 w 121"/>
                <a:gd name="T5" fmla="*/ 111 h 120"/>
                <a:gd name="T6" fmla="*/ 9 w 121"/>
                <a:gd name="T7" fmla="*/ 111 h 120"/>
                <a:gd name="T8" fmla="*/ 9 w 121"/>
                <a:gd name="T9" fmla="*/ 77 h 120"/>
                <a:gd name="T10" fmla="*/ 77 w 121"/>
                <a:gd name="T11" fmla="*/ 9 h 120"/>
                <a:gd name="T12" fmla="*/ 111 w 121"/>
                <a:gd name="T13" fmla="*/ 9 h 120"/>
                <a:gd name="T14" fmla="*/ 111 w 121"/>
                <a:gd name="T15" fmla="*/ 9 h 120"/>
                <a:gd name="T16" fmla="*/ 111 w 121"/>
                <a:gd name="T17" fmla="*/ 4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20">
                  <a:moveTo>
                    <a:pt x="111" y="43"/>
                  </a:moveTo>
                  <a:cubicBezTo>
                    <a:pt x="43" y="111"/>
                    <a:pt x="43" y="111"/>
                    <a:pt x="43" y="111"/>
                  </a:cubicBezTo>
                  <a:cubicBezTo>
                    <a:pt x="34" y="120"/>
                    <a:pt x="19" y="120"/>
                    <a:pt x="9" y="111"/>
                  </a:cubicBezTo>
                  <a:cubicBezTo>
                    <a:pt x="9" y="111"/>
                    <a:pt x="9" y="111"/>
                    <a:pt x="9" y="111"/>
                  </a:cubicBezTo>
                  <a:cubicBezTo>
                    <a:pt x="0" y="102"/>
                    <a:pt x="0" y="87"/>
                    <a:pt x="9" y="77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87" y="0"/>
                    <a:pt x="102" y="0"/>
                    <a:pt x="111" y="9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21" y="19"/>
                    <a:pt x="121" y="34"/>
                    <a:pt x="111" y="43"/>
                  </a:cubicBez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0" name="Freeform 96">
              <a:extLst>
                <a:ext uri="{FF2B5EF4-FFF2-40B4-BE49-F238E27FC236}">
                  <a16:creationId xmlns:a16="http://schemas.microsoft.com/office/drawing/2014/main" id="{ED2F2EA0-0C1D-41E4-82DF-0C4BD54B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6789" y="5464176"/>
              <a:ext cx="136525" cy="136525"/>
            </a:xfrm>
            <a:custGeom>
              <a:avLst/>
              <a:gdLst>
                <a:gd name="T0" fmla="*/ 75 w 81"/>
                <a:gd name="T1" fmla="*/ 75 h 81"/>
                <a:gd name="T2" fmla="*/ 75 w 81"/>
                <a:gd name="T3" fmla="*/ 75 h 81"/>
                <a:gd name="T4" fmla="*/ 54 w 81"/>
                <a:gd name="T5" fmla="*/ 76 h 81"/>
                <a:gd name="T6" fmla="*/ 11 w 81"/>
                <a:gd name="T7" fmla="*/ 40 h 81"/>
                <a:gd name="T8" fmla="*/ 9 w 81"/>
                <a:gd name="T9" fmla="*/ 9 h 81"/>
                <a:gd name="T10" fmla="*/ 9 w 81"/>
                <a:gd name="T11" fmla="*/ 9 h 81"/>
                <a:gd name="T12" fmla="*/ 40 w 81"/>
                <a:gd name="T13" fmla="*/ 11 h 81"/>
                <a:gd name="T14" fmla="*/ 76 w 81"/>
                <a:gd name="T15" fmla="*/ 55 h 81"/>
                <a:gd name="T16" fmla="*/ 75 w 81"/>
                <a:gd name="T17" fmla="*/ 7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81">
                  <a:moveTo>
                    <a:pt x="75" y="75"/>
                  </a:moveTo>
                  <a:cubicBezTo>
                    <a:pt x="75" y="75"/>
                    <a:pt x="75" y="75"/>
                    <a:pt x="75" y="75"/>
                  </a:cubicBezTo>
                  <a:cubicBezTo>
                    <a:pt x="69" y="81"/>
                    <a:pt x="60" y="81"/>
                    <a:pt x="54" y="7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" y="33"/>
                    <a:pt x="0" y="18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8" y="0"/>
                    <a:pt x="32" y="1"/>
                    <a:pt x="40" y="11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81" y="61"/>
                    <a:pt x="80" y="70"/>
                    <a:pt x="75" y="75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1" name="Freeform 97">
              <a:extLst>
                <a:ext uri="{FF2B5EF4-FFF2-40B4-BE49-F238E27FC236}">
                  <a16:creationId xmlns:a16="http://schemas.microsoft.com/office/drawing/2014/main" id="{49D972C6-6423-4134-9E54-C99A829E9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7276" y="5637214"/>
              <a:ext cx="60325" cy="61913"/>
            </a:xfrm>
            <a:custGeom>
              <a:avLst/>
              <a:gdLst>
                <a:gd name="T0" fmla="*/ 0 w 36"/>
                <a:gd name="T1" fmla="*/ 37 h 37"/>
                <a:gd name="T2" fmla="*/ 0 w 36"/>
                <a:gd name="T3" fmla="*/ 19 h 37"/>
                <a:gd name="T4" fmla="*/ 18 w 36"/>
                <a:gd name="T5" fmla="*/ 0 h 37"/>
                <a:gd name="T6" fmla="*/ 18 w 36"/>
                <a:gd name="T7" fmla="*/ 0 h 37"/>
                <a:gd name="T8" fmla="*/ 36 w 36"/>
                <a:gd name="T9" fmla="*/ 19 h 37"/>
                <a:gd name="T10" fmla="*/ 36 w 36"/>
                <a:gd name="T1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7">
                  <a:moveTo>
                    <a:pt x="0" y="3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6" y="8"/>
                    <a:pt x="36" y="19"/>
                  </a:cubicBezTo>
                  <a:cubicBezTo>
                    <a:pt x="36" y="37"/>
                    <a:pt x="36" y="37"/>
                    <a:pt x="36" y="37"/>
                  </a:cubicBezTo>
                </a:path>
              </a:pathLst>
            </a:custGeom>
            <a:noFill/>
            <a:ln w="17463" cap="flat">
              <a:solidFill>
                <a:srgbClr val="0078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92" name="Graphic 94" descr="business, SaaP apps">
            <a:extLst>
              <a:ext uri="{FF2B5EF4-FFF2-40B4-BE49-F238E27FC236}">
                <a16:creationId xmlns:a16="http://schemas.microsoft.com/office/drawing/2014/main" id="{F6CFD95D-EC95-452C-880B-6AF98D2A2F8F}"/>
              </a:ext>
            </a:extLst>
          </p:cNvPr>
          <p:cNvGrpSpPr/>
          <p:nvPr/>
        </p:nvGrpSpPr>
        <p:grpSpPr>
          <a:xfrm>
            <a:off x="6920544" y="5036171"/>
            <a:ext cx="358790" cy="358788"/>
            <a:chOff x="6391144" y="4907281"/>
            <a:chExt cx="358790" cy="358788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60777FE-0B63-4E95-BDCD-0CEB8158AFEB}"/>
                </a:ext>
              </a:extLst>
            </p:cNvPr>
            <p:cNvSpPr/>
            <p:nvPr/>
          </p:nvSpPr>
          <p:spPr>
            <a:xfrm>
              <a:off x="6393048" y="4906425"/>
              <a:ext cx="177546" cy="355089"/>
            </a:xfrm>
            <a:custGeom>
              <a:avLst/>
              <a:gdLst>
                <a:gd name="connsiteX0" fmla="*/ 1058 w 177545"/>
                <a:gd name="connsiteY0" fmla="*/ 356147 h 355089"/>
                <a:gd name="connsiteX1" fmla="*/ 178604 w 177545"/>
                <a:gd name="connsiteY1" fmla="*/ 356147 h 355089"/>
                <a:gd name="connsiteX2" fmla="*/ 178604 w 177545"/>
                <a:gd name="connsiteY2" fmla="*/ 1058 h 355089"/>
                <a:gd name="connsiteX3" fmla="*/ 1058 w 177545"/>
                <a:gd name="connsiteY3" fmla="*/ 1058 h 355089"/>
                <a:gd name="connsiteX4" fmla="*/ 1058 w 177545"/>
                <a:gd name="connsiteY4" fmla="*/ 356147 h 3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545" h="355089">
                  <a:moveTo>
                    <a:pt x="1058" y="356147"/>
                  </a:moveTo>
                  <a:lnTo>
                    <a:pt x="178604" y="356147"/>
                  </a:lnTo>
                  <a:lnTo>
                    <a:pt x="178604" y="1058"/>
                  </a:lnTo>
                  <a:lnTo>
                    <a:pt x="1058" y="1058"/>
                  </a:lnTo>
                  <a:lnTo>
                    <a:pt x="1058" y="356147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1C0349-0644-4D8F-A3C0-49978B97A0C1}"/>
                </a:ext>
              </a:extLst>
            </p:cNvPr>
            <p:cNvSpPr/>
            <p:nvPr/>
          </p:nvSpPr>
          <p:spPr>
            <a:xfrm>
              <a:off x="6430239" y="4943616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1B1395E9-8E5F-4FB5-839A-45C8CDB8DEC7}"/>
                </a:ext>
              </a:extLst>
            </p:cNvPr>
            <p:cNvSpPr/>
            <p:nvPr/>
          </p:nvSpPr>
          <p:spPr>
            <a:xfrm>
              <a:off x="6486430" y="4943616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DB531990-2383-4C02-8DDC-CBCE904CA916}"/>
                </a:ext>
              </a:extLst>
            </p:cNvPr>
            <p:cNvSpPr/>
            <p:nvPr/>
          </p:nvSpPr>
          <p:spPr>
            <a:xfrm>
              <a:off x="6430239" y="4999373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E65B0647-65A8-4D83-B402-1BF86223001B}"/>
                </a:ext>
              </a:extLst>
            </p:cNvPr>
            <p:cNvSpPr/>
            <p:nvPr/>
          </p:nvSpPr>
          <p:spPr>
            <a:xfrm>
              <a:off x="6486430" y="4999373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C36E6A6-2D74-46FD-82C7-E838A63E2EDF}"/>
                </a:ext>
              </a:extLst>
            </p:cNvPr>
            <p:cNvSpPr/>
            <p:nvPr/>
          </p:nvSpPr>
          <p:spPr>
            <a:xfrm>
              <a:off x="6430239" y="5055318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7128CF38-4B39-4F33-8414-2A4E732DA1FF}"/>
                </a:ext>
              </a:extLst>
            </p:cNvPr>
            <p:cNvSpPr/>
            <p:nvPr/>
          </p:nvSpPr>
          <p:spPr>
            <a:xfrm>
              <a:off x="6486430" y="5055318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20A37F9-ACE4-42AA-B3E6-22DBB2F8F217}"/>
                </a:ext>
              </a:extLst>
            </p:cNvPr>
            <p:cNvSpPr/>
            <p:nvPr/>
          </p:nvSpPr>
          <p:spPr>
            <a:xfrm>
              <a:off x="6430239" y="5111379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E496FA0-6873-417B-A8E4-25623D2E3220}"/>
                </a:ext>
              </a:extLst>
            </p:cNvPr>
            <p:cNvSpPr/>
            <p:nvPr/>
          </p:nvSpPr>
          <p:spPr>
            <a:xfrm>
              <a:off x="6486430" y="5111379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EB9B94F7-6F58-41CC-A4EB-32FE1F608D42}"/>
                </a:ext>
              </a:extLst>
            </p:cNvPr>
            <p:cNvSpPr/>
            <p:nvPr/>
          </p:nvSpPr>
          <p:spPr>
            <a:xfrm>
              <a:off x="6454036" y="5203951"/>
              <a:ext cx="44386" cy="59182"/>
            </a:xfrm>
            <a:custGeom>
              <a:avLst/>
              <a:gdLst>
                <a:gd name="connsiteX0" fmla="*/ 1058 w 44386"/>
                <a:gd name="connsiteY0" fmla="*/ 58620 h 59181"/>
                <a:gd name="connsiteX1" fmla="*/ 45476 w 44386"/>
                <a:gd name="connsiteY1" fmla="*/ 58620 h 59181"/>
                <a:gd name="connsiteX2" fmla="*/ 45476 w 44386"/>
                <a:gd name="connsiteY2" fmla="*/ 1058 h 59181"/>
                <a:gd name="connsiteX3" fmla="*/ 1058 w 44386"/>
                <a:gd name="connsiteY3" fmla="*/ 1058 h 59181"/>
                <a:gd name="connsiteX4" fmla="*/ 1058 w 44386"/>
                <a:gd name="connsiteY4" fmla="*/ 58620 h 59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86" h="59181">
                  <a:moveTo>
                    <a:pt x="1058" y="58620"/>
                  </a:moveTo>
                  <a:lnTo>
                    <a:pt x="45476" y="58620"/>
                  </a:lnTo>
                  <a:lnTo>
                    <a:pt x="45476" y="1058"/>
                  </a:lnTo>
                  <a:lnTo>
                    <a:pt x="1058" y="1058"/>
                  </a:lnTo>
                  <a:lnTo>
                    <a:pt x="1058" y="58620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EDBC7A8-5A9D-47F4-AF90-A5E3B31BA5F0}"/>
                </a:ext>
              </a:extLst>
            </p:cNvPr>
            <p:cNvSpPr/>
            <p:nvPr/>
          </p:nvSpPr>
          <p:spPr>
            <a:xfrm>
              <a:off x="6570593" y="4906425"/>
              <a:ext cx="177546" cy="355089"/>
            </a:xfrm>
            <a:custGeom>
              <a:avLst/>
              <a:gdLst>
                <a:gd name="connsiteX0" fmla="*/ 1058 w 177545"/>
                <a:gd name="connsiteY0" fmla="*/ 356147 h 355089"/>
                <a:gd name="connsiteX1" fmla="*/ 178604 w 177545"/>
                <a:gd name="connsiteY1" fmla="*/ 356147 h 355089"/>
                <a:gd name="connsiteX2" fmla="*/ 178604 w 177545"/>
                <a:gd name="connsiteY2" fmla="*/ 1058 h 355089"/>
                <a:gd name="connsiteX3" fmla="*/ 1058 w 177545"/>
                <a:gd name="connsiteY3" fmla="*/ 1058 h 355089"/>
                <a:gd name="connsiteX4" fmla="*/ 1058 w 177545"/>
                <a:gd name="connsiteY4" fmla="*/ 356147 h 3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545" h="355089">
                  <a:moveTo>
                    <a:pt x="1058" y="356147"/>
                  </a:moveTo>
                  <a:lnTo>
                    <a:pt x="178604" y="356147"/>
                  </a:lnTo>
                  <a:lnTo>
                    <a:pt x="178604" y="1058"/>
                  </a:lnTo>
                  <a:lnTo>
                    <a:pt x="1058" y="1058"/>
                  </a:lnTo>
                  <a:lnTo>
                    <a:pt x="1058" y="356147"/>
                  </a:lnTo>
                  <a:close/>
                </a:path>
              </a:pathLst>
            </a:custGeom>
            <a:solidFill>
              <a:srgbClr val="50E6FF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DFB3BA4-F3C2-40F8-9C9B-69A604E285C7}"/>
                </a:ext>
              </a:extLst>
            </p:cNvPr>
            <p:cNvSpPr/>
            <p:nvPr/>
          </p:nvSpPr>
          <p:spPr>
            <a:xfrm>
              <a:off x="6617190" y="4943616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8CFF4994-652C-4111-B5B5-ED79E767F856}"/>
                </a:ext>
              </a:extLst>
            </p:cNvPr>
            <p:cNvSpPr/>
            <p:nvPr/>
          </p:nvSpPr>
          <p:spPr>
            <a:xfrm>
              <a:off x="6673446" y="4943616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42B6A6F8-A5C1-42BE-B004-735BA4ED5FB1}"/>
                </a:ext>
              </a:extLst>
            </p:cNvPr>
            <p:cNvSpPr/>
            <p:nvPr/>
          </p:nvSpPr>
          <p:spPr>
            <a:xfrm>
              <a:off x="6617190" y="4999373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F641B2E1-A4DD-40C7-8234-E82F3A4A2B17}"/>
                </a:ext>
              </a:extLst>
            </p:cNvPr>
            <p:cNvSpPr/>
            <p:nvPr/>
          </p:nvSpPr>
          <p:spPr>
            <a:xfrm>
              <a:off x="6673446" y="4999373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ED5DADDD-D7C6-4980-BFCF-39180E081434}"/>
                </a:ext>
              </a:extLst>
            </p:cNvPr>
            <p:cNvSpPr/>
            <p:nvPr/>
          </p:nvSpPr>
          <p:spPr>
            <a:xfrm>
              <a:off x="6617190" y="5055318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1B39DC7-1BFF-4172-9662-0F9721DC345A}"/>
                </a:ext>
              </a:extLst>
            </p:cNvPr>
            <p:cNvSpPr/>
            <p:nvPr/>
          </p:nvSpPr>
          <p:spPr>
            <a:xfrm>
              <a:off x="6673446" y="5055318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AD8E7CDE-1E85-4A04-8ECF-D4E04E52705F}"/>
                </a:ext>
              </a:extLst>
            </p:cNvPr>
            <p:cNvSpPr/>
            <p:nvPr/>
          </p:nvSpPr>
          <p:spPr>
            <a:xfrm>
              <a:off x="6617190" y="5111379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A93E0CDC-C016-4A20-A248-918CA4D115CB}"/>
                </a:ext>
              </a:extLst>
            </p:cNvPr>
            <p:cNvSpPr/>
            <p:nvPr/>
          </p:nvSpPr>
          <p:spPr>
            <a:xfrm>
              <a:off x="6673446" y="5111379"/>
              <a:ext cx="36989" cy="36988"/>
            </a:xfrm>
            <a:custGeom>
              <a:avLst/>
              <a:gdLst>
                <a:gd name="connsiteX0" fmla="*/ 1058 w 36988"/>
                <a:gd name="connsiteY0" fmla="*/ 38249 h 36988"/>
                <a:gd name="connsiteX1" fmla="*/ 38374 w 36988"/>
                <a:gd name="connsiteY1" fmla="*/ 38249 h 36988"/>
                <a:gd name="connsiteX2" fmla="*/ 38374 w 36988"/>
                <a:gd name="connsiteY2" fmla="*/ 1058 h 36988"/>
                <a:gd name="connsiteX3" fmla="*/ 1058 w 36988"/>
                <a:gd name="connsiteY3" fmla="*/ 1058 h 36988"/>
                <a:gd name="connsiteX4" fmla="*/ 1058 w 36988"/>
                <a:gd name="connsiteY4" fmla="*/ 38249 h 3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88" h="36988">
                  <a:moveTo>
                    <a:pt x="1058" y="38249"/>
                  </a:moveTo>
                  <a:lnTo>
                    <a:pt x="38374" y="38249"/>
                  </a:lnTo>
                  <a:lnTo>
                    <a:pt x="38374" y="1058"/>
                  </a:lnTo>
                  <a:lnTo>
                    <a:pt x="1058" y="1058"/>
                  </a:lnTo>
                  <a:lnTo>
                    <a:pt x="1058" y="38249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B3BC2B6-812F-48F0-B287-38CE3C1A8415}"/>
                </a:ext>
              </a:extLst>
            </p:cNvPr>
            <p:cNvSpPr/>
            <p:nvPr/>
          </p:nvSpPr>
          <p:spPr>
            <a:xfrm>
              <a:off x="6641985" y="5203951"/>
              <a:ext cx="44386" cy="59182"/>
            </a:xfrm>
            <a:custGeom>
              <a:avLst/>
              <a:gdLst>
                <a:gd name="connsiteX0" fmla="*/ 1058 w 44386"/>
                <a:gd name="connsiteY0" fmla="*/ 58620 h 59181"/>
                <a:gd name="connsiteX1" fmla="*/ 45476 w 44386"/>
                <a:gd name="connsiteY1" fmla="*/ 58620 h 59181"/>
                <a:gd name="connsiteX2" fmla="*/ 45476 w 44386"/>
                <a:gd name="connsiteY2" fmla="*/ 1058 h 59181"/>
                <a:gd name="connsiteX3" fmla="*/ 1058 w 44386"/>
                <a:gd name="connsiteY3" fmla="*/ 1058 h 59181"/>
                <a:gd name="connsiteX4" fmla="*/ 1058 w 44386"/>
                <a:gd name="connsiteY4" fmla="*/ 58620 h 59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86" h="59181">
                  <a:moveTo>
                    <a:pt x="1058" y="58620"/>
                  </a:moveTo>
                  <a:lnTo>
                    <a:pt x="45476" y="58620"/>
                  </a:lnTo>
                  <a:lnTo>
                    <a:pt x="45476" y="1058"/>
                  </a:lnTo>
                  <a:lnTo>
                    <a:pt x="1058" y="1058"/>
                  </a:lnTo>
                  <a:lnTo>
                    <a:pt x="1058" y="58620"/>
                  </a:lnTo>
                  <a:close/>
                </a:path>
              </a:pathLst>
            </a:custGeom>
            <a:solidFill>
              <a:srgbClr val="0078D4"/>
            </a:solidFill>
            <a:ln w="36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0" name="Graphic 132" descr="bank, financial services">
            <a:extLst>
              <a:ext uri="{FF2B5EF4-FFF2-40B4-BE49-F238E27FC236}">
                <a16:creationId xmlns:a16="http://schemas.microsoft.com/office/drawing/2014/main" id="{DF34F74D-F283-4655-A5C3-B89FBC74A63E}"/>
              </a:ext>
            </a:extLst>
          </p:cNvPr>
          <p:cNvGrpSpPr/>
          <p:nvPr/>
        </p:nvGrpSpPr>
        <p:grpSpPr>
          <a:xfrm>
            <a:off x="6928602" y="3847691"/>
            <a:ext cx="342674" cy="342672"/>
            <a:chOff x="716506" y="5757339"/>
            <a:chExt cx="342674" cy="342672"/>
          </a:xfrm>
        </p:grpSpPr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5B610FC-A584-43F0-81AE-4FC4790001D6}"/>
                </a:ext>
              </a:extLst>
            </p:cNvPr>
            <p:cNvSpPr/>
            <p:nvPr/>
          </p:nvSpPr>
          <p:spPr>
            <a:xfrm>
              <a:off x="739451" y="5834972"/>
              <a:ext cx="296749" cy="264953"/>
            </a:xfrm>
            <a:custGeom>
              <a:avLst/>
              <a:gdLst>
                <a:gd name="connsiteX0" fmla="*/ 956 w 296748"/>
                <a:gd name="connsiteY0" fmla="*/ 265008 h 264952"/>
                <a:gd name="connsiteX1" fmla="*/ 296774 w 296748"/>
                <a:gd name="connsiteY1" fmla="*/ 265008 h 264952"/>
                <a:gd name="connsiteX2" fmla="*/ 296774 w 296748"/>
                <a:gd name="connsiteY2" fmla="*/ 956 h 264952"/>
                <a:gd name="connsiteX3" fmla="*/ 956 w 296748"/>
                <a:gd name="connsiteY3" fmla="*/ 956 h 264952"/>
                <a:gd name="connsiteX4" fmla="*/ 956 w 296748"/>
                <a:gd name="connsiteY4" fmla="*/ 265008 h 26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748" h="264952">
                  <a:moveTo>
                    <a:pt x="956" y="265008"/>
                  </a:moveTo>
                  <a:lnTo>
                    <a:pt x="296774" y="265008"/>
                  </a:lnTo>
                  <a:lnTo>
                    <a:pt x="296774" y="956"/>
                  </a:lnTo>
                  <a:lnTo>
                    <a:pt x="956" y="956"/>
                  </a:lnTo>
                  <a:lnTo>
                    <a:pt x="956" y="265008"/>
                  </a:lnTo>
                  <a:close/>
                </a:path>
              </a:pathLst>
            </a:custGeom>
            <a:solidFill>
              <a:srgbClr val="0078D4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C21CE62B-5DDA-444E-9B47-8D3A2548D48F}"/>
                </a:ext>
              </a:extLst>
            </p:cNvPr>
            <p:cNvSpPr/>
            <p:nvPr/>
          </p:nvSpPr>
          <p:spPr>
            <a:xfrm>
              <a:off x="717492" y="6062914"/>
              <a:ext cx="339141" cy="35327"/>
            </a:xfrm>
            <a:custGeom>
              <a:avLst/>
              <a:gdLst>
                <a:gd name="connsiteX0" fmla="*/ 956 w 339141"/>
                <a:gd name="connsiteY0" fmla="*/ 37072 h 35327"/>
                <a:gd name="connsiteX1" fmla="*/ 339799 w 339141"/>
                <a:gd name="connsiteY1" fmla="*/ 37072 h 35327"/>
                <a:gd name="connsiteX2" fmla="*/ 339799 w 339141"/>
                <a:gd name="connsiteY2" fmla="*/ 956 h 35327"/>
                <a:gd name="connsiteX3" fmla="*/ 956 w 339141"/>
                <a:gd name="connsiteY3" fmla="*/ 956 h 35327"/>
                <a:gd name="connsiteX4" fmla="*/ 956 w 339141"/>
                <a:gd name="connsiteY4" fmla="*/ 37072 h 3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141" h="35327">
                  <a:moveTo>
                    <a:pt x="956" y="37072"/>
                  </a:moveTo>
                  <a:lnTo>
                    <a:pt x="339799" y="37072"/>
                  </a:lnTo>
                  <a:lnTo>
                    <a:pt x="339799" y="956"/>
                  </a:lnTo>
                  <a:lnTo>
                    <a:pt x="956" y="956"/>
                  </a:lnTo>
                  <a:lnTo>
                    <a:pt x="956" y="37072"/>
                  </a:lnTo>
                  <a:close/>
                </a:path>
              </a:pathLst>
            </a:custGeom>
            <a:solidFill>
              <a:srgbClr val="0078D4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DC0918BF-7C64-4365-B292-555188513CE9}"/>
                </a:ext>
              </a:extLst>
            </p:cNvPr>
            <p:cNvSpPr/>
            <p:nvPr/>
          </p:nvSpPr>
          <p:spPr>
            <a:xfrm>
              <a:off x="761410" y="5884361"/>
              <a:ext cx="35327" cy="162504"/>
            </a:xfrm>
            <a:custGeom>
              <a:avLst/>
              <a:gdLst>
                <a:gd name="connsiteX0" fmla="*/ 956 w 35327"/>
                <a:gd name="connsiteY0" fmla="*/ 161601 h 162504"/>
                <a:gd name="connsiteX1" fmla="*/ 36543 w 35327"/>
                <a:gd name="connsiteY1" fmla="*/ 161601 h 162504"/>
                <a:gd name="connsiteX2" fmla="*/ 36543 w 35327"/>
                <a:gd name="connsiteY2" fmla="*/ 956 h 162504"/>
                <a:gd name="connsiteX3" fmla="*/ 956 w 35327"/>
                <a:gd name="connsiteY3" fmla="*/ 956 h 162504"/>
                <a:gd name="connsiteX4" fmla="*/ 956 w 35327"/>
                <a:gd name="connsiteY4" fmla="*/ 161601 h 16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7" h="162504">
                  <a:moveTo>
                    <a:pt x="956" y="161601"/>
                  </a:moveTo>
                  <a:lnTo>
                    <a:pt x="36543" y="161601"/>
                  </a:lnTo>
                  <a:lnTo>
                    <a:pt x="36543" y="956"/>
                  </a:lnTo>
                  <a:lnTo>
                    <a:pt x="956" y="956"/>
                  </a:lnTo>
                  <a:lnTo>
                    <a:pt x="956" y="161601"/>
                  </a:lnTo>
                  <a:close/>
                </a:path>
              </a:pathLst>
            </a:custGeom>
            <a:solidFill>
              <a:srgbClr val="50E6FF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BAFAF44-D0A8-4250-9435-509F1A97125F}"/>
                </a:ext>
              </a:extLst>
            </p:cNvPr>
            <p:cNvSpPr/>
            <p:nvPr/>
          </p:nvSpPr>
          <p:spPr>
            <a:xfrm>
              <a:off x="814966" y="5884361"/>
              <a:ext cx="35327" cy="162504"/>
            </a:xfrm>
            <a:custGeom>
              <a:avLst/>
              <a:gdLst>
                <a:gd name="connsiteX0" fmla="*/ 956 w 35327"/>
                <a:gd name="connsiteY0" fmla="*/ 161601 h 162504"/>
                <a:gd name="connsiteX1" fmla="*/ 36542 w 35327"/>
                <a:gd name="connsiteY1" fmla="*/ 161601 h 162504"/>
                <a:gd name="connsiteX2" fmla="*/ 36542 w 35327"/>
                <a:gd name="connsiteY2" fmla="*/ 956 h 162504"/>
                <a:gd name="connsiteX3" fmla="*/ 956 w 35327"/>
                <a:gd name="connsiteY3" fmla="*/ 956 h 162504"/>
                <a:gd name="connsiteX4" fmla="*/ 956 w 35327"/>
                <a:gd name="connsiteY4" fmla="*/ 161601 h 16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7" h="162504">
                  <a:moveTo>
                    <a:pt x="956" y="161601"/>
                  </a:moveTo>
                  <a:lnTo>
                    <a:pt x="36542" y="161601"/>
                  </a:lnTo>
                  <a:lnTo>
                    <a:pt x="36542" y="956"/>
                  </a:lnTo>
                  <a:lnTo>
                    <a:pt x="956" y="956"/>
                  </a:lnTo>
                  <a:lnTo>
                    <a:pt x="956" y="161601"/>
                  </a:lnTo>
                  <a:close/>
                </a:path>
              </a:pathLst>
            </a:custGeom>
            <a:solidFill>
              <a:srgbClr val="50E6FF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A247A800-5932-4203-913B-D89CAE62B124}"/>
                </a:ext>
              </a:extLst>
            </p:cNvPr>
            <p:cNvSpPr/>
            <p:nvPr/>
          </p:nvSpPr>
          <p:spPr>
            <a:xfrm>
              <a:off x="868526" y="5884361"/>
              <a:ext cx="35327" cy="162504"/>
            </a:xfrm>
            <a:custGeom>
              <a:avLst/>
              <a:gdLst>
                <a:gd name="connsiteX0" fmla="*/ 956 w 35327"/>
                <a:gd name="connsiteY0" fmla="*/ 161601 h 162504"/>
                <a:gd name="connsiteX1" fmla="*/ 36543 w 35327"/>
                <a:gd name="connsiteY1" fmla="*/ 161601 h 162504"/>
                <a:gd name="connsiteX2" fmla="*/ 36543 w 35327"/>
                <a:gd name="connsiteY2" fmla="*/ 956 h 162504"/>
                <a:gd name="connsiteX3" fmla="*/ 956 w 35327"/>
                <a:gd name="connsiteY3" fmla="*/ 956 h 162504"/>
                <a:gd name="connsiteX4" fmla="*/ 956 w 35327"/>
                <a:gd name="connsiteY4" fmla="*/ 161601 h 16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7" h="162504">
                  <a:moveTo>
                    <a:pt x="956" y="161601"/>
                  </a:moveTo>
                  <a:lnTo>
                    <a:pt x="36543" y="161601"/>
                  </a:lnTo>
                  <a:lnTo>
                    <a:pt x="36543" y="956"/>
                  </a:lnTo>
                  <a:lnTo>
                    <a:pt x="956" y="956"/>
                  </a:lnTo>
                  <a:lnTo>
                    <a:pt x="956" y="161601"/>
                  </a:lnTo>
                  <a:close/>
                </a:path>
              </a:pathLst>
            </a:custGeom>
            <a:solidFill>
              <a:srgbClr val="50E6FF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0318E4E-ACC1-464B-9A0E-1138FCB566EF}"/>
                </a:ext>
              </a:extLst>
            </p:cNvPr>
            <p:cNvSpPr/>
            <p:nvPr/>
          </p:nvSpPr>
          <p:spPr>
            <a:xfrm>
              <a:off x="922680" y="5884361"/>
              <a:ext cx="35327" cy="162504"/>
            </a:xfrm>
            <a:custGeom>
              <a:avLst/>
              <a:gdLst>
                <a:gd name="connsiteX0" fmla="*/ 956 w 35327"/>
                <a:gd name="connsiteY0" fmla="*/ 161601 h 162504"/>
                <a:gd name="connsiteX1" fmla="*/ 36543 w 35327"/>
                <a:gd name="connsiteY1" fmla="*/ 161601 h 162504"/>
                <a:gd name="connsiteX2" fmla="*/ 36543 w 35327"/>
                <a:gd name="connsiteY2" fmla="*/ 956 h 162504"/>
                <a:gd name="connsiteX3" fmla="*/ 956 w 35327"/>
                <a:gd name="connsiteY3" fmla="*/ 956 h 162504"/>
                <a:gd name="connsiteX4" fmla="*/ 956 w 35327"/>
                <a:gd name="connsiteY4" fmla="*/ 161601 h 16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7" h="162504">
                  <a:moveTo>
                    <a:pt x="956" y="161601"/>
                  </a:moveTo>
                  <a:lnTo>
                    <a:pt x="36543" y="161601"/>
                  </a:lnTo>
                  <a:lnTo>
                    <a:pt x="36543" y="956"/>
                  </a:lnTo>
                  <a:lnTo>
                    <a:pt x="956" y="956"/>
                  </a:lnTo>
                  <a:lnTo>
                    <a:pt x="956" y="161601"/>
                  </a:lnTo>
                  <a:close/>
                </a:path>
              </a:pathLst>
            </a:custGeom>
            <a:solidFill>
              <a:srgbClr val="50E6FF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89F063F-D29B-4831-9082-0E8B15C2FDE1}"/>
                </a:ext>
              </a:extLst>
            </p:cNvPr>
            <p:cNvSpPr/>
            <p:nvPr/>
          </p:nvSpPr>
          <p:spPr>
            <a:xfrm>
              <a:off x="976237" y="5884361"/>
              <a:ext cx="35327" cy="162504"/>
            </a:xfrm>
            <a:custGeom>
              <a:avLst/>
              <a:gdLst>
                <a:gd name="connsiteX0" fmla="*/ 956 w 35327"/>
                <a:gd name="connsiteY0" fmla="*/ 161601 h 162504"/>
                <a:gd name="connsiteX1" fmla="*/ 36542 w 35327"/>
                <a:gd name="connsiteY1" fmla="*/ 161601 h 162504"/>
                <a:gd name="connsiteX2" fmla="*/ 36542 w 35327"/>
                <a:gd name="connsiteY2" fmla="*/ 956 h 162504"/>
                <a:gd name="connsiteX3" fmla="*/ 956 w 35327"/>
                <a:gd name="connsiteY3" fmla="*/ 956 h 162504"/>
                <a:gd name="connsiteX4" fmla="*/ 956 w 35327"/>
                <a:gd name="connsiteY4" fmla="*/ 161601 h 16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7" h="162504">
                  <a:moveTo>
                    <a:pt x="956" y="161601"/>
                  </a:moveTo>
                  <a:lnTo>
                    <a:pt x="36542" y="161601"/>
                  </a:lnTo>
                  <a:lnTo>
                    <a:pt x="36542" y="956"/>
                  </a:lnTo>
                  <a:lnTo>
                    <a:pt x="956" y="956"/>
                  </a:lnTo>
                  <a:lnTo>
                    <a:pt x="956" y="161601"/>
                  </a:lnTo>
                  <a:close/>
                </a:path>
              </a:pathLst>
            </a:custGeom>
            <a:solidFill>
              <a:srgbClr val="50E6FF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C2299E7-B885-46F1-93AA-CA7B62CABC53}"/>
                </a:ext>
              </a:extLst>
            </p:cNvPr>
            <p:cNvSpPr/>
            <p:nvPr/>
          </p:nvSpPr>
          <p:spPr>
            <a:xfrm>
              <a:off x="717730" y="5761075"/>
              <a:ext cx="339141" cy="105981"/>
            </a:xfrm>
            <a:custGeom>
              <a:avLst/>
              <a:gdLst>
                <a:gd name="connsiteX0" fmla="*/ 956 w 339141"/>
                <a:gd name="connsiteY0" fmla="*/ 106565 h 105981"/>
                <a:gd name="connsiteX1" fmla="*/ 339621 w 339141"/>
                <a:gd name="connsiteY1" fmla="*/ 106565 h 105981"/>
                <a:gd name="connsiteX2" fmla="*/ 339621 w 339141"/>
                <a:gd name="connsiteY2" fmla="*/ 70093 h 105981"/>
                <a:gd name="connsiteX3" fmla="*/ 165260 w 339141"/>
                <a:gd name="connsiteY3" fmla="*/ 956 h 105981"/>
                <a:gd name="connsiteX4" fmla="*/ 956 w 339141"/>
                <a:gd name="connsiteY4" fmla="*/ 70093 h 105981"/>
                <a:gd name="connsiteX5" fmla="*/ 956 w 339141"/>
                <a:gd name="connsiteY5" fmla="*/ 106565 h 10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141" h="105981">
                  <a:moveTo>
                    <a:pt x="956" y="106565"/>
                  </a:moveTo>
                  <a:lnTo>
                    <a:pt x="339621" y="106565"/>
                  </a:lnTo>
                  <a:lnTo>
                    <a:pt x="339621" y="70093"/>
                  </a:lnTo>
                  <a:lnTo>
                    <a:pt x="165260" y="956"/>
                  </a:lnTo>
                  <a:lnTo>
                    <a:pt x="956" y="70093"/>
                  </a:lnTo>
                  <a:lnTo>
                    <a:pt x="956" y="106565"/>
                  </a:lnTo>
                  <a:close/>
                </a:path>
              </a:pathLst>
            </a:custGeom>
            <a:solidFill>
              <a:srgbClr val="0078D4"/>
            </a:solidFill>
            <a:ln w="34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5" name="Group 60" descr=" bidirectional, junction, split, change course">
            <a:extLst>
              <a:ext uri="{FF2B5EF4-FFF2-40B4-BE49-F238E27FC236}">
                <a16:creationId xmlns:a16="http://schemas.microsoft.com/office/drawing/2014/main" id="{6C2EEB71-0DF4-4FC8-B076-9ADC893F08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036" y="4478224"/>
            <a:ext cx="333375" cy="354012"/>
            <a:chOff x="5796" y="793"/>
            <a:chExt cx="210" cy="223"/>
          </a:xfrm>
        </p:grpSpPr>
        <p:sp>
          <p:nvSpPr>
            <p:cNvPr id="136" name="AutoShape 59">
              <a:extLst>
                <a:ext uri="{FF2B5EF4-FFF2-40B4-BE49-F238E27FC236}">
                  <a16:creationId xmlns:a16="http://schemas.microsoft.com/office/drawing/2014/main" id="{CE4D8D3B-4F0D-4460-B4BF-43D0D069AA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96" y="793"/>
              <a:ext cx="21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61">
              <a:extLst>
                <a:ext uri="{FF2B5EF4-FFF2-40B4-BE49-F238E27FC236}">
                  <a16:creationId xmlns:a16="http://schemas.microsoft.com/office/drawing/2014/main" id="{E3AA1B29-9955-4D9F-8BFE-4E6F6AA14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793"/>
              <a:ext cx="121" cy="113"/>
            </a:xfrm>
            <a:custGeom>
              <a:avLst/>
              <a:gdLst>
                <a:gd name="T0" fmla="*/ 55 w 104"/>
                <a:gd name="T1" fmla="*/ 0 h 97"/>
                <a:gd name="T2" fmla="*/ 0 w 104"/>
                <a:gd name="T3" fmla="*/ 16 h 97"/>
                <a:gd name="T4" fmla="*/ 42 w 104"/>
                <a:gd name="T5" fmla="*/ 55 h 97"/>
                <a:gd name="T6" fmla="*/ 45 w 104"/>
                <a:gd name="T7" fmla="*/ 42 h 97"/>
                <a:gd name="T8" fmla="*/ 75 w 104"/>
                <a:gd name="T9" fmla="*/ 97 h 97"/>
                <a:gd name="T10" fmla="*/ 104 w 104"/>
                <a:gd name="T11" fmla="*/ 97 h 97"/>
                <a:gd name="T12" fmla="*/ 53 w 104"/>
                <a:gd name="T13" fmla="*/ 13 h 97"/>
                <a:gd name="T14" fmla="*/ 55 w 104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7">
                  <a:moveTo>
                    <a:pt x="5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4" y="54"/>
                    <a:pt x="75" y="75"/>
                    <a:pt x="75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61"/>
                    <a:pt x="84" y="29"/>
                    <a:pt x="53" y="13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62">
              <a:extLst>
                <a:ext uri="{FF2B5EF4-FFF2-40B4-BE49-F238E27FC236}">
                  <a16:creationId xmlns:a16="http://schemas.microsoft.com/office/drawing/2014/main" id="{B36C177D-4BC5-4705-93B1-84ED701B8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" y="793"/>
              <a:ext cx="121" cy="223"/>
            </a:xfrm>
            <a:custGeom>
              <a:avLst/>
              <a:gdLst>
                <a:gd name="T0" fmla="*/ 52 w 104"/>
                <a:gd name="T1" fmla="*/ 13 h 192"/>
                <a:gd name="T2" fmla="*/ 0 w 104"/>
                <a:gd name="T3" fmla="*/ 97 h 192"/>
                <a:gd name="T4" fmla="*/ 97 w 104"/>
                <a:gd name="T5" fmla="*/ 192 h 192"/>
                <a:gd name="T6" fmla="*/ 97 w 104"/>
                <a:gd name="T7" fmla="*/ 163 h 192"/>
                <a:gd name="T8" fmla="*/ 29 w 104"/>
                <a:gd name="T9" fmla="*/ 97 h 192"/>
                <a:gd name="T10" fmla="*/ 60 w 104"/>
                <a:gd name="T11" fmla="*/ 42 h 192"/>
                <a:gd name="T12" fmla="*/ 63 w 104"/>
                <a:gd name="T13" fmla="*/ 55 h 192"/>
                <a:gd name="T14" fmla="*/ 104 w 104"/>
                <a:gd name="T15" fmla="*/ 16 h 192"/>
                <a:gd name="T16" fmla="*/ 49 w 104"/>
                <a:gd name="T17" fmla="*/ 0 h 192"/>
                <a:gd name="T18" fmla="*/ 52 w 104"/>
                <a:gd name="T19" fmla="*/ 1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92">
                  <a:moveTo>
                    <a:pt x="52" y="13"/>
                  </a:moveTo>
                  <a:cubicBezTo>
                    <a:pt x="21" y="29"/>
                    <a:pt x="0" y="61"/>
                    <a:pt x="0" y="97"/>
                  </a:cubicBezTo>
                  <a:cubicBezTo>
                    <a:pt x="0" y="149"/>
                    <a:pt x="43" y="192"/>
                    <a:pt x="97" y="192"/>
                  </a:cubicBezTo>
                  <a:cubicBezTo>
                    <a:pt x="97" y="163"/>
                    <a:pt x="97" y="163"/>
                    <a:pt x="97" y="163"/>
                  </a:cubicBezTo>
                  <a:cubicBezTo>
                    <a:pt x="60" y="163"/>
                    <a:pt x="29" y="133"/>
                    <a:pt x="29" y="97"/>
                  </a:cubicBezTo>
                  <a:cubicBezTo>
                    <a:pt x="29" y="75"/>
                    <a:pt x="41" y="54"/>
                    <a:pt x="60" y="42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2" y="1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9" name="Group 138" descr="gears, process, precision, productivity, mechanical">
            <a:extLst>
              <a:ext uri="{FF2B5EF4-FFF2-40B4-BE49-F238E27FC236}">
                <a16:creationId xmlns:a16="http://schemas.microsoft.com/office/drawing/2014/main" id="{3FEA5A31-3F50-412F-816F-959D7CF2A327}"/>
              </a:ext>
            </a:extLst>
          </p:cNvPr>
          <p:cNvGrpSpPr/>
          <p:nvPr/>
        </p:nvGrpSpPr>
        <p:grpSpPr>
          <a:xfrm>
            <a:off x="481761" y="5510442"/>
            <a:ext cx="377924" cy="408154"/>
            <a:chOff x="696496" y="5670715"/>
            <a:chExt cx="377924" cy="408154"/>
          </a:xfrm>
        </p:grpSpPr>
        <p:sp>
          <p:nvSpPr>
            <p:cNvPr id="140" name="Freeform 92">
              <a:extLst>
                <a:ext uri="{FF2B5EF4-FFF2-40B4-BE49-F238E27FC236}">
                  <a16:creationId xmlns:a16="http://schemas.microsoft.com/office/drawing/2014/main" id="{D168D46F-40AE-42C7-B9BE-211C01133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59" y="5869123"/>
              <a:ext cx="243761" cy="209746"/>
            </a:xfrm>
            <a:custGeom>
              <a:avLst/>
              <a:gdLst>
                <a:gd name="T0" fmla="*/ 112 w 122"/>
                <a:gd name="T1" fmla="*/ 43 h 105"/>
                <a:gd name="T2" fmla="*/ 111 w 122"/>
                <a:gd name="T3" fmla="*/ 32 h 105"/>
                <a:gd name="T4" fmla="*/ 108 w 122"/>
                <a:gd name="T5" fmla="*/ 22 h 105"/>
                <a:gd name="T6" fmla="*/ 117 w 122"/>
                <a:gd name="T7" fmla="*/ 15 h 105"/>
                <a:gd name="T8" fmla="*/ 107 w 122"/>
                <a:gd name="T9" fmla="*/ 0 h 105"/>
                <a:gd name="T10" fmla="*/ 100 w 122"/>
                <a:gd name="T11" fmla="*/ 3 h 105"/>
                <a:gd name="T12" fmla="*/ 100 w 122"/>
                <a:gd name="T13" fmla="*/ 4 h 105"/>
                <a:gd name="T14" fmla="*/ 92 w 122"/>
                <a:gd name="T15" fmla="*/ 24 h 105"/>
                <a:gd name="T16" fmla="*/ 87 w 122"/>
                <a:gd name="T17" fmla="*/ 35 h 105"/>
                <a:gd name="T18" fmla="*/ 76 w 122"/>
                <a:gd name="T19" fmla="*/ 32 h 105"/>
                <a:gd name="T20" fmla="*/ 62 w 122"/>
                <a:gd name="T21" fmla="*/ 28 h 105"/>
                <a:gd name="T22" fmla="*/ 60 w 122"/>
                <a:gd name="T23" fmla="*/ 30 h 105"/>
                <a:gd name="T24" fmla="*/ 64 w 122"/>
                <a:gd name="T25" fmla="*/ 44 h 105"/>
                <a:gd name="T26" fmla="*/ 66 w 122"/>
                <a:gd name="T27" fmla="*/ 55 h 105"/>
                <a:gd name="T28" fmla="*/ 56 w 122"/>
                <a:gd name="T29" fmla="*/ 60 h 105"/>
                <a:gd name="T30" fmla="*/ 36 w 122"/>
                <a:gd name="T31" fmla="*/ 68 h 105"/>
                <a:gd name="T32" fmla="*/ 25 w 122"/>
                <a:gd name="T33" fmla="*/ 73 h 105"/>
                <a:gd name="T34" fmla="*/ 19 w 122"/>
                <a:gd name="T35" fmla="*/ 63 h 105"/>
                <a:gd name="T36" fmla="*/ 12 w 122"/>
                <a:gd name="T37" fmla="*/ 50 h 105"/>
                <a:gd name="T38" fmla="*/ 10 w 122"/>
                <a:gd name="T39" fmla="*/ 50 h 105"/>
                <a:gd name="T40" fmla="*/ 9 w 122"/>
                <a:gd name="T41" fmla="*/ 50 h 105"/>
                <a:gd name="T42" fmla="*/ 7 w 122"/>
                <a:gd name="T43" fmla="*/ 55 h 105"/>
                <a:gd name="T44" fmla="*/ 8 w 122"/>
                <a:gd name="T45" fmla="*/ 61 h 105"/>
                <a:gd name="T46" fmla="*/ 0 w 122"/>
                <a:gd name="T47" fmla="*/ 68 h 105"/>
                <a:gd name="T48" fmla="*/ 9 w 122"/>
                <a:gd name="T49" fmla="*/ 83 h 105"/>
                <a:gd name="T50" fmla="*/ 20 w 122"/>
                <a:gd name="T51" fmla="*/ 78 h 105"/>
                <a:gd name="T52" fmla="*/ 37 w 122"/>
                <a:gd name="T53" fmla="*/ 90 h 105"/>
                <a:gd name="T54" fmla="*/ 36 w 122"/>
                <a:gd name="T55" fmla="*/ 101 h 105"/>
                <a:gd name="T56" fmla="*/ 53 w 122"/>
                <a:gd name="T57" fmla="*/ 105 h 105"/>
                <a:gd name="T58" fmla="*/ 57 w 122"/>
                <a:gd name="T59" fmla="*/ 95 h 105"/>
                <a:gd name="T60" fmla="*/ 68 w 122"/>
                <a:gd name="T61" fmla="*/ 94 h 105"/>
                <a:gd name="T62" fmla="*/ 78 w 122"/>
                <a:gd name="T63" fmla="*/ 92 h 105"/>
                <a:gd name="T64" fmla="*/ 85 w 122"/>
                <a:gd name="T65" fmla="*/ 100 h 105"/>
                <a:gd name="T66" fmla="*/ 100 w 122"/>
                <a:gd name="T67" fmla="*/ 91 h 105"/>
                <a:gd name="T68" fmla="*/ 95 w 122"/>
                <a:gd name="T69" fmla="*/ 80 h 105"/>
                <a:gd name="T70" fmla="*/ 107 w 122"/>
                <a:gd name="T71" fmla="*/ 63 h 105"/>
                <a:gd name="T72" fmla="*/ 118 w 122"/>
                <a:gd name="T73" fmla="*/ 64 h 105"/>
                <a:gd name="T74" fmla="*/ 122 w 122"/>
                <a:gd name="T75" fmla="*/ 47 h 105"/>
                <a:gd name="T76" fmla="*/ 112 w 122"/>
                <a:gd name="T77" fmla="*/ 4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" h="105">
                  <a:moveTo>
                    <a:pt x="112" y="43"/>
                  </a:moveTo>
                  <a:cubicBezTo>
                    <a:pt x="112" y="40"/>
                    <a:pt x="112" y="36"/>
                    <a:pt x="111" y="32"/>
                  </a:cubicBezTo>
                  <a:cubicBezTo>
                    <a:pt x="111" y="29"/>
                    <a:pt x="110" y="26"/>
                    <a:pt x="108" y="22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1" y="29"/>
                    <a:pt x="61" y="29"/>
                    <a:pt x="60" y="30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8" y="59"/>
                    <a:pt x="8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4" y="83"/>
                    <a:pt x="30" y="88"/>
                    <a:pt x="37" y="9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60" y="95"/>
                    <a:pt x="64" y="95"/>
                    <a:pt x="68" y="94"/>
                  </a:cubicBezTo>
                  <a:cubicBezTo>
                    <a:pt x="71" y="94"/>
                    <a:pt x="74" y="93"/>
                    <a:pt x="78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100" y="76"/>
                    <a:pt x="104" y="70"/>
                    <a:pt x="107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112" y="43"/>
                  </a:ln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41" name="Freeform 93">
              <a:extLst>
                <a:ext uri="{FF2B5EF4-FFF2-40B4-BE49-F238E27FC236}">
                  <a16:creationId xmlns:a16="http://schemas.microsoft.com/office/drawing/2014/main" id="{955C138A-3567-44C2-BA2A-E43F2A47F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96" y="5670715"/>
              <a:ext cx="309897" cy="309894"/>
            </a:xfrm>
            <a:custGeom>
              <a:avLst/>
              <a:gdLst>
                <a:gd name="T0" fmla="*/ 57 w 155"/>
                <a:gd name="T1" fmla="*/ 0 h 155"/>
                <a:gd name="T2" fmla="*/ 70 w 155"/>
                <a:gd name="T3" fmla="*/ 20 h 155"/>
                <a:gd name="T4" fmla="*/ 77 w 155"/>
                <a:gd name="T5" fmla="*/ 20 h 155"/>
                <a:gd name="T6" fmla="*/ 85 w 155"/>
                <a:gd name="T7" fmla="*/ 20 h 155"/>
                <a:gd name="T8" fmla="*/ 98 w 155"/>
                <a:gd name="T9" fmla="*/ 0 h 155"/>
                <a:gd name="T10" fmla="*/ 118 w 155"/>
                <a:gd name="T11" fmla="*/ 8 h 155"/>
                <a:gd name="T12" fmla="*/ 112 w 155"/>
                <a:gd name="T13" fmla="*/ 32 h 155"/>
                <a:gd name="T14" fmla="*/ 123 w 155"/>
                <a:gd name="T15" fmla="*/ 43 h 155"/>
                <a:gd name="T16" fmla="*/ 147 w 155"/>
                <a:gd name="T17" fmla="*/ 37 h 155"/>
                <a:gd name="T18" fmla="*/ 155 w 155"/>
                <a:gd name="T19" fmla="*/ 57 h 155"/>
                <a:gd name="T20" fmla="*/ 135 w 155"/>
                <a:gd name="T21" fmla="*/ 69 h 155"/>
                <a:gd name="T22" fmla="*/ 135 w 155"/>
                <a:gd name="T23" fmla="*/ 85 h 155"/>
                <a:gd name="T24" fmla="*/ 155 w 155"/>
                <a:gd name="T25" fmla="*/ 98 h 155"/>
                <a:gd name="T26" fmla="*/ 146 w 155"/>
                <a:gd name="T27" fmla="*/ 118 h 155"/>
                <a:gd name="T28" fmla="*/ 124 w 155"/>
                <a:gd name="T29" fmla="*/ 112 h 155"/>
                <a:gd name="T30" fmla="*/ 112 w 155"/>
                <a:gd name="T31" fmla="*/ 124 h 155"/>
                <a:gd name="T32" fmla="*/ 118 w 155"/>
                <a:gd name="T33" fmla="*/ 146 h 155"/>
                <a:gd name="T34" fmla="*/ 98 w 155"/>
                <a:gd name="T35" fmla="*/ 155 h 155"/>
                <a:gd name="T36" fmla="*/ 86 w 155"/>
                <a:gd name="T37" fmla="*/ 135 h 155"/>
                <a:gd name="T38" fmla="*/ 77 w 155"/>
                <a:gd name="T39" fmla="*/ 136 h 155"/>
                <a:gd name="T40" fmla="*/ 69 w 155"/>
                <a:gd name="T41" fmla="*/ 135 h 155"/>
                <a:gd name="T42" fmla="*/ 57 w 155"/>
                <a:gd name="T43" fmla="*/ 155 h 155"/>
                <a:gd name="T44" fmla="*/ 37 w 155"/>
                <a:gd name="T45" fmla="*/ 146 h 155"/>
                <a:gd name="T46" fmla="*/ 42 w 155"/>
                <a:gd name="T47" fmla="*/ 124 h 155"/>
                <a:gd name="T48" fmla="*/ 30 w 155"/>
                <a:gd name="T49" fmla="*/ 112 h 155"/>
                <a:gd name="T50" fmla="*/ 8 w 155"/>
                <a:gd name="T51" fmla="*/ 117 h 155"/>
                <a:gd name="T52" fmla="*/ 0 w 155"/>
                <a:gd name="T53" fmla="*/ 97 h 155"/>
                <a:gd name="T54" fmla="*/ 20 w 155"/>
                <a:gd name="T55" fmla="*/ 86 h 155"/>
                <a:gd name="T56" fmla="*/ 20 w 155"/>
                <a:gd name="T57" fmla="*/ 69 h 155"/>
                <a:gd name="T58" fmla="*/ 0 w 155"/>
                <a:gd name="T59" fmla="*/ 57 h 155"/>
                <a:gd name="T60" fmla="*/ 9 w 155"/>
                <a:gd name="T61" fmla="*/ 37 h 155"/>
                <a:gd name="T62" fmla="*/ 31 w 155"/>
                <a:gd name="T63" fmla="*/ 42 h 155"/>
                <a:gd name="T64" fmla="*/ 43 w 155"/>
                <a:gd name="T65" fmla="*/ 31 h 155"/>
                <a:gd name="T66" fmla="*/ 37 w 155"/>
                <a:gd name="T67" fmla="*/ 8 h 155"/>
                <a:gd name="T68" fmla="*/ 57 w 155"/>
                <a:gd name="T6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57" y="0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72" y="20"/>
                    <a:pt x="75" y="20"/>
                    <a:pt x="77" y="20"/>
                  </a:cubicBezTo>
                  <a:cubicBezTo>
                    <a:pt x="80" y="20"/>
                    <a:pt x="83" y="20"/>
                    <a:pt x="85" y="2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7" y="35"/>
                    <a:pt x="120" y="39"/>
                    <a:pt x="123" y="43"/>
                  </a:cubicBezTo>
                  <a:cubicBezTo>
                    <a:pt x="147" y="37"/>
                    <a:pt x="147" y="37"/>
                    <a:pt x="147" y="37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35" y="69"/>
                    <a:pt x="135" y="69"/>
                    <a:pt x="135" y="69"/>
                  </a:cubicBezTo>
                  <a:cubicBezTo>
                    <a:pt x="135" y="75"/>
                    <a:pt x="135" y="80"/>
                    <a:pt x="135" y="8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1" y="117"/>
                    <a:pt x="117" y="121"/>
                    <a:pt x="112" y="124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3" y="136"/>
                    <a:pt x="80" y="136"/>
                    <a:pt x="77" y="136"/>
                  </a:cubicBezTo>
                  <a:cubicBezTo>
                    <a:pt x="74" y="136"/>
                    <a:pt x="72" y="136"/>
                    <a:pt x="69" y="13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38" y="121"/>
                    <a:pt x="34" y="117"/>
                    <a:pt x="30" y="11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0"/>
                    <a:pt x="19" y="75"/>
                    <a:pt x="20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8"/>
                    <a:pt x="38" y="34"/>
                    <a:pt x="43" y="31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142" name="Group 168" descr="strong consistency">
            <a:extLst>
              <a:ext uri="{FF2B5EF4-FFF2-40B4-BE49-F238E27FC236}">
                <a16:creationId xmlns:a16="http://schemas.microsoft.com/office/drawing/2014/main" id="{ED8B27E9-8F34-409A-A4E9-1BD9B9AD1C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5910" y="3270988"/>
            <a:ext cx="429626" cy="428308"/>
            <a:chOff x="3360" y="3030"/>
            <a:chExt cx="326" cy="325"/>
          </a:xfrm>
        </p:grpSpPr>
        <p:sp>
          <p:nvSpPr>
            <p:cNvPr id="143" name="AutoShape 167">
              <a:extLst>
                <a:ext uri="{FF2B5EF4-FFF2-40B4-BE49-F238E27FC236}">
                  <a16:creationId xmlns:a16="http://schemas.microsoft.com/office/drawing/2014/main" id="{53DF7430-8A23-4766-924D-5E91337E318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60" y="3030"/>
              <a:ext cx="326" cy="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69">
              <a:extLst>
                <a:ext uri="{FF2B5EF4-FFF2-40B4-BE49-F238E27FC236}">
                  <a16:creationId xmlns:a16="http://schemas.microsoft.com/office/drawing/2014/main" id="{B186BE1B-F5BA-4A70-85A7-9E790AA03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" y="3082"/>
              <a:ext cx="100" cy="261"/>
            </a:xfrm>
            <a:custGeom>
              <a:avLst/>
              <a:gdLst>
                <a:gd name="T0" fmla="*/ 58 w 58"/>
                <a:gd name="T1" fmla="*/ 67 h 152"/>
                <a:gd name="T2" fmla="*/ 30 w 58"/>
                <a:gd name="T3" fmla="*/ 0 h 152"/>
                <a:gd name="T4" fmla="*/ 23 w 58"/>
                <a:gd name="T5" fmla="*/ 7 h 152"/>
                <a:gd name="T6" fmla="*/ 24 w 58"/>
                <a:gd name="T7" fmla="*/ 8 h 152"/>
                <a:gd name="T8" fmla="*/ 42 w 58"/>
                <a:gd name="T9" fmla="*/ 34 h 152"/>
                <a:gd name="T10" fmla="*/ 48 w 58"/>
                <a:gd name="T11" fmla="*/ 67 h 152"/>
                <a:gd name="T12" fmla="*/ 42 w 58"/>
                <a:gd name="T13" fmla="*/ 99 h 152"/>
                <a:gd name="T14" fmla="*/ 24 w 58"/>
                <a:gd name="T15" fmla="*/ 125 h 152"/>
                <a:gd name="T16" fmla="*/ 10 w 58"/>
                <a:gd name="T17" fmla="*/ 136 h 152"/>
                <a:gd name="T18" fmla="*/ 3 w 58"/>
                <a:gd name="T19" fmla="*/ 128 h 152"/>
                <a:gd name="T20" fmla="*/ 0 w 58"/>
                <a:gd name="T21" fmla="*/ 149 h 152"/>
                <a:gd name="T22" fmla="*/ 22 w 58"/>
                <a:gd name="T23" fmla="*/ 152 h 152"/>
                <a:gd name="T24" fmla="*/ 16 w 58"/>
                <a:gd name="T25" fmla="*/ 144 h 152"/>
                <a:gd name="T26" fmla="*/ 58 w 58"/>
                <a:gd name="T27" fmla="*/ 6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152">
                  <a:moveTo>
                    <a:pt x="58" y="67"/>
                  </a:moveTo>
                  <a:cubicBezTo>
                    <a:pt x="58" y="40"/>
                    <a:pt x="48" y="17"/>
                    <a:pt x="30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4" y="8"/>
                    <a:pt x="24" y="8"/>
                  </a:cubicBezTo>
                  <a:cubicBezTo>
                    <a:pt x="32" y="16"/>
                    <a:pt x="38" y="24"/>
                    <a:pt x="42" y="34"/>
                  </a:cubicBezTo>
                  <a:cubicBezTo>
                    <a:pt x="46" y="44"/>
                    <a:pt x="48" y="55"/>
                    <a:pt x="48" y="67"/>
                  </a:cubicBezTo>
                  <a:cubicBezTo>
                    <a:pt x="48" y="78"/>
                    <a:pt x="46" y="89"/>
                    <a:pt x="42" y="99"/>
                  </a:cubicBezTo>
                  <a:cubicBezTo>
                    <a:pt x="38" y="109"/>
                    <a:pt x="32" y="117"/>
                    <a:pt x="24" y="125"/>
                  </a:cubicBezTo>
                  <a:cubicBezTo>
                    <a:pt x="20" y="129"/>
                    <a:pt x="15" y="133"/>
                    <a:pt x="10" y="136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2" y="152"/>
                    <a:pt x="22" y="152"/>
                    <a:pt x="22" y="152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42" y="128"/>
                    <a:pt x="58" y="99"/>
                    <a:pt x="58" y="67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70">
              <a:extLst>
                <a:ext uri="{FF2B5EF4-FFF2-40B4-BE49-F238E27FC236}">
                  <a16:creationId xmlns:a16="http://schemas.microsoft.com/office/drawing/2014/main" id="{A2F2C73E-5162-4219-970E-83E2594C1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3228"/>
              <a:ext cx="205" cy="127"/>
            </a:xfrm>
            <a:custGeom>
              <a:avLst/>
              <a:gdLst>
                <a:gd name="T0" fmla="*/ 116 w 119"/>
                <a:gd name="T1" fmla="*/ 62 h 74"/>
                <a:gd name="T2" fmla="*/ 97 w 119"/>
                <a:gd name="T3" fmla="*/ 64 h 74"/>
                <a:gd name="T4" fmla="*/ 96 w 119"/>
                <a:gd name="T5" fmla="*/ 64 h 74"/>
                <a:gd name="T6" fmla="*/ 64 w 119"/>
                <a:gd name="T7" fmla="*/ 58 h 74"/>
                <a:gd name="T8" fmla="*/ 38 w 119"/>
                <a:gd name="T9" fmla="*/ 40 h 74"/>
                <a:gd name="T10" fmla="*/ 21 w 119"/>
                <a:gd name="T11" fmla="*/ 15 h 74"/>
                <a:gd name="T12" fmla="*/ 31 w 119"/>
                <a:gd name="T13" fmla="*/ 13 h 74"/>
                <a:gd name="T14" fmla="*/ 13 w 119"/>
                <a:gd name="T15" fmla="*/ 0 h 74"/>
                <a:gd name="T16" fmla="*/ 0 w 119"/>
                <a:gd name="T17" fmla="*/ 18 h 74"/>
                <a:gd name="T18" fmla="*/ 11 w 119"/>
                <a:gd name="T19" fmla="*/ 16 h 74"/>
                <a:gd name="T20" fmla="*/ 96 w 119"/>
                <a:gd name="T21" fmla="*/ 74 h 74"/>
                <a:gd name="T22" fmla="*/ 97 w 119"/>
                <a:gd name="T23" fmla="*/ 74 h 74"/>
                <a:gd name="T24" fmla="*/ 119 w 119"/>
                <a:gd name="T25" fmla="*/ 71 h 74"/>
                <a:gd name="T26" fmla="*/ 116 w 119"/>
                <a:gd name="T27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9" h="74">
                  <a:moveTo>
                    <a:pt x="116" y="62"/>
                  </a:moveTo>
                  <a:cubicBezTo>
                    <a:pt x="110" y="63"/>
                    <a:pt x="103" y="64"/>
                    <a:pt x="97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85" y="64"/>
                    <a:pt x="74" y="62"/>
                    <a:pt x="64" y="58"/>
                  </a:cubicBezTo>
                  <a:cubicBezTo>
                    <a:pt x="54" y="53"/>
                    <a:pt x="45" y="47"/>
                    <a:pt x="38" y="40"/>
                  </a:cubicBezTo>
                  <a:cubicBezTo>
                    <a:pt x="31" y="33"/>
                    <a:pt x="25" y="24"/>
                    <a:pt x="21" y="15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24" y="50"/>
                    <a:pt x="58" y="74"/>
                    <a:pt x="96" y="74"/>
                  </a:cubicBezTo>
                  <a:cubicBezTo>
                    <a:pt x="96" y="74"/>
                    <a:pt x="96" y="74"/>
                    <a:pt x="97" y="74"/>
                  </a:cubicBezTo>
                  <a:cubicBezTo>
                    <a:pt x="104" y="74"/>
                    <a:pt x="112" y="73"/>
                    <a:pt x="119" y="71"/>
                  </a:cubicBezTo>
                  <a:lnTo>
                    <a:pt x="116" y="62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71">
              <a:extLst>
                <a:ext uri="{FF2B5EF4-FFF2-40B4-BE49-F238E27FC236}">
                  <a16:creationId xmlns:a16="http://schemas.microsoft.com/office/drawing/2014/main" id="{9341111B-8C84-4321-802B-E68604130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" y="3032"/>
              <a:ext cx="243" cy="161"/>
            </a:xfrm>
            <a:custGeom>
              <a:avLst/>
              <a:gdLst>
                <a:gd name="T0" fmla="*/ 141 w 141"/>
                <a:gd name="T1" fmla="*/ 20 h 94"/>
                <a:gd name="T2" fmla="*/ 132 w 141"/>
                <a:gd name="T3" fmla="*/ 0 h 94"/>
                <a:gd name="T4" fmla="*/ 128 w 141"/>
                <a:gd name="T5" fmla="*/ 10 h 94"/>
                <a:gd name="T6" fmla="*/ 93 w 141"/>
                <a:gd name="T7" fmla="*/ 3 h 94"/>
                <a:gd name="T8" fmla="*/ 93 w 141"/>
                <a:gd name="T9" fmla="*/ 3 h 94"/>
                <a:gd name="T10" fmla="*/ 0 w 141"/>
                <a:gd name="T11" fmla="*/ 94 h 94"/>
                <a:gd name="T12" fmla="*/ 10 w 141"/>
                <a:gd name="T13" fmla="*/ 94 h 94"/>
                <a:gd name="T14" fmla="*/ 16 w 141"/>
                <a:gd name="T15" fmla="*/ 63 h 94"/>
                <a:gd name="T16" fmla="*/ 34 w 141"/>
                <a:gd name="T17" fmla="*/ 37 h 94"/>
                <a:gd name="T18" fmla="*/ 60 w 141"/>
                <a:gd name="T19" fmla="*/ 19 h 94"/>
                <a:gd name="T20" fmla="*/ 93 w 141"/>
                <a:gd name="T21" fmla="*/ 12 h 94"/>
                <a:gd name="T22" fmla="*/ 93 w 141"/>
                <a:gd name="T23" fmla="*/ 12 h 94"/>
                <a:gd name="T24" fmla="*/ 125 w 141"/>
                <a:gd name="T25" fmla="*/ 19 h 94"/>
                <a:gd name="T26" fmla="*/ 121 w 141"/>
                <a:gd name="T27" fmla="*/ 28 h 94"/>
                <a:gd name="T28" fmla="*/ 141 w 141"/>
                <a:gd name="T29" fmla="*/ 2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" h="94">
                  <a:moveTo>
                    <a:pt x="141" y="20"/>
                  </a:moveTo>
                  <a:cubicBezTo>
                    <a:pt x="132" y="0"/>
                    <a:pt x="132" y="0"/>
                    <a:pt x="132" y="0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17" y="5"/>
                    <a:pt x="105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42" y="3"/>
                    <a:pt x="1" y="43"/>
                    <a:pt x="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83"/>
                    <a:pt x="12" y="73"/>
                    <a:pt x="16" y="63"/>
                  </a:cubicBezTo>
                  <a:cubicBezTo>
                    <a:pt x="20" y="53"/>
                    <a:pt x="26" y="44"/>
                    <a:pt x="34" y="37"/>
                  </a:cubicBezTo>
                  <a:cubicBezTo>
                    <a:pt x="42" y="29"/>
                    <a:pt x="50" y="23"/>
                    <a:pt x="60" y="19"/>
                  </a:cubicBezTo>
                  <a:cubicBezTo>
                    <a:pt x="71" y="15"/>
                    <a:pt x="81" y="12"/>
                    <a:pt x="93" y="12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104" y="12"/>
                    <a:pt x="114" y="15"/>
                    <a:pt x="125" y="19"/>
                  </a:cubicBezTo>
                  <a:cubicBezTo>
                    <a:pt x="121" y="28"/>
                    <a:pt x="121" y="28"/>
                    <a:pt x="121" y="28"/>
                  </a:cubicBezTo>
                  <a:lnTo>
                    <a:pt x="141" y="2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72">
              <a:extLst>
                <a:ext uri="{FF2B5EF4-FFF2-40B4-BE49-F238E27FC236}">
                  <a16:creationId xmlns:a16="http://schemas.microsoft.com/office/drawing/2014/main" id="{29BE32E9-CEA9-456F-8870-BB9BB8A4A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0" y="3078"/>
              <a:ext cx="231" cy="231"/>
            </a:xfrm>
            <a:custGeom>
              <a:avLst/>
              <a:gdLst>
                <a:gd name="T0" fmla="*/ 134 w 134"/>
                <a:gd name="T1" fmla="*/ 77 h 134"/>
                <a:gd name="T2" fmla="*/ 134 w 134"/>
                <a:gd name="T3" fmla="*/ 57 h 134"/>
                <a:gd name="T4" fmla="*/ 120 w 134"/>
                <a:gd name="T5" fmla="*/ 57 h 134"/>
                <a:gd name="T6" fmla="*/ 111 w 134"/>
                <a:gd name="T7" fmla="*/ 36 h 134"/>
                <a:gd name="T8" fmla="*/ 121 w 134"/>
                <a:gd name="T9" fmla="*/ 27 h 134"/>
                <a:gd name="T10" fmla="*/ 107 w 134"/>
                <a:gd name="T11" fmla="*/ 13 h 134"/>
                <a:gd name="T12" fmla="*/ 97 w 134"/>
                <a:gd name="T13" fmla="*/ 23 h 134"/>
                <a:gd name="T14" fmla="*/ 77 w 134"/>
                <a:gd name="T15" fmla="*/ 14 h 134"/>
                <a:gd name="T16" fmla="*/ 77 w 134"/>
                <a:gd name="T17" fmla="*/ 0 h 134"/>
                <a:gd name="T18" fmla="*/ 57 w 134"/>
                <a:gd name="T19" fmla="*/ 0 h 134"/>
                <a:gd name="T20" fmla="*/ 57 w 134"/>
                <a:gd name="T21" fmla="*/ 14 h 134"/>
                <a:gd name="T22" fmla="*/ 36 w 134"/>
                <a:gd name="T23" fmla="*/ 23 h 134"/>
                <a:gd name="T24" fmla="*/ 26 w 134"/>
                <a:gd name="T25" fmla="*/ 13 h 134"/>
                <a:gd name="T26" fmla="*/ 13 w 134"/>
                <a:gd name="T27" fmla="*/ 26 h 134"/>
                <a:gd name="T28" fmla="*/ 23 w 134"/>
                <a:gd name="T29" fmla="*/ 37 h 134"/>
                <a:gd name="T30" fmla="*/ 15 w 134"/>
                <a:gd name="T31" fmla="*/ 57 h 134"/>
                <a:gd name="T32" fmla="*/ 0 w 134"/>
                <a:gd name="T33" fmla="*/ 57 h 134"/>
                <a:gd name="T34" fmla="*/ 0 w 134"/>
                <a:gd name="T35" fmla="*/ 76 h 134"/>
                <a:gd name="T36" fmla="*/ 15 w 134"/>
                <a:gd name="T37" fmla="*/ 77 h 134"/>
                <a:gd name="T38" fmla="*/ 23 w 134"/>
                <a:gd name="T39" fmla="*/ 97 h 134"/>
                <a:gd name="T40" fmla="*/ 13 w 134"/>
                <a:gd name="T41" fmla="*/ 107 h 134"/>
                <a:gd name="T42" fmla="*/ 26 w 134"/>
                <a:gd name="T43" fmla="*/ 121 h 134"/>
                <a:gd name="T44" fmla="*/ 37 w 134"/>
                <a:gd name="T45" fmla="*/ 110 h 134"/>
                <a:gd name="T46" fmla="*/ 57 w 134"/>
                <a:gd name="T47" fmla="*/ 119 h 134"/>
                <a:gd name="T48" fmla="*/ 57 w 134"/>
                <a:gd name="T49" fmla="*/ 134 h 134"/>
                <a:gd name="T50" fmla="*/ 76 w 134"/>
                <a:gd name="T51" fmla="*/ 134 h 134"/>
                <a:gd name="T52" fmla="*/ 76 w 134"/>
                <a:gd name="T53" fmla="*/ 119 h 134"/>
                <a:gd name="T54" fmla="*/ 97 w 134"/>
                <a:gd name="T55" fmla="*/ 111 h 134"/>
                <a:gd name="T56" fmla="*/ 107 w 134"/>
                <a:gd name="T57" fmla="*/ 121 h 134"/>
                <a:gd name="T58" fmla="*/ 121 w 134"/>
                <a:gd name="T59" fmla="*/ 107 h 134"/>
                <a:gd name="T60" fmla="*/ 111 w 134"/>
                <a:gd name="T61" fmla="*/ 97 h 134"/>
                <a:gd name="T62" fmla="*/ 119 w 134"/>
                <a:gd name="T63" fmla="*/ 77 h 134"/>
                <a:gd name="T64" fmla="*/ 134 w 134"/>
                <a:gd name="T65" fmla="*/ 77 h 134"/>
                <a:gd name="T66" fmla="*/ 67 w 134"/>
                <a:gd name="T67" fmla="*/ 100 h 134"/>
                <a:gd name="T68" fmla="*/ 33 w 134"/>
                <a:gd name="T69" fmla="*/ 66 h 134"/>
                <a:gd name="T70" fmla="*/ 67 w 134"/>
                <a:gd name="T71" fmla="*/ 32 h 134"/>
                <a:gd name="T72" fmla="*/ 101 w 134"/>
                <a:gd name="T73" fmla="*/ 66 h 134"/>
                <a:gd name="T74" fmla="*/ 67 w 134"/>
                <a:gd name="T75" fmla="*/ 10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4">
                  <a:moveTo>
                    <a:pt x="134" y="77"/>
                  </a:moveTo>
                  <a:cubicBezTo>
                    <a:pt x="134" y="57"/>
                    <a:pt x="134" y="57"/>
                    <a:pt x="134" y="57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118" y="50"/>
                    <a:pt x="115" y="43"/>
                    <a:pt x="111" y="36"/>
                  </a:cubicBezTo>
                  <a:cubicBezTo>
                    <a:pt x="121" y="27"/>
                    <a:pt x="121" y="27"/>
                    <a:pt x="121" y="27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1" y="18"/>
                    <a:pt x="84" y="15"/>
                    <a:pt x="77" y="1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0" y="15"/>
                    <a:pt x="43" y="18"/>
                    <a:pt x="36" y="2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19" y="43"/>
                    <a:pt x="16" y="50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84"/>
                    <a:pt x="19" y="91"/>
                    <a:pt x="23" y="9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43" y="114"/>
                    <a:pt x="50" y="117"/>
                    <a:pt x="57" y="119"/>
                  </a:cubicBezTo>
                  <a:cubicBezTo>
                    <a:pt x="57" y="134"/>
                    <a:pt x="57" y="134"/>
                    <a:pt x="57" y="134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84" y="118"/>
                    <a:pt x="91" y="115"/>
                    <a:pt x="97" y="111"/>
                  </a:cubicBezTo>
                  <a:cubicBezTo>
                    <a:pt x="107" y="121"/>
                    <a:pt x="107" y="121"/>
                    <a:pt x="107" y="121"/>
                  </a:cubicBezTo>
                  <a:cubicBezTo>
                    <a:pt x="121" y="107"/>
                    <a:pt x="121" y="107"/>
                    <a:pt x="121" y="107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5" y="91"/>
                    <a:pt x="118" y="84"/>
                    <a:pt x="119" y="77"/>
                  </a:cubicBezTo>
                  <a:lnTo>
                    <a:pt x="134" y="77"/>
                  </a:lnTo>
                  <a:close/>
                  <a:moveTo>
                    <a:pt x="67" y="100"/>
                  </a:moveTo>
                  <a:cubicBezTo>
                    <a:pt x="48" y="100"/>
                    <a:pt x="33" y="85"/>
                    <a:pt x="33" y="66"/>
                  </a:cubicBezTo>
                  <a:cubicBezTo>
                    <a:pt x="33" y="47"/>
                    <a:pt x="48" y="32"/>
                    <a:pt x="67" y="32"/>
                  </a:cubicBezTo>
                  <a:cubicBezTo>
                    <a:pt x="86" y="32"/>
                    <a:pt x="101" y="48"/>
                    <a:pt x="101" y="66"/>
                  </a:cubicBezTo>
                  <a:cubicBezTo>
                    <a:pt x="101" y="85"/>
                    <a:pt x="86" y="100"/>
                    <a:pt x="67" y="100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21" descr="IAAS">
            <a:extLst>
              <a:ext uri="{FF2B5EF4-FFF2-40B4-BE49-F238E27FC236}">
                <a16:creationId xmlns:a16="http://schemas.microsoft.com/office/drawing/2014/main" id="{7CC54CB8-C822-43D2-84AB-FBEA954BD9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4505" y="2089628"/>
            <a:ext cx="452437" cy="450850"/>
            <a:chOff x="2211" y="778"/>
            <a:chExt cx="285" cy="284"/>
          </a:xfrm>
        </p:grpSpPr>
        <p:sp>
          <p:nvSpPr>
            <p:cNvPr id="149" name="AutoShape 20">
              <a:extLst>
                <a:ext uri="{FF2B5EF4-FFF2-40B4-BE49-F238E27FC236}">
                  <a16:creationId xmlns:a16="http://schemas.microsoft.com/office/drawing/2014/main" id="{A20D36B1-EF1D-442C-AA03-9FA14AAF67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11" y="778"/>
              <a:ext cx="285" cy="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Oval 22">
              <a:extLst>
                <a:ext uri="{FF2B5EF4-FFF2-40B4-BE49-F238E27FC236}">
                  <a16:creationId xmlns:a16="http://schemas.microsoft.com/office/drawing/2014/main" id="{94FAB977-2CB7-450C-B1AF-EB6409F2F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1" y="898"/>
              <a:ext cx="45" cy="4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85437D3E-D0E8-4DB4-822F-298F8B953F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7" y="809"/>
              <a:ext cx="213" cy="218"/>
            </a:xfrm>
            <a:custGeom>
              <a:avLst/>
              <a:gdLst>
                <a:gd name="T0" fmla="*/ 98 w 144"/>
                <a:gd name="T1" fmla="*/ 8 h 147"/>
                <a:gd name="T2" fmla="*/ 88 w 144"/>
                <a:gd name="T3" fmla="*/ 0 h 147"/>
                <a:gd name="T4" fmla="*/ 80 w 144"/>
                <a:gd name="T5" fmla="*/ 4 h 147"/>
                <a:gd name="T6" fmla="*/ 72 w 144"/>
                <a:gd name="T7" fmla="*/ 3 h 147"/>
                <a:gd name="T8" fmla="*/ 0 w 144"/>
                <a:gd name="T9" fmla="*/ 75 h 147"/>
                <a:gd name="T10" fmla="*/ 72 w 144"/>
                <a:gd name="T11" fmla="*/ 147 h 147"/>
                <a:gd name="T12" fmla="*/ 144 w 144"/>
                <a:gd name="T13" fmla="*/ 75 h 147"/>
                <a:gd name="T14" fmla="*/ 98 w 144"/>
                <a:gd name="T15" fmla="*/ 8 h 147"/>
                <a:gd name="T16" fmla="*/ 119 w 144"/>
                <a:gd name="T17" fmla="*/ 123 h 147"/>
                <a:gd name="T18" fmla="*/ 98 w 144"/>
                <a:gd name="T19" fmla="*/ 137 h 147"/>
                <a:gd name="T20" fmla="*/ 72 w 144"/>
                <a:gd name="T21" fmla="*/ 142 h 147"/>
                <a:gd name="T22" fmla="*/ 46 w 144"/>
                <a:gd name="T23" fmla="*/ 137 h 147"/>
                <a:gd name="T24" fmla="*/ 25 w 144"/>
                <a:gd name="T25" fmla="*/ 123 h 147"/>
                <a:gd name="T26" fmla="*/ 10 w 144"/>
                <a:gd name="T27" fmla="*/ 101 h 147"/>
                <a:gd name="T28" fmla="*/ 5 w 144"/>
                <a:gd name="T29" fmla="*/ 75 h 147"/>
                <a:gd name="T30" fmla="*/ 10 w 144"/>
                <a:gd name="T31" fmla="*/ 49 h 147"/>
                <a:gd name="T32" fmla="*/ 25 w 144"/>
                <a:gd name="T33" fmla="*/ 28 h 147"/>
                <a:gd name="T34" fmla="*/ 46 w 144"/>
                <a:gd name="T35" fmla="*/ 14 h 147"/>
                <a:gd name="T36" fmla="*/ 72 w 144"/>
                <a:gd name="T37" fmla="*/ 8 h 147"/>
                <a:gd name="T38" fmla="*/ 78 w 144"/>
                <a:gd name="T39" fmla="*/ 9 h 147"/>
                <a:gd name="T40" fmla="*/ 78 w 144"/>
                <a:gd name="T41" fmla="*/ 10 h 147"/>
                <a:gd name="T42" fmla="*/ 88 w 144"/>
                <a:gd name="T43" fmla="*/ 20 h 147"/>
                <a:gd name="T44" fmla="*/ 97 w 144"/>
                <a:gd name="T45" fmla="*/ 13 h 147"/>
                <a:gd name="T46" fmla="*/ 98 w 144"/>
                <a:gd name="T47" fmla="*/ 14 h 147"/>
                <a:gd name="T48" fmla="*/ 119 w 144"/>
                <a:gd name="T49" fmla="*/ 28 h 147"/>
                <a:gd name="T50" fmla="*/ 134 w 144"/>
                <a:gd name="T51" fmla="*/ 49 h 147"/>
                <a:gd name="T52" fmla="*/ 139 w 144"/>
                <a:gd name="T53" fmla="*/ 75 h 147"/>
                <a:gd name="T54" fmla="*/ 134 w 144"/>
                <a:gd name="T55" fmla="*/ 101 h 147"/>
                <a:gd name="T56" fmla="*/ 119 w 144"/>
                <a:gd name="T57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47">
                  <a:moveTo>
                    <a:pt x="98" y="8"/>
                  </a:moveTo>
                  <a:cubicBezTo>
                    <a:pt x="97" y="3"/>
                    <a:pt x="93" y="0"/>
                    <a:pt x="88" y="0"/>
                  </a:cubicBezTo>
                  <a:cubicBezTo>
                    <a:pt x="84" y="0"/>
                    <a:pt x="81" y="1"/>
                    <a:pt x="80" y="4"/>
                  </a:cubicBezTo>
                  <a:cubicBezTo>
                    <a:pt x="77" y="3"/>
                    <a:pt x="75" y="3"/>
                    <a:pt x="72" y="3"/>
                  </a:cubicBezTo>
                  <a:cubicBezTo>
                    <a:pt x="32" y="3"/>
                    <a:pt x="0" y="35"/>
                    <a:pt x="0" y="75"/>
                  </a:cubicBezTo>
                  <a:cubicBezTo>
                    <a:pt x="0" y="115"/>
                    <a:pt x="32" y="147"/>
                    <a:pt x="72" y="147"/>
                  </a:cubicBezTo>
                  <a:cubicBezTo>
                    <a:pt x="112" y="147"/>
                    <a:pt x="144" y="115"/>
                    <a:pt x="144" y="75"/>
                  </a:cubicBezTo>
                  <a:cubicBezTo>
                    <a:pt x="144" y="44"/>
                    <a:pt x="125" y="18"/>
                    <a:pt x="98" y="8"/>
                  </a:cubicBezTo>
                  <a:close/>
                  <a:moveTo>
                    <a:pt x="119" y="123"/>
                  </a:moveTo>
                  <a:cubicBezTo>
                    <a:pt x="113" y="129"/>
                    <a:pt x="106" y="134"/>
                    <a:pt x="98" y="137"/>
                  </a:cubicBezTo>
                  <a:cubicBezTo>
                    <a:pt x="90" y="140"/>
                    <a:pt x="81" y="142"/>
                    <a:pt x="72" y="142"/>
                  </a:cubicBezTo>
                  <a:cubicBezTo>
                    <a:pt x="63" y="142"/>
                    <a:pt x="54" y="140"/>
                    <a:pt x="46" y="137"/>
                  </a:cubicBezTo>
                  <a:cubicBezTo>
                    <a:pt x="38" y="134"/>
                    <a:pt x="31" y="129"/>
                    <a:pt x="25" y="123"/>
                  </a:cubicBezTo>
                  <a:cubicBezTo>
                    <a:pt x="19" y="116"/>
                    <a:pt x="14" y="109"/>
                    <a:pt x="10" y="101"/>
                  </a:cubicBezTo>
                  <a:cubicBezTo>
                    <a:pt x="7" y="93"/>
                    <a:pt x="5" y="84"/>
                    <a:pt x="5" y="75"/>
                  </a:cubicBezTo>
                  <a:cubicBezTo>
                    <a:pt x="5" y="66"/>
                    <a:pt x="7" y="57"/>
                    <a:pt x="10" y="49"/>
                  </a:cubicBezTo>
                  <a:cubicBezTo>
                    <a:pt x="14" y="41"/>
                    <a:pt x="19" y="34"/>
                    <a:pt x="25" y="28"/>
                  </a:cubicBezTo>
                  <a:cubicBezTo>
                    <a:pt x="31" y="22"/>
                    <a:pt x="38" y="17"/>
                    <a:pt x="46" y="14"/>
                  </a:cubicBezTo>
                  <a:cubicBezTo>
                    <a:pt x="54" y="10"/>
                    <a:pt x="63" y="8"/>
                    <a:pt x="72" y="8"/>
                  </a:cubicBezTo>
                  <a:cubicBezTo>
                    <a:pt x="74" y="8"/>
                    <a:pt x="76" y="8"/>
                    <a:pt x="78" y="9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8" y="15"/>
                    <a:pt x="82" y="20"/>
                    <a:pt x="88" y="20"/>
                  </a:cubicBezTo>
                  <a:cubicBezTo>
                    <a:pt x="92" y="20"/>
                    <a:pt x="96" y="17"/>
                    <a:pt x="97" y="13"/>
                  </a:cubicBezTo>
                  <a:cubicBezTo>
                    <a:pt x="97" y="13"/>
                    <a:pt x="98" y="13"/>
                    <a:pt x="98" y="14"/>
                  </a:cubicBezTo>
                  <a:cubicBezTo>
                    <a:pt x="106" y="17"/>
                    <a:pt x="113" y="22"/>
                    <a:pt x="119" y="28"/>
                  </a:cubicBezTo>
                  <a:cubicBezTo>
                    <a:pt x="126" y="34"/>
                    <a:pt x="130" y="41"/>
                    <a:pt x="134" y="49"/>
                  </a:cubicBezTo>
                  <a:cubicBezTo>
                    <a:pt x="137" y="58"/>
                    <a:pt x="139" y="66"/>
                    <a:pt x="139" y="75"/>
                  </a:cubicBezTo>
                  <a:cubicBezTo>
                    <a:pt x="139" y="84"/>
                    <a:pt x="137" y="93"/>
                    <a:pt x="134" y="101"/>
                  </a:cubicBezTo>
                  <a:cubicBezTo>
                    <a:pt x="130" y="109"/>
                    <a:pt x="126" y="116"/>
                    <a:pt x="119" y="123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6576C1AC-DD2C-4092-AEA0-1CED857C55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11" y="780"/>
              <a:ext cx="285" cy="282"/>
            </a:xfrm>
            <a:custGeom>
              <a:avLst/>
              <a:gdLst>
                <a:gd name="T0" fmla="*/ 192 w 192"/>
                <a:gd name="T1" fmla="*/ 95 h 191"/>
                <a:gd name="T2" fmla="*/ 179 w 192"/>
                <a:gd name="T3" fmla="*/ 47 h 191"/>
                <a:gd name="T4" fmla="*/ 182 w 192"/>
                <a:gd name="T5" fmla="*/ 39 h 191"/>
                <a:gd name="T6" fmla="*/ 172 w 192"/>
                <a:gd name="T7" fmla="*/ 29 h 191"/>
                <a:gd name="T8" fmla="*/ 167 w 192"/>
                <a:gd name="T9" fmla="*/ 31 h 191"/>
                <a:gd name="T10" fmla="*/ 96 w 192"/>
                <a:gd name="T11" fmla="*/ 0 h 191"/>
                <a:gd name="T12" fmla="*/ 0 w 192"/>
                <a:gd name="T13" fmla="*/ 95 h 191"/>
                <a:gd name="T14" fmla="*/ 14 w 192"/>
                <a:gd name="T15" fmla="*/ 144 h 191"/>
                <a:gd name="T16" fmla="*/ 10 w 192"/>
                <a:gd name="T17" fmla="*/ 151 h 191"/>
                <a:gd name="T18" fmla="*/ 20 w 192"/>
                <a:gd name="T19" fmla="*/ 161 h 191"/>
                <a:gd name="T20" fmla="*/ 25 w 192"/>
                <a:gd name="T21" fmla="*/ 160 h 191"/>
                <a:gd name="T22" fmla="*/ 96 w 192"/>
                <a:gd name="T23" fmla="*/ 191 h 191"/>
                <a:gd name="T24" fmla="*/ 141 w 192"/>
                <a:gd name="T25" fmla="*/ 180 h 191"/>
                <a:gd name="T26" fmla="*/ 147 w 192"/>
                <a:gd name="T27" fmla="*/ 181 h 191"/>
                <a:gd name="T28" fmla="*/ 157 w 192"/>
                <a:gd name="T29" fmla="*/ 171 h 191"/>
                <a:gd name="T30" fmla="*/ 157 w 192"/>
                <a:gd name="T31" fmla="*/ 169 h 191"/>
                <a:gd name="T32" fmla="*/ 192 w 192"/>
                <a:gd name="T33" fmla="*/ 95 h 191"/>
                <a:gd name="T34" fmla="*/ 155 w 192"/>
                <a:gd name="T35" fmla="*/ 165 h 191"/>
                <a:gd name="T36" fmla="*/ 147 w 192"/>
                <a:gd name="T37" fmla="*/ 161 h 191"/>
                <a:gd name="T38" fmla="*/ 137 w 192"/>
                <a:gd name="T39" fmla="*/ 171 h 191"/>
                <a:gd name="T40" fmla="*/ 138 w 192"/>
                <a:gd name="T41" fmla="*/ 176 h 191"/>
                <a:gd name="T42" fmla="*/ 131 w 192"/>
                <a:gd name="T43" fmla="*/ 179 h 191"/>
                <a:gd name="T44" fmla="*/ 96 w 192"/>
                <a:gd name="T45" fmla="*/ 186 h 191"/>
                <a:gd name="T46" fmla="*/ 61 w 192"/>
                <a:gd name="T47" fmla="*/ 179 h 191"/>
                <a:gd name="T48" fmla="*/ 32 w 192"/>
                <a:gd name="T49" fmla="*/ 159 h 191"/>
                <a:gd name="T50" fmla="*/ 29 w 192"/>
                <a:gd name="T51" fmla="*/ 156 h 191"/>
                <a:gd name="T52" fmla="*/ 30 w 192"/>
                <a:gd name="T53" fmla="*/ 151 h 191"/>
                <a:gd name="T54" fmla="*/ 20 w 192"/>
                <a:gd name="T55" fmla="*/ 141 h 191"/>
                <a:gd name="T56" fmla="*/ 18 w 192"/>
                <a:gd name="T57" fmla="*/ 141 h 191"/>
                <a:gd name="T58" fmla="*/ 13 w 192"/>
                <a:gd name="T59" fmla="*/ 131 h 191"/>
                <a:gd name="T60" fmla="*/ 5 w 192"/>
                <a:gd name="T61" fmla="*/ 95 h 191"/>
                <a:gd name="T62" fmla="*/ 13 w 192"/>
                <a:gd name="T63" fmla="*/ 60 h 191"/>
                <a:gd name="T64" fmla="*/ 32 w 192"/>
                <a:gd name="T65" fmla="*/ 31 h 191"/>
                <a:gd name="T66" fmla="*/ 61 w 192"/>
                <a:gd name="T67" fmla="*/ 12 h 191"/>
                <a:gd name="T68" fmla="*/ 96 w 192"/>
                <a:gd name="T69" fmla="*/ 5 h 191"/>
                <a:gd name="T70" fmla="*/ 131 w 192"/>
                <a:gd name="T71" fmla="*/ 12 h 191"/>
                <a:gd name="T72" fmla="*/ 160 w 192"/>
                <a:gd name="T73" fmla="*/ 31 h 191"/>
                <a:gd name="T74" fmla="*/ 163 w 192"/>
                <a:gd name="T75" fmla="*/ 34 h 191"/>
                <a:gd name="T76" fmla="*/ 162 w 192"/>
                <a:gd name="T77" fmla="*/ 40 h 191"/>
                <a:gd name="T78" fmla="*/ 172 w 192"/>
                <a:gd name="T79" fmla="*/ 50 h 191"/>
                <a:gd name="T80" fmla="*/ 174 w 192"/>
                <a:gd name="T81" fmla="*/ 49 h 191"/>
                <a:gd name="T82" fmla="*/ 180 w 192"/>
                <a:gd name="T83" fmla="*/ 60 h 191"/>
                <a:gd name="T84" fmla="*/ 187 w 192"/>
                <a:gd name="T85" fmla="*/ 95 h 191"/>
                <a:gd name="T86" fmla="*/ 180 w 192"/>
                <a:gd name="T87" fmla="*/ 131 h 191"/>
                <a:gd name="T88" fmla="*/ 160 w 192"/>
                <a:gd name="T89" fmla="*/ 159 h 191"/>
                <a:gd name="T90" fmla="*/ 155 w 192"/>
                <a:gd name="T91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2" h="191">
                  <a:moveTo>
                    <a:pt x="192" y="95"/>
                  </a:moveTo>
                  <a:cubicBezTo>
                    <a:pt x="192" y="78"/>
                    <a:pt x="187" y="61"/>
                    <a:pt x="179" y="47"/>
                  </a:cubicBezTo>
                  <a:cubicBezTo>
                    <a:pt x="181" y="45"/>
                    <a:pt x="182" y="42"/>
                    <a:pt x="182" y="39"/>
                  </a:cubicBezTo>
                  <a:cubicBezTo>
                    <a:pt x="182" y="34"/>
                    <a:pt x="177" y="29"/>
                    <a:pt x="172" y="29"/>
                  </a:cubicBezTo>
                  <a:cubicBezTo>
                    <a:pt x="170" y="29"/>
                    <a:pt x="168" y="30"/>
                    <a:pt x="167" y="31"/>
                  </a:cubicBezTo>
                  <a:cubicBezTo>
                    <a:pt x="149" y="12"/>
                    <a:pt x="124" y="0"/>
                    <a:pt x="96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13"/>
                    <a:pt x="5" y="129"/>
                    <a:pt x="14" y="144"/>
                  </a:cubicBezTo>
                  <a:cubicBezTo>
                    <a:pt x="11" y="145"/>
                    <a:pt x="10" y="148"/>
                    <a:pt x="10" y="151"/>
                  </a:cubicBezTo>
                  <a:cubicBezTo>
                    <a:pt x="10" y="157"/>
                    <a:pt x="15" y="161"/>
                    <a:pt x="20" y="161"/>
                  </a:cubicBezTo>
                  <a:cubicBezTo>
                    <a:pt x="22" y="161"/>
                    <a:pt x="24" y="161"/>
                    <a:pt x="25" y="160"/>
                  </a:cubicBezTo>
                  <a:cubicBezTo>
                    <a:pt x="43" y="179"/>
                    <a:pt x="68" y="191"/>
                    <a:pt x="96" y="191"/>
                  </a:cubicBezTo>
                  <a:cubicBezTo>
                    <a:pt x="112" y="191"/>
                    <a:pt x="128" y="187"/>
                    <a:pt x="141" y="180"/>
                  </a:cubicBezTo>
                  <a:cubicBezTo>
                    <a:pt x="143" y="181"/>
                    <a:pt x="145" y="181"/>
                    <a:pt x="147" y="181"/>
                  </a:cubicBezTo>
                  <a:cubicBezTo>
                    <a:pt x="153" y="181"/>
                    <a:pt x="157" y="177"/>
                    <a:pt x="157" y="171"/>
                  </a:cubicBezTo>
                  <a:cubicBezTo>
                    <a:pt x="157" y="171"/>
                    <a:pt x="157" y="170"/>
                    <a:pt x="157" y="169"/>
                  </a:cubicBezTo>
                  <a:cubicBezTo>
                    <a:pt x="178" y="152"/>
                    <a:pt x="192" y="125"/>
                    <a:pt x="192" y="95"/>
                  </a:cubicBezTo>
                  <a:close/>
                  <a:moveTo>
                    <a:pt x="155" y="165"/>
                  </a:moveTo>
                  <a:cubicBezTo>
                    <a:pt x="153" y="162"/>
                    <a:pt x="150" y="161"/>
                    <a:pt x="147" y="161"/>
                  </a:cubicBezTo>
                  <a:cubicBezTo>
                    <a:pt x="141" y="161"/>
                    <a:pt x="137" y="166"/>
                    <a:pt x="137" y="171"/>
                  </a:cubicBezTo>
                  <a:cubicBezTo>
                    <a:pt x="137" y="173"/>
                    <a:pt x="137" y="174"/>
                    <a:pt x="138" y="176"/>
                  </a:cubicBezTo>
                  <a:cubicBezTo>
                    <a:pt x="136" y="177"/>
                    <a:pt x="134" y="178"/>
                    <a:pt x="131" y="179"/>
                  </a:cubicBezTo>
                  <a:cubicBezTo>
                    <a:pt x="120" y="183"/>
                    <a:pt x="108" y="186"/>
                    <a:pt x="96" y="186"/>
                  </a:cubicBezTo>
                  <a:cubicBezTo>
                    <a:pt x="84" y="186"/>
                    <a:pt x="72" y="183"/>
                    <a:pt x="61" y="179"/>
                  </a:cubicBezTo>
                  <a:cubicBezTo>
                    <a:pt x="50" y="174"/>
                    <a:pt x="40" y="168"/>
                    <a:pt x="32" y="159"/>
                  </a:cubicBezTo>
                  <a:cubicBezTo>
                    <a:pt x="31" y="158"/>
                    <a:pt x="30" y="157"/>
                    <a:pt x="29" y="156"/>
                  </a:cubicBezTo>
                  <a:cubicBezTo>
                    <a:pt x="30" y="155"/>
                    <a:pt x="30" y="153"/>
                    <a:pt x="30" y="151"/>
                  </a:cubicBezTo>
                  <a:cubicBezTo>
                    <a:pt x="30" y="145"/>
                    <a:pt x="26" y="141"/>
                    <a:pt x="20" y="141"/>
                  </a:cubicBezTo>
                  <a:cubicBezTo>
                    <a:pt x="20" y="141"/>
                    <a:pt x="19" y="141"/>
                    <a:pt x="18" y="141"/>
                  </a:cubicBezTo>
                  <a:cubicBezTo>
                    <a:pt x="16" y="138"/>
                    <a:pt x="14" y="134"/>
                    <a:pt x="13" y="131"/>
                  </a:cubicBezTo>
                  <a:cubicBezTo>
                    <a:pt x="8" y="119"/>
                    <a:pt x="5" y="108"/>
                    <a:pt x="5" y="95"/>
                  </a:cubicBezTo>
                  <a:cubicBezTo>
                    <a:pt x="5" y="83"/>
                    <a:pt x="8" y="71"/>
                    <a:pt x="13" y="60"/>
                  </a:cubicBezTo>
                  <a:cubicBezTo>
                    <a:pt x="17" y="49"/>
                    <a:pt x="24" y="40"/>
                    <a:pt x="32" y="31"/>
                  </a:cubicBezTo>
                  <a:cubicBezTo>
                    <a:pt x="40" y="23"/>
                    <a:pt x="50" y="16"/>
                    <a:pt x="61" y="12"/>
                  </a:cubicBezTo>
                  <a:cubicBezTo>
                    <a:pt x="72" y="7"/>
                    <a:pt x="84" y="5"/>
                    <a:pt x="96" y="5"/>
                  </a:cubicBezTo>
                  <a:cubicBezTo>
                    <a:pt x="108" y="5"/>
                    <a:pt x="120" y="7"/>
                    <a:pt x="131" y="12"/>
                  </a:cubicBezTo>
                  <a:cubicBezTo>
                    <a:pt x="142" y="16"/>
                    <a:pt x="152" y="23"/>
                    <a:pt x="160" y="31"/>
                  </a:cubicBezTo>
                  <a:cubicBezTo>
                    <a:pt x="161" y="32"/>
                    <a:pt x="162" y="33"/>
                    <a:pt x="163" y="34"/>
                  </a:cubicBezTo>
                  <a:cubicBezTo>
                    <a:pt x="162" y="36"/>
                    <a:pt x="162" y="38"/>
                    <a:pt x="162" y="40"/>
                  </a:cubicBezTo>
                  <a:cubicBezTo>
                    <a:pt x="162" y="45"/>
                    <a:pt x="166" y="50"/>
                    <a:pt x="172" y="50"/>
                  </a:cubicBezTo>
                  <a:cubicBezTo>
                    <a:pt x="173" y="50"/>
                    <a:pt x="173" y="49"/>
                    <a:pt x="174" y="49"/>
                  </a:cubicBezTo>
                  <a:cubicBezTo>
                    <a:pt x="176" y="53"/>
                    <a:pt x="178" y="56"/>
                    <a:pt x="180" y="60"/>
                  </a:cubicBezTo>
                  <a:cubicBezTo>
                    <a:pt x="184" y="71"/>
                    <a:pt x="187" y="83"/>
                    <a:pt x="187" y="95"/>
                  </a:cubicBezTo>
                  <a:cubicBezTo>
                    <a:pt x="187" y="108"/>
                    <a:pt x="184" y="119"/>
                    <a:pt x="180" y="131"/>
                  </a:cubicBezTo>
                  <a:cubicBezTo>
                    <a:pt x="175" y="141"/>
                    <a:pt x="169" y="151"/>
                    <a:pt x="160" y="159"/>
                  </a:cubicBezTo>
                  <a:cubicBezTo>
                    <a:pt x="158" y="161"/>
                    <a:pt x="156" y="163"/>
                    <a:pt x="155" y="165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03309406-4DB1-4834-9C04-99FA88E13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2" y="849"/>
              <a:ext cx="153" cy="142"/>
            </a:xfrm>
            <a:custGeom>
              <a:avLst/>
              <a:gdLst>
                <a:gd name="T0" fmla="*/ 98 w 103"/>
                <a:gd name="T1" fmla="*/ 70 h 96"/>
                <a:gd name="T2" fmla="*/ 103 w 103"/>
                <a:gd name="T3" fmla="*/ 48 h 96"/>
                <a:gd name="T4" fmla="*/ 55 w 103"/>
                <a:gd name="T5" fmla="*/ 0 h 96"/>
                <a:gd name="T6" fmla="*/ 8 w 103"/>
                <a:gd name="T7" fmla="*/ 38 h 96"/>
                <a:gd name="T8" fmla="*/ 0 w 103"/>
                <a:gd name="T9" fmla="*/ 48 h 96"/>
                <a:gd name="T10" fmla="*/ 8 w 103"/>
                <a:gd name="T11" fmla="*/ 58 h 96"/>
                <a:gd name="T12" fmla="*/ 55 w 103"/>
                <a:gd name="T13" fmla="*/ 96 h 96"/>
                <a:gd name="T14" fmla="*/ 85 w 103"/>
                <a:gd name="T15" fmla="*/ 86 h 96"/>
                <a:gd name="T16" fmla="*/ 91 w 103"/>
                <a:gd name="T17" fmla="*/ 88 h 96"/>
                <a:gd name="T18" fmla="*/ 101 w 103"/>
                <a:gd name="T19" fmla="*/ 77 h 96"/>
                <a:gd name="T20" fmla="*/ 98 w 103"/>
                <a:gd name="T21" fmla="*/ 70 h 96"/>
                <a:gd name="T22" fmla="*/ 25 w 103"/>
                <a:gd name="T23" fmla="*/ 79 h 96"/>
                <a:gd name="T24" fmla="*/ 13 w 103"/>
                <a:gd name="T25" fmla="*/ 58 h 96"/>
                <a:gd name="T26" fmla="*/ 20 w 103"/>
                <a:gd name="T27" fmla="*/ 48 h 96"/>
                <a:gd name="T28" fmla="*/ 13 w 103"/>
                <a:gd name="T29" fmla="*/ 39 h 96"/>
                <a:gd name="T30" fmla="*/ 25 w 103"/>
                <a:gd name="T31" fmla="*/ 18 h 96"/>
                <a:gd name="T32" fmla="*/ 55 w 103"/>
                <a:gd name="T33" fmla="*/ 6 h 96"/>
                <a:gd name="T34" fmla="*/ 85 w 103"/>
                <a:gd name="T35" fmla="*/ 18 h 96"/>
                <a:gd name="T36" fmla="*/ 98 w 103"/>
                <a:gd name="T37" fmla="*/ 48 h 96"/>
                <a:gd name="T38" fmla="*/ 93 w 103"/>
                <a:gd name="T39" fmla="*/ 68 h 96"/>
                <a:gd name="T40" fmla="*/ 90 w 103"/>
                <a:gd name="T41" fmla="*/ 67 h 96"/>
                <a:gd name="T42" fmla="*/ 80 w 103"/>
                <a:gd name="T43" fmla="*/ 77 h 96"/>
                <a:gd name="T44" fmla="*/ 81 w 103"/>
                <a:gd name="T45" fmla="*/ 82 h 96"/>
                <a:gd name="T46" fmla="*/ 55 w 103"/>
                <a:gd name="T47" fmla="*/ 91 h 96"/>
                <a:gd name="T48" fmla="*/ 25 w 103"/>
                <a:gd name="T49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3" h="96">
                  <a:moveTo>
                    <a:pt x="98" y="70"/>
                  </a:moveTo>
                  <a:cubicBezTo>
                    <a:pt x="101" y="64"/>
                    <a:pt x="103" y="56"/>
                    <a:pt x="103" y="48"/>
                  </a:cubicBezTo>
                  <a:cubicBezTo>
                    <a:pt x="103" y="22"/>
                    <a:pt x="81" y="0"/>
                    <a:pt x="55" y="0"/>
                  </a:cubicBezTo>
                  <a:cubicBezTo>
                    <a:pt x="32" y="0"/>
                    <a:pt x="13" y="17"/>
                    <a:pt x="8" y="38"/>
                  </a:cubicBezTo>
                  <a:cubicBezTo>
                    <a:pt x="4" y="39"/>
                    <a:pt x="0" y="43"/>
                    <a:pt x="0" y="48"/>
                  </a:cubicBezTo>
                  <a:cubicBezTo>
                    <a:pt x="0" y="53"/>
                    <a:pt x="4" y="58"/>
                    <a:pt x="8" y="58"/>
                  </a:cubicBezTo>
                  <a:cubicBezTo>
                    <a:pt x="13" y="80"/>
                    <a:pt x="32" y="96"/>
                    <a:pt x="55" y="96"/>
                  </a:cubicBezTo>
                  <a:cubicBezTo>
                    <a:pt x="66" y="96"/>
                    <a:pt x="77" y="92"/>
                    <a:pt x="85" y="86"/>
                  </a:cubicBezTo>
                  <a:cubicBezTo>
                    <a:pt x="86" y="87"/>
                    <a:pt x="88" y="88"/>
                    <a:pt x="91" y="88"/>
                  </a:cubicBezTo>
                  <a:cubicBezTo>
                    <a:pt x="96" y="88"/>
                    <a:pt x="101" y="83"/>
                    <a:pt x="101" y="77"/>
                  </a:cubicBezTo>
                  <a:cubicBezTo>
                    <a:pt x="101" y="75"/>
                    <a:pt x="99" y="72"/>
                    <a:pt x="98" y="70"/>
                  </a:cubicBezTo>
                  <a:close/>
                  <a:moveTo>
                    <a:pt x="25" y="79"/>
                  </a:moveTo>
                  <a:cubicBezTo>
                    <a:pt x="19" y="73"/>
                    <a:pt x="15" y="66"/>
                    <a:pt x="13" y="58"/>
                  </a:cubicBezTo>
                  <a:cubicBezTo>
                    <a:pt x="17" y="56"/>
                    <a:pt x="20" y="53"/>
                    <a:pt x="20" y="48"/>
                  </a:cubicBezTo>
                  <a:cubicBezTo>
                    <a:pt x="20" y="44"/>
                    <a:pt x="17" y="40"/>
                    <a:pt x="13" y="39"/>
                  </a:cubicBezTo>
                  <a:cubicBezTo>
                    <a:pt x="15" y="31"/>
                    <a:pt x="19" y="24"/>
                    <a:pt x="25" y="18"/>
                  </a:cubicBezTo>
                  <a:cubicBezTo>
                    <a:pt x="33" y="10"/>
                    <a:pt x="44" y="6"/>
                    <a:pt x="55" y="6"/>
                  </a:cubicBezTo>
                  <a:cubicBezTo>
                    <a:pt x="67" y="6"/>
                    <a:pt x="77" y="10"/>
                    <a:pt x="85" y="18"/>
                  </a:cubicBezTo>
                  <a:cubicBezTo>
                    <a:pt x="93" y="26"/>
                    <a:pt x="98" y="37"/>
                    <a:pt x="98" y="48"/>
                  </a:cubicBezTo>
                  <a:cubicBezTo>
                    <a:pt x="98" y="55"/>
                    <a:pt x="96" y="62"/>
                    <a:pt x="93" y="68"/>
                  </a:cubicBezTo>
                  <a:cubicBezTo>
                    <a:pt x="92" y="67"/>
                    <a:pt x="91" y="67"/>
                    <a:pt x="90" y="67"/>
                  </a:cubicBezTo>
                  <a:cubicBezTo>
                    <a:pt x="85" y="67"/>
                    <a:pt x="80" y="72"/>
                    <a:pt x="80" y="77"/>
                  </a:cubicBezTo>
                  <a:cubicBezTo>
                    <a:pt x="80" y="79"/>
                    <a:pt x="81" y="81"/>
                    <a:pt x="81" y="82"/>
                  </a:cubicBezTo>
                  <a:cubicBezTo>
                    <a:pt x="74" y="88"/>
                    <a:pt x="65" y="91"/>
                    <a:pt x="55" y="91"/>
                  </a:cubicBezTo>
                  <a:cubicBezTo>
                    <a:pt x="44" y="91"/>
                    <a:pt x="33" y="87"/>
                    <a:pt x="25" y="79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7519453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C15CE-5FC4-4E5E-95ED-CF5D3F00E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66" y="781163"/>
            <a:ext cx="11306469" cy="616379"/>
          </a:xfrm>
        </p:spPr>
        <p:txBody>
          <a:bodyPr/>
          <a:lstStyle/>
          <a:p>
            <a:pPr algn="ctr"/>
            <a:r>
              <a:rPr lang="en-US"/>
              <a:t>Azure Stack Hub: An extension of Azur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41C51A3-5DFF-4566-B218-8947F53223DC}"/>
              </a:ext>
            </a:extLst>
          </p:cNvPr>
          <p:cNvSpPr/>
          <p:nvPr/>
        </p:nvSpPr>
        <p:spPr bwMode="auto">
          <a:xfrm>
            <a:off x="2575218" y="3833988"/>
            <a:ext cx="683703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60C660E-AC20-4B8D-836A-16B842324BD1}"/>
              </a:ext>
            </a:extLst>
          </p:cNvPr>
          <p:cNvSpPr/>
          <p:nvPr/>
        </p:nvSpPr>
        <p:spPr bwMode="auto">
          <a:xfrm>
            <a:off x="5782690" y="3833988"/>
            <a:ext cx="626620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8B7F605-073D-4882-99BE-6BE383EC6993}"/>
              </a:ext>
            </a:extLst>
          </p:cNvPr>
          <p:cNvSpPr txBox="1"/>
          <p:nvPr/>
        </p:nvSpPr>
        <p:spPr>
          <a:xfrm>
            <a:off x="1636909" y="4236831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Consistent application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develop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12D1DF-4AA8-4FCD-B3E2-9B88AF4E3CC8}"/>
              </a:ext>
            </a:extLst>
          </p:cNvPr>
          <p:cNvSpPr txBox="1"/>
          <p:nvPr/>
        </p:nvSpPr>
        <p:spPr>
          <a:xfrm>
            <a:off x="4815840" y="4236831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3C6C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zure services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vailable on-premi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602FCA-3D88-4ED4-8820-BB60248A28B4}"/>
              </a:ext>
            </a:extLst>
          </p:cNvPr>
          <p:cNvSpPr txBox="1"/>
          <p:nvPr/>
        </p:nvSpPr>
        <p:spPr>
          <a:xfrm>
            <a:off x="7994771" y="4236831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Purpose-built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integrated system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F0B021-A224-49AF-9850-25CD30003CBE}"/>
              </a:ext>
            </a:extLst>
          </p:cNvPr>
          <p:cNvSpPr/>
          <p:nvPr/>
        </p:nvSpPr>
        <p:spPr bwMode="auto">
          <a:xfrm>
            <a:off x="8963863" y="3833988"/>
            <a:ext cx="622137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3" name="Group 12" descr="consistency">
            <a:extLst>
              <a:ext uri="{FF2B5EF4-FFF2-40B4-BE49-F238E27FC236}">
                <a16:creationId xmlns:a16="http://schemas.microsoft.com/office/drawing/2014/main" id="{5ABA2487-6C68-4B8A-9381-F509EEEBD25F}"/>
              </a:ext>
            </a:extLst>
          </p:cNvPr>
          <p:cNvGrpSpPr/>
          <p:nvPr/>
        </p:nvGrpSpPr>
        <p:grpSpPr>
          <a:xfrm>
            <a:off x="2631410" y="2861869"/>
            <a:ext cx="571318" cy="569276"/>
            <a:chOff x="5422662" y="5746953"/>
            <a:chExt cx="435762" cy="434205"/>
          </a:xfrm>
        </p:grpSpPr>
        <p:sp>
          <p:nvSpPr>
            <p:cNvPr id="23" name="Freeform 841">
              <a:extLst>
                <a:ext uri="{FF2B5EF4-FFF2-40B4-BE49-F238E27FC236}">
                  <a16:creationId xmlns:a16="http://schemas.microsoft.com/office/drawing/2014/main" id="{D0DE1E89-12EE-4382-81E0-56416226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83" y="5815430"/>
              <a:ext cx="133841" cy="348609"/>
            </a:xfrm>
            <a:custGeom>
              <a:avLst/>
              <a:gdLst>
                <a:gd name="T0" fmla="*/ 116 w 116"/>
                <a:gd name="T1" fmla="*/ 133 h 304"/>
                <a:gd name="T2" fmla="*/ 60 w 116"/>
                <a:gd name="T3" fmla="*/ 0 h 304"/>
                <a:gd name="T4" fmla="*/ 46 w 116"/>
                <a:gd name="T5" fmla="*/ 14 h 304"/>
                <a:gd name="T6" fmla="*/ 48 w 116"/>
                <a:gd name="T7" fmla="*/ 16 h 304"/>
                <a:gd name="T8" fmla="*/ 83 w 116"/>
                <a:gd name="T9" fmla="*/ 68 h 304"/>
                <a:gd name="T10" fmla="*/ 96 w 116"/>
                <a:gd name="T11" fmla="*/ 133 h 304"/>
                <a:gd name="T12" fmla="*/ 83 w 116"/>
                <a:gd name="T13" fmla="*/ 197 h 304"/>
                <a:gd name="T14" fmla="*/ 47 w 116"/>
                <a:gd name="T15" fmla="*/ 250 h 304"/>
                <a:gd name="T16" fmla="*/ 19 w 116"/>
                <a:gd name="T17" fmla="*/ 273 h 304"/>
                <a:gd name="T18" fmla="*/ 5 w 116"/>
                <a:gd name="T19" fmla="*/ 255 h 304"/>
                <a:gd name="T20" fmla="*/ 0 w 116"/>
                <a:gd name="T21" fmla="*/ 299 h 304"/>
                <a:gd name="T22" fmla="*/ 43 w 116"/>
                <a:gd name="T23" fmla="*/ 304 h 304"/>
                <a:gd name="T24" fmla="*/ 31 w 116"/>
                <a:gd name="T25" fmla="*/ 289 h 304"/>
                <a:gd name="T26" fmla="*/ 116 w 116"/>
                <a:gd name="T27" fmla="*/ 13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04">
                  <a:moveTo>
                    <a:pt x="116" y="133"/>
                  </a:moveTo>
                  <a:cubicBezTo>
                    <a:pt x="116" y="81"/>
                    <a:pt x="94" y="33"/>
                    <a:pt x="60" y="0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5"/>
                    <a:pt x="48" y="16"/>
                  </a:cubicBezTo>
                  <a:cubicBezTo>
                    <a:pt x="63" y="31"/>
                    <a:pt x="75" y="49"/>
                    <a:pt x="83" y="68"/>
                  </a:cubicBezTo>
                  <a:cubicBezTo>
                    <a:pt x="92" y="89"/>
                    <a:pt x="96" y="111"/>
                    <a:pt x="96" y="133"/>
                  </a:cubicBezTo>
                  <a:cubicBezTo>
                    <a:pt x="96" y="155"/>
                    <a:pt x="91" y="177"/>
                    <a:pt x="83" y="197"/>
                  </a:cubicBezTo>
                  <a:cubicBezTo>
                    <a:pt x="74" y="217"/>
                    <a:pt x="62" y="235"/>
                    <a:pt x="47" y="250"/>
                  </a:cubicBezTo>
                  <a:cubicBezTo>
                    <a:pt x="39" y="259"/>
                    <a:pt x="29" y="266"/>
                    <a:pt x="19" y="273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43" y="304"/>
                    <a:pt x="43" y="304"/>
                    <a:pt x="43" y="304"/>
                  </a:cubicBezTo>
                  <a:cubicBezTo>
                    <a:pt x="31" y="289"/>
                    <a:pt x="31" y="289"/>
                    <a:pt x="31" y="289"/>
                  </a:cubicBezTo>
                  <a:cubicBezTo>
                    <a:pt x="82" y="255"/>
                    <a:pt x="116" y="198"/>
                    <a:pt x="116" y="133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4" name="Freeform 842">
              <a:extLst>
                <a:ext uri="{FF2B5EF4-FFF2-40B4-BE49-F238E27FC236}">
                  <a16:creationId xmlns:a16="http://schemas.microsoft.com/office/drawing/2014/main" id="{A990DD9D-08E9-41F1-B9CA-79F6B92AF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662" y="6009966"/>
              <a:ext cx="273908" cy="171192"/>
            </a:xfrm>
            <a:custGeom>
              <a:avLst/>
              <a:gdLst>
                <a:gd name="T0" fmla="*/ 232 w 238"/>
                <a:gd name="T1" fmla="*/ 124 h 148"/>
                <a:gd name="T2" fmla="*/ 192 w 238"/>
                <a:gd name="T3" fmla="*/ 128 h 148"/>
                <a:gd name="T4" fmla="*/ 192 w 238"/>
                <a:gd name="T5" fmla="*/ 128 h 148"/>
                <a:gd name="T6" fmla="*/ 127 w 238"/>
                <a:gd name="T7" fmla="*/ 115 h 148"/>
                <a:gd name="T8" fmla="*/ 75 w 238"/>
                <a:gd name="T9" fmla="*/ 80 h 148"/>
                <a:gd name="T10" fmla="*/ 41 w 238"/>
                <a:gd name="T11" fmla="*/ 30 h 148"/>
                <a:gd name="T12" fmla="*/ 61 w 238"/>
                <a:gd name="T13" fmla="*/ 26 h 148"/>
                <a:gd name="T14" fmla="*/ 26 w 238"/>
                <a:gd name="T15" fmla="*/ 0 h 148"/>
                <a:gd name="T16" fmla="*/ 0 w 238"/>
                <a:gd name="T17" fmla="*/ 36 h 148"/>
                <a:gd name="T18" fmla="*/ 20 w 238"/>
                <a:gd name="T19" fmla="*/ 33 h 148"/>
                <a:gd name="T20" fmla="*/ 192 w 238"/>
                <a:gd name="T21" fmla="*/ 148 h 148"/>
                <a:gd name="T22" fmla="*/ 192 w 238"/>
                <a:gd name="T23" fmla="*/ 148 h 148"/>
                <a:gd name="T24" fmla="*/ 238 w 238"/>
                <a:gd name="T25" fmla="*/ 143 h 148"/>
                <a:gd name="T26" fmla="*/ 232 w 238"/>
                <a:gd name="T27" fmla="*/ 12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148">
                  <a:moveTo>
                    <a:pt x="232" y="124"/>
                  </a:moveTo>
                  <a:cubicBezTo>
                    <a:pt x="219" y="127"/>
                    <a:pt x="206" y="128"/>
                    <a:pt x="192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70" y="128"/>
                    <a:pt x="148" y="124"/>
                    <a:pt x="127" y="115"/>
                  </a:cubicBezTo>
                  <a:cubicBezTo>
                    <a:pt x="108" y="107"/>
                    <a:pt x="90" y="95"/>
                    <a:pt x="75" y="80"/>
                  </a:cubicBezTo>
                  <a:cubicBezTo>
                    <a:pt x="60" y="65"/>
                    <a:pt x="49" y="48"/>
                    <a:pt x="41" y="3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48" y="100"/>
                    <a:pt x="114" y="148"/>
                    <a:pt x="192" y="148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208" y="148"/>
                    <a:pt x="223" y="146"/>
                    <a:pt x="238" y="143"/>
                  </a:cubicBezTo>
                  <a:lnTo>
                    <a:pt x="232" y="124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5" name="Freeform 843">
              <a:extLst>
                <a:ext uri="{FF2B5EF4-FFF2-40B4-BE49-F238E27FC236}">
                  <a16:creationId xmlns:a16="http://schemas.microsoft.com/office/drawing/2014/main" id="{9CB0AED1-02F6-4EAD-967E-4DFCB565B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444" y="5746953"/>
              <a:ext cx="325266" cy="216325"/>
            </a:xfrm>
            <a:custGeom>
              <a:avLst/>
              <a:gdLst>
                <a:gd name="T0" fmla="*/ 282 w 282"/>
                <a:gd name="T1" fmla="*/ 40 h 188"/>
                <a:gd name="T2" fmla="*/ 264 w 282"/>
                <a:gd name="T3" fmla="*/ 0 h 188"/>
                <a:gd name="T4" fmla="*/ 257 w 282"/>
                <a:gd name="T5" fmla="*/ 20 h 188"/>
                <a:gd name="T6" fmla="*/ 186 w 282"/>
                <a:gd name="T7" fmla="*/ 6 h 188"/>
                <a:gd name="T8" fmla="*/ 185 w 282"/>
                <a:gd name="T9" fmla="*/ 6 h 188"/>
                <a:gd name="T10" fmla="*/ 0 w 282"/>
                <a:gd name="T11" fmla="*/ 188 h 188"/>
                <a:gd name="T12" fmla="*/ 20 w 282"/>
                <a:gd name="T13" fmla="*/ 188 h 188"/>
                <a:gd name="T14" fmla="*/ 33 w 282"/>
                <a:gd name="T15" fmla="*/ 127 h 188"/>
                <a:gd name="T16" fmla="*/ 68 w 282"/>
                <a:gd name="T17" fmla="*/ 74 h 188"/>
                <a:gd name="T18" fmla="*/ 121 w 282"/>
                <a:gd name="T19" fmla="*/ 39 h 188"/>
                <a:gd name="T20" fmla="*/ 185 w 282"/>
                <a:gd name="T21" fmla="*/ 26 h 188"/>
                <a:gd name="T22" fmla="*/ 185 w 282"/>
                <a:gd name="T23" fmla="*/ 26 h 188"/>
                <a:gd name="T24" fmla="*/ 249 w 282"/>
                <a:gd name="T25" fmla="*/ 39 h 188"/>
                <a:gd name="T26" fmla="*/ 242 w 282"/>
                <a:gd name="T27" fmla="*/ 58 h 188"/>
                <a:gd name="T28" fmla="*/ 282 w 282"/>
                <a:gd name="T29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2" h="188">
                  <a:moveTo>
                    <a:pt x="282" y="40"/>
                  </a:moveTo>
                  <a:cubicBezTo>
                    <a:pt x="264" y="0"/>
                    <a:pt x="264" y="0"/>
                    <a:pt x="264" y="0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35" y="11"/>
                    <a:pt x="211" y="6"/>
                    <a:pt x="186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84" y="6"/>
                    <a:pt x="2" y="87"/>
                    <a:pt x="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20" y="167"/>
                    <a:pt x="24" y="146"/>
                    <a:pt x="33" y="127"/>
                  </a:cubicBezTo>
                  <a:cubicBezTo>
                    <a:pt x="41" y="107"/>
                    <a:pt x="53" y="90"/>
                    <a:pt x="68" y="74"/>
                  </a:cubicBezTo>
                  <a:cubicBezTo>
                    <a:pt x="83" y="59"/>
                    <a:pt x="101" y="47"/>
                    <a:pt x="121" y="39"/>
                  </a:cubicBezTo>
                  <a:cubicBezTo>
                    <a:pt x="141" y="30"/>
                    <a:pt x="163" y="26"/>
                    <a:pt x="185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208" y="26"/>
                    <a:pt x="229" y="30"/>
                    <a:pt x="249" y="39"/>
                  </a:cubicBezTo>
                  <a:cubicBezTo>
                    <a:pt x="242" y="58"/>
                    <a:pt x="242" y="58"/>
                    <a:pt x="242" y="58"/>
                  </a:cubicBezTo>
                  <a:lnTo>
                    <a:pt x="282" y="4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6" name="Freeform 844">
              <a:extLst>
                <a:ext uri="{FF2B5EF4-FFF2-40B4-BE49-F238E27FC236}">
                  <a16:creationId xmlns:a16="http://schemas.microsoft.com/office/drawing/2014/main" id="{0E4C0059-3278-4E06-940D-9845E9120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8026" y="5810760"/>
              <a:ext cx="308146" cy="306590"/>
            </a:xfrm>
            <a:custGeom>
              <a:avLst/>
              <a:gdLst>
                <a:gd name="T0" fmla="*/ 267 w 267"/>
                <a:gd name="T1" fmla="*/ 153 h 267"/>
                <a:gd name="T2" fmla="*/ 267 w 267"/>
                <a:gd name="T3" fmla="*/ 114 h 267"/>
                <a:gd name="T4" fmla="*/ 239 w 267"/>
                <a:gd name="T5" fmla="*/ 114 h 267"/>
                <a:gd name="T6" fmla="*/ 222 w 267"/>
                <a:gd name="T7" fmla="*/ 73 h 267"/>
                <a:gd name="T8" fmla="*/ 242 w 267"/>
                <a:gd name="T9" fmla="*/ 53 h 267"/>
                <a:gd name="T10" fmla="*/ 215 w 267"/>
                <a:gd name="T11" fmla="*/ 25 h 267"/>
                <a:gd name="T12" fmla="*/ 195 w 267"/>
                <a:gd name="T13" fmla="*/ 45 h 267"/>
                <a:gd name="T14" fmla="*/ 153 w 267"/>
                <a:gd name="T15" fmla="*/ 28 h 267"/>
                <a:gd name="T16" fmla="*/ 153 w 267"/>
                <a:gd name="T17" fmla="*/ 0 h 267"/>
                <a:gd name="T18" fmla="*/ 114 w 267"/>
                <a:gd name="T19" fmla="*/ 0 h 267"/>
                <a:gd name="T20" fmla="*/ 114 w 267"/>
                <a:gd name="T21" fmla="*/ 28 h 267"/>
                <a:gd name="T22" fmla="*/ 73 w 267"/>
                <a:gd name="T23" fmla="*/ 45 h 267"/>
                <a:gd name="T24" fmla="*/ 53 w 267"/>
                <a:gd name="T25" fmla="*/ 25 h 267"/>
                <a:gd name="T26" fmla="*/ 25 w 267"/>
                <a:gd name="T27" fmla="*/ 53 h 267"/>
                <a:gd name="T28" fmla="*/ 46 w 267"/>
                <a:gd name="T29" fmla="*/ 73 h 267"/>
                <a:gd name="T30" fmla="*/ 29 w 267"/>
                <a:gd name="T31" fmla="*/ 114 h 267"/>
                <a:gd name="T32" fmla="*/ 0 w 267"/>
                <a:gd name="T33" fmla="*/ 114 h 267"/>
                <a:gd name="T34" fmla="*/ 0 w 267"/>
                <a:gd name="T35" fmla="*/ 153 h 267"/>
                <a:gd name="T36" fmla="*/ 30 w 267"/>
                <a:gd name="T37" fmla="*/ 153 h 267"/>
                <a:gd name="T38" fmla="*/ 46 w 267"/>
                <a:gd name="T39" fmla="*/ 193 h 267"/>
                <a:gd name="T40" fmla="*/ 25 w 267"/>
                <a:gd name="T41" fmla="*/ 214 h 267"/>
                <a:gd name="T42" fmla="*/ 53 w 267"/>
                <a:gd name="T43" fmla="*/ 242 h 267"/>
                <a:gd name="T44" fmla="*/ 74 w 267"/>
                <a:gd name="T45" fmla="*/ 221 h 267"/>
                <a:gd name="T46" fmla="*/ 114 w 267"/>
                <a:gd name="T47" fmla="*/ 237 h 267"/>
                <a:gd name="T48" fmla="*/ 114 w 267"/>
                <a:gd name="T49" fmla="*/ 267 h 267"/>
                <a:gd name="T50" fmla="*/ 153 w 267"/>
                <a:gd name="T51" fmla="*/ 267 h 267"/>
                <a:gd name="T52" fmla="*/ 153 w 267"/>
                <a:gd name="T53" fmla="*/ 238 h 267"/>
                <a:gd name="T54" fmla="*/ 194 w 267"/>
                <a:gd name="T55" fmla="*/ 221 h 267"/>
                <a:gd name="T56" fmla="*/ 214 w 267"/>
                <a:gd name="T57" fmla="*/ 242 h 267"/>
                <a:gd name="T58" fmla="*/ 242 w 267"/>
                <a:gd name="T59" fmla="*/ 215 h 267"/>
                <a:gd name="T60" fmla="*/ 221 w 267"/>
                <a:gd name="T61" fmla="*/ 194 h 267"/>
                <a:gd name="T62" fmla="*/ 239 w 267"/>
                <a:gd name="T63" fmla="*/ 153 h 267"/>
                <a:gd name="T64" fmla="*/ 267 w 267"/>
                <a:gd name="T65" fmla="*/ 15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7" h="267">
                  <a:moveTo>
                    <a:pt x="267" y="153"/>
                  </a:moveTo>
                  <a:cubicBezTo>
                    <a:pt x="267" y="114"/>
                    <a:pt x="267" y="114"/>
                    <a:pt x="267" y="114"/>
                  </a:cubicBezTo>
                  <a:cubicBezTo>
                    <a:pt x="239" y="114"/>
                    <a:pt x="239" y="114"/>
                    <a:pt x="239" y="114"/>
                  </a:cubicBezTo>
                  <a:cubicBezTo>
                    <a:pt x="237" y="99"/>
                    <a:pt x="231" y="85"/>
                    <a:pt x="222" y="7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15" y="25"/>
                    <a:pt x="215" y="25"/>
                    <a:pt x="215" y="2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83" y="36"/>
                    <a:pt x="169" y="31"/>
                    <a:pt x="153" y="28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99" y="31"/>
                    <a:pt x="85" y="37"/>
                    <a:pt x="73" y="4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8" y="85"/>
                    <a:pt x="32" y="99"/>
                    <a:pt x="29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32" y="168"/>
                    <a:pt x="38" y="181"/>
                    <a:pt x="46" y="193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53" y="242"/>
                    <a:pt x="53" y="242"/>
                    <a:pt x="53" y="242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86" y="229"/>
                    <a:pt x="99" y="235"/>
                    <a:pt x="114" y="237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53" y="267"/>
                    <a:pt x="153" y="267"/>
                    <a:pt x="153" y="267"/>
                  </a:cubicBezTo>
                  <a:cubicBezTo>
                    <a:pt x="153" y="238"/>
                    <a:pt x="153" y="238"/>
                    <a:pt x="153" y="238"/>
                  </a:cubicBezTo>
                  <a:cubicBezTo>
                    <a:pt x="168" y="235"/>
                    <a:pt x="182" y="229"/>
                    <a:pt x="194" y="221"/>
                  </a:cubicBezTo>
                  <a:cubicBezTo>
                    <a:pt x="214" y="242"/>
                    <a:pt x="214" y="242"/>
                    <a:pt x="214" y="242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30" y="182"/>
                    <a:pt x="236" y="168"/>
                    <a:pt x="239" y="153"/>
                  </a:cubicBezTo>
                  <a:lnTo>
                    <a:pt x="267" y="15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" name="Oval 845">
              <a:extLst>
                <a:ext uri="{FF2B5EF4-FFF2-40B4-BE49-F238E27FC236}">
                  <a16:creationId xmlns:a16="http://schemas.microsoft.com/office/drawing/2014/main" id="{1EF17A15-E915-497E-A143-9F27A332B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285" y="5885463"/>
              <a:ext cx="157186" cy="1556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8" name="Group 60" descr=" bidirectional, junction, split, change course">
            <a:extLst>
              <a:ext uri="{FF2B5EF4-FFF2-40B4-BE49-F238E27FC236}">
                <a16:creationId xmlns:a16="http://schemas.microsoft.com/office/drawing/2014/main" id="{1F07FE6F-5219-48F9-8251-BCE8BA9132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7459" y="2914439"/>
            <a:ext cx="437082" cy="464136"/>
            <a:chOff x="5796" y="793"/>
            <a:chExt cx="210" cy="223"/>
          </a:xfrm>
        </p:grpSpPr>
        <p:sp>
          <p:nvSpPr>
            <p:cNvPr id="29" name="AutoShape 59">
              <a:extLst>
                <a:ext uri="{FF2B5EF4-FFF2-40B4-BE49-F238E27FC236}">
                  <a16:creationId xmlns:a16="http://schemas.microsoft.com/office/drawing/2014/main" id="{B8D0E812-1E7B-4236-8393-16E26D5B075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96" y="793"/>
              <a:ext cx="21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1">
              <a:extLst>
                <a:ext uri="{FF2B5EF4-FFF2-40B4-BE49-F238E27FC236}">
                  <a16:creationId xmlns:a16="http://schemas.microsoft.com/office/drawing/2014/main" id="{701B8186-0513-416A-94F4-D45C78A27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793"/>
              <a:ext cx="121" cy="113"/>
            </a:xfrm>
            <a:custGeom>
              <a:avLst/>
              <a:gdLst>
                <a:gd name="T0" fmla="*/ 55 w 104"/>
                <a:gd name="T1" fmla="*/ 0 h 97"/>
                <a:gd name="T2" fmla="*/ 0 w 104"/>
                <a:gd name="T3" fmla="*/ 16 h 97"/>
                <a:gd name="T4" fmla="*/ 42 w 104"/>
                <a:gd name="T5" fmla="*/ 55 h 97"/>
                <a:gd name="T6" fmla="*/ 45 w 104"/>
                <a:gd name="T7" fmla="*/ 42 h 97"/>
                <a:gd name="T8" fmla="*/ 75 w 104"/>
                <a:gd name="T9" fmla="*/ 97 h 97"/>
                <a:gd name="T10" fmla="*/ 104 w 104"/>
                <a:gd name="T11" fmla="*/ 97 h 97"/>
                <a:gd name="T12" fmla="*/ 53 w 104"/>
                <a:gd name="T13" fmla="*/ 13 h 97"/>
                <a:gd name="T14" fmla="*/ 55 w 104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7">
                  <a:moveTo>
                    <a:pt x="5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4" y="54"/>
                    <a:pt x="75" y="75"/>
                    <a:pt x="75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61"/>
                    <a:pt x="84" y="29"/>
                    <a:pt x="53" y="13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">
              <a:extLst>
                <a:ext uri="{FF2B5EF4-FFF2-40B4-BE49-F238E27FC236}">
                  <a16:creationId xmlns:a16="http://schemas.microsoft.com/office/drawing/2014/main" id="{3B2D3459-52C1-4CE5-A3D7-FF9598EA7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" y="793"/>
              <a:ext cx="121" cy="223"/>
            </a:xfrm>
            <a:custGeom>
              <a:avLst/>
              <a:gdLst>
                <a:gd name="T0" fmla="*/ 52 w 104"/>
                <a:gd name="T1" fmla="*/ 13 h 192"/>
                <a:gd name="T2" fmla="*/ 0 w 104"/>
                <a:gd name="T3" fmla="*/ 97 h 192"/>
                <a:gd name="T4" fmla="*/ 97 w 104"/>
                <a:gd name="T5" fmla="*/ 192 h 192"/>
                <a:gd name="T6" fmla="*/ 97 w 104"/>
                <a:gd name="T7" fmla="*/ 163 h 192"/>
                <a:gd name="T8" fmla="*/ 29 w 104"/>
                <a:gd name="T9" fmla="*/ 97 h 192"/>
                <a:gd name="T10" fmla="*/ 60 w 104"/>
                <a:gd name="T11" fmla="*/ 42 h 192"/>
                <a:gd name="T12" fmla="*/ 63 w 104"/>
                <a:gd name="T13" fmla="*/ 55 h 192"/>
                <a:gd name="T14" fmla="*/ 104 w 104"/>
                <a:gd name="T15" fmla="*/ 16 h 192"/>
                <a:gd name="T16" fmla="*/ 49 w 104"/>
                <a:gd name="T17" fmla="*/ 0 h 192"/>
                <a:gd name="T18" fmla="*/ 52 w 104"/>
                <a:gd name="T19" fmla="*/ 1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92">
                  <a:moveTo>
                    <a:pt x="52" y="13"/>
                  </a:moveTo>
                  <a:cubicBezTo>
                    <a:pt x="21" y="29"/>
                    <a:pt x="0" y="61"/>
                    <a:pt x="0" y="97"/>
                  </a:cubicBezTo>
                  <a:cubicBezTo>
                    <a:pt x="0" y="149"/>
                    <a:pt x="43" y="192"/>
                    <a:pt x="97" y="192"/>
                  </a:cubicBezTo>
                  <a:cubicBezTo>
                    <a:pt x="97" y="163"/>
                    <a:pt x="97" y="163"/>
                    <a:pt x="97" y="163"/>
                  </a:cubicBezTo>
                  <a:cubicBezTo>
                    <a:pt x="60" y="163"/>
                    <a:pt x="29" y="133"/>
                    <a:pt x="29" y="97"/>
                  </a:cubicBezTo>
                  <a:cubicBezTo>
                    <a:pt x="29" y="75"/>
                    <a:pt x="41" y="54"/>
                    <a:pt x="60" y="42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2" y="1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Group 31" descr="gears, process, precision, productivity, mechanical">
            <a:extLst>
              <a:ext uri="{FF2B5EF4-FFF2-40B4-BE49-F238E27FC236}">
                <a16:creationId xmlns:a16="http://schemas.microsoft.com/office/drawing/2014/main" id="{5B3E64F7-D0C8-478F-B7E3-4AD6D4BECB9B}"/>
              </a:ext>
            </a:extLst>
          </p:cNvPr>
          <p:cNvGrpSpPr/>
          <p:nvPr/>
        </p:nvGrpSpPr>
        <p:grpSpPr>
          <a:xfrm>
            <a:off x="9027187" y="2878946"/>
            <a:ext cx="495488" cy="535122"/>
            <a:chOff x="696496" y="5670715"/>
            <a:chExt cx="377924" cy="408154"/>
          </a:xfrm>
        </p:grpSpPr>
        <p:sp>
          <p:nvSpPr>
            <p:cNvPr id="33" name="Freeform 92">
              <a:extLst>
                <a:ext uri="{FF2B5EF4-FFF2-40B4-BE49-F238E27FC236}">
                  <a16:creationId xmlns:a16="http://schemas.microsoft.com/office/drawing/2014/main" id="{147F3BE8-C757-4298-BB2B-8442B01B4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59" y="5869123"/>
              <a:ext cx="243761" cy="209746"/>
            </a:xfrm>
            <a:custGeom>
              <a:avLst/>
              <a:gdLst>
                <a:gd name="T0" fmla="*/ 112 w 122"/>
                <a:gd name="T1" fmla="*/ 43 h 105"/>
                <a:gd name="T2" fmla="*/ 111 w 122"/>
                <a:gd name="T3" fmla="*/ 32 h 105"/>
                <a:gd name="T4" fmla="*/ 108 w 122"/>
                <a:gd name="T5" fmla="*/ 22 h 105"/>
                <a:gd name="T6" fmla="*/ 117 w 122"/>
                <a:gd name="T7" fmla="*/ 15 h 105"/>
                <a:gd name="T8" fmla="*/ 107 w 122"/>
                <a:gd name="T9" fmla="*/ 0 h 105"/>
                <a:gd name="T10" fmla="*/ 100 w 122"/>
                <a:gd name="T11" fmla="*/ 3 h 105"/>
                <a:gd name="T12" fmla="*/ 100 w 122"/>
                <a:gd name="T13" fmla="*/ 4 h 105"/>
                <a:gd name="T14" fmla="*/ 92 w 122"/>
                <a:gd name="T15" fmla="*/ 24 h 105"/>
                <a:gd name="T16" fmla="*/ 87 w 122"/>
                <a:gd name="T17" fmla="*/ 35 h 105"/>
                <a:gd name="T18" fmla="*/ 76 w 122"/>
                <a:gd name="T19" fmla="*/ 32 h 105"/>
                <a:gd name="T20" fmla="*/ 62 w 122"/>
                <a:gd name="T21" fmla="*/ 28 h 105"/>
                <a:gd name="T22" fmla="*/ 60 w 122"/>
                <a:gd name="T23" fmla="*/ 30 h 105"/>
                <a:gd name="T24" fmla="*/ 64 w 122"/>
                <a:gd name="T25" fmla="*/ 44 h 105"/>
                <a:gd name="T26" fmla="*/ 66 w 122"/>
                <a:gd name="T27" fmla="*/ 55 h 105"/>
                <a:gd name="T28" fmla="*/ 56 w 122"/>
                <a:gd name="T29" fmla="*/ 60 h 105"/>
                <a:gd name="T30" fmla="*/ 36 w 122"/>
                <a:gd name="T31" fmla="*/ 68 h 105"/>
                <a:gd name="T32" fmla="*/ 25 w 122"/>
                <a:gd name="T33" fmla="*/ 73 h 105"/>
                <a:gd name="T34" fmla="*/ 19 w 122"/>
                <a:gd name="T35" fmla="*/ 63 h 105"/>
                <a:gd name="T36" fmla="*/ 12 w 122"/>
                <a:gd name="T37" fmla="*/ 50 h 105"/>
                <a:gd name="T38" fmla="*/ 10 w 122"/>
                <a:gd name="T39" fmla="*/ 50 h 105"/>
                <a:gd name="T40" fmla="*/ 9 w 122"/>
                <a:gd name="T41" fmla="*/ 50 h 105"/>
                <a:gd name="T42" fmla="*/ 7 w 122"/>
                <a:gd name="T43" fmla="*/ 55 h 105"/>
                <a:gd name="T44" fmla="*/ 8 w 122"/>
                <a:gd name="T45" fmla="*/ 61 h 105"/>
                <a:gd name="T46" fmla="*/ 0 w 122"/>
                <a:gd name="T47" fmla="*/ 68 h 105"/>
                <a:gd name="T48" fmla="*/ 9 w 122"/>
                <a:gd name="T49" fmla="*/ 83 h 105"/>
                <a:gd name="T50" fmla="*/ 20 w 122"/>
                <a:gd name="T51" fmla="*/ 78 h 105"/>
                <a:gd name="T52" fmla="*/ 37 w 122"/>
                <a:gd name="T53" fmla="*/ 90 h 105"/>
                <a:gd name="T54" fmla="*/ 36 w 122"/>
                <a:gd name="T55" fmla="*/ 101 h 105"/>
                <a:gd name="T56" fmla="*/ 53 w 122"/>
                <a:gd name="T57" fmla="*/ 105 h 105"/>
                <a:gd name="T58" fmla="*/ 57 w 122"/>
                <a:gd name="T59" fmla="*/ 95 h 105"/>
                <a:gd name="T60" fmla="*/ 68 w 122"/>
                <a:gd name="T61" fmla="*/ 94 h 105"/>
                <a:gd name="T62" fmla="*/ 78 w 122"/>
                <a:gd name="T63" fmla="*/ 92 h 105"/>
                <a:gd name="T64" fmla="*/ 85 w 122"/>
                <a:gd name="T65" fmla="*/ 100 h 105"/>
                <a:gd name="T66" fmla="*/ 100 w 122"/>
                <a:gd name="T67" fmla="*/ 91 h 105"/>
                <a:gd name="T68" fmla="*/ 95 w 122"/>
                <a:gd name="T69" fmla="*/ 80 h 105"/>
                <a:gd name="T70" fmla="*/ 107 w 122"/>
                <a:gd name="T71" fmla="*/ 63 h 105"/>
                <a:gd name="T72" fmla="*/ 118 w 122"/>
                <a:gd name="T73" fmla="*/ 64 h 105"/>
                <a:gd name="T74" fmla="*/ 122 w 122"/>
                <a:gd name="T75" fmla="*/ 47 h 105"/>
                <a:gd name="T76" fmla="*/ 112 w 122"/>
                <a:gd name="T77" fmla="*/ 4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" h="105">
                  <a:moveTo>
                    <a:pt x="112" y="43"/>
                  </a:moveTo>
                  <a:cubicBezTo>
                    <a:pt x="112" y="40"/>
                    <a:pt x="112" y="36"/>
                    <a:pt x="111" y="32"/>
                  </a:cubicBezTo>
                  <a:cubicBezTo>
                    <a:pt x="111" y="29"/>
                    <a:pt x="110" y="26"/>
                    <a:pt x="108" y="22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1" y="29"/>
                    <a:pt x="61" y="29"/>
                    <a:pt x="60" y="30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8" y="59"/>
                    <a:pt x="8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4" y="83"/>
                    <a:pt x="30" y="88"/>
                    <a:pt x="37" y="9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60" y="95"/>
                    <a:pt x="64" y="95"/>
                    <a:pt x="68" y="94"/>
                  </a:cubicBezTo>
                  <a:cubicBezTo>
                    <a:pt x="71" y="94"/>
                    <a:pt x="74" y="93"/>
                    <a:pt x="78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100" y="76"/>
                    <a:pt x="104" y="70"/>
                    <a:pt x="107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112" y="43"/>
                  </a:ln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Freeform 93">
              <a:extLst>
                <a:ext uri="{FF2B5EF4-FFF2-40B4-BE49-F238E27FC236}">
                  <a16:creationId xmlns:a16="http://schemas.microsoft.com/office/drawing/2014/main" id="{E2A37218-F110-4A0B-853A-3CCA505F4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96" y="5670715"/>
              <a:ext cx="309897" cy="309894"/>
            </a:xfrm>
            <a:custGeom>
              <a:avLst/>
              <a:gdLst>
                <a:gd name="T0" fmla="*/ 57 w 155"/>
                <a:gd name="T1" fmla="*/ 0 h 155"/>
                <a:gd name="T2" fmla="*/ 70 w 155"/>
                <a:gd name="T3" fmla="*/ 20 h 155"/>
                <a:gd name="T4" fmla="*/ 77 w 155"/>
                <a:gd name="T5" fmla="*/ 20 h 155"/>
                <a:gd name="T6" fmla="*/ 85 w 155"/>
                <a:gd name="T7" fmla="*/ 20 h 155"/>
                <a:gd name="T8" fmla="*/ 98 w 155"/>
                <a:gd name="T9" fmla="*/ 0 h 155"/>
                <a:gd name="T10" fmla="*/ 118 w 155"/>
                <a:gd name="T11" fmla="*/ 8 h 155"/>
                <a:gd name="T12" fmla="*/ 112 w 155"/>
                <a:gd name="T13" fmla="*/ 32 h 155"/>
                <a:gd name="T14" fmla="*/ 123 w 155"/>
                <a:gd name="T15" fmla="*/ 43 h 155"/>
                <a:gd name="T16" fmla="*/ 147 w 155"/>
                <a:gd name="T17" fmla="*/ 37 h 155"/>
                <a:gd name="T18" fmla="*/ 155 w 155"/>
                <a:gd name="T19" fmla="*/ 57 h 155"/>
                <a:gd name="T20" fmla="*/ 135 w 155"/>
                <a:gd name="T21" fmla="*/ 69 h 155"/>
                <a:gd name="T22" fmla="*/ 135 w 155"/>
                <a:gd name="T23" fmla="*/ 85 h 155"/>
                <a:gd name="T24" fmla="*/ 155 w 155"/>
                <a:gd name="T25" fmla="*/ 98 h 155"/>
                <a:gd name="T26" fmla="*/ 146 w 155"/>
                <a:gd name="T27" fmla="*/ 118 h 155"/>
                <a:gd name="T28" fmla="*/ 124 w 155"/>
                <a:gd name="T29" fmla="*/ 112 h 155"/>
                <a:gd name="T30" fmla="*/ 112 w 155"/>
                <a:gd name="T31" fmla="*/ 124 h 155"/>
                <a:gd name="T32" fmla="*/ 118 w 155"/>
                <a:gd name="T33" fmla="*/ 146 h 155"/>
                <a:gd name="T34" fmla="*/ 98 w 155"/>
                <a:gd name="T35" fmla="*/ 155 h 155"/>
                <a:gd name="T36" fmla="*/ 86 w 155"/>
                <a:gd name="T37" fmla="*/ 135 h 155"/>
                <a:gd name="T38" fmla="*/ 77 w 155"/>
                <a:gd name="T39" fmla="*/ 136 h 155"/>
                <a:gd name="T40" fmla="*/ 69 w 155"/>
                <a:gd name="T41" fmla="*/ 135 h 155"/>
                <a:gd name="T42" fmla="*/ 57 w 155"/>
                <a:gd name="T43" fmla="*/ 155 h 155"/>
                <a:gd name="T44" fmla="*/ 37 w 155"/>
                <a:gd name="T45" fmla="*/ 146 h 155"/>
                <a:gd name="T46" fmla="*/ 42 w 155"/>
                <a:gd name="T47" fmla="*/ 124 h 155"/>
                <a:gd name="T48" fmla="*/ 30 w 155"/>
                <a:gd name="T49" fmla="*/ 112 h 155"/>
                <a:gd name="T50" fmla="*/ 8 w 155"/>
                <a:gd name="T51" fmla="*/ 117 h 155"/>
                <a:gd name="T52" fmla="*/ 0 w 155"/>
                <a:gd name="T53" fmla="*/ 97 h 155"/>
                <a:gd name="T54" fmla="*/ 20 w 155"/>
                <a:gd name="T55" fmla="*/ 86 h 155"/>
                <a:gd name="T56" fmla="*/ 20 w 155"/>
                <a:gd name="T57" fmla="*/ 69 h 155"/>
                <a:gd name="T58" fmla="*/ 0 w 155"/>
                <a:gd name="T59" fmla="*/ 57 h 155"/>
                <a:gd name="T60" fmla="*/ 9 w 155"/>
                <a:gd name="T61" fmla="*/ 37 h 155"/>
                <a:gd name="T62" fmla="*/ 31 w 155"/>
                <a:gd name="T63" fmla="*/ 42 h 155"/>
                <a:gd name="T64" fmla="*/ 43 w 155"/>
                <a:gd name="T65" fmla="*/ 31 h 155"/>
                <a:gd name="T66" fmla="*/ 37 w 155"/>
                <a:gd name="T67" fmla="*/ 8 h 155"/>
                <a:gd name="T68" fmla="*/ 57 w 155"/>
                <a:gd name="T6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57" y="0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72" y="20"/>
                    <a:pt x="75" y="20"/>
                    <a:pt x="77" y="20"/>
                  </a:cubicBezTo>
                  <a:cubicBezTo>
                    <a:pt x="80" y="20"/>
                    <a:pt x="83" y="20"/>
                    <a:pt x="85" y="2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7" y="35"/>
                    <a:pt x="120" y="39"/>
                    <a:pt x="123" y="43"/>
                  </a:cubicBezTo>
                  <a:cubicBezTo>
                    <a:pt x="147" y="37"/>
                    <a:pt x="147" y="37"/>
                    <a:pt x="147" y="37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35" y="69"/>
                    <a:pt x="135" y="69"/>
                    <a:pt x="135" y="69"/>
                  </a:cubicBezTo>
                  <a:cubicBezTo>
                    <a:pt x="135" y="75"/>
                    <a:pt x="135" y="80"/>
                    <a:pt x="135" y="8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1" y="117"/>
                    <a:pt x="117" y="121"/>
                    <a:pt x="112" y="124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3" y="136"/>
                    <a:pt x="80" y="136"/>
                    <a:pt x="77" y="136"/>
                  </a:cubicBezTo>
                  <a:cubicBezTo>
                    <a:pt x="74" y="136"/>
                    <a:pt x="72" y="136"/>
                    <a:pt x="69" y="13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38" y="121"/>
                    <a:pt x="34" y="117"/>
                    <a:pt x="30" y="11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0"/>
                    <a:pt x="19" y="75"/>
                    <a:pt x="20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8"/>
                    <a:pt x="38" y="34"/>
                    <a:pt x="43" y="31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456493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DEAC037-1E06-4BE7-8AE5-92543FA7CD3D}"/>
              </a:ext>
            </a:extLst>
          </p:cNvPr>
          <p:cNvSpPr/>
          <p:nvPr/>
        </p:nvSpPr>
        <p:spPr bwMode="auto">
          <a:xfrm flipV="1">
            <a:off x="0" y="4409769"/>
            <a:ext cx="12192000" cy="24482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BD79F03-F8B1-4616-B089-3FA1AC7C9D5F}"/>
              </a:ext>
            </a:extLst>
          </p:cNvPr>
          <p:cNvGrpSpPr/>
          <p:nvPr/>
        </p:nvGrpSpPr>
        <p:grpSpPr>
          <a:xfrm>
            <a:off x="450465" y="2150630"/>
            <a:ext cx="11314328" cy="1319859"/>
            <a:chOff x="450465" y="2150630"/>
            <a:chExt cx="11314328" cy="131985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7D9071B-AB4F-4895-B355-2AC38157C313}"/>
                </a:ext>
              </a:extLst>
            </p:cNvPr>
            <p:cNvSpPr txBox="1"/>
            <p:nvPr/>
          </p:nvSpPr>
          <p:spPr>
            <a:xfrm>
              <a:off x="10082497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Opera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156C66A-F74B-451C-B644-E503144D65F7}"/>
                </a:ext>
              </a:extLst>
            </p:cNvPr>
            <p:cNvSpPr txBox="1"/>
            <p:nvPr/>
          </p:nvSpPr>
          <p:spPr>
            <a:xfrm>
              <a:off x="8156089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Automation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44A5F5C-76A3-4B8D-8328-3CF48E9CE005}"/>
                </a:ext>
              </a:extLst>
            </p:cNvPr>
            <p:cNvSpPr txBox="1"/>
            <p:nvPr/>
          </p:nvSpPr>
          <p:spPr>
            <a:xfrm>
              <a:off x="4303277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ploymen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A0AA448-826A-4893-8618-BCB6F89A7F0D}"/>
                </a:ext>
              </a:extLst>
            </p:cNvPr>
            <p:cNvSpPr txBox="1"/>
            <p:nvPr/>
          </p:nvSpPr>
          <p:spPr>
            <a:xfrm>
              <a:off x="2376871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Experience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F7CA4F2-C3EB-4BEE-9201-4477FD47111A}"/>
                </a:ext>
              </a:extLst>
            </p:cNvPr>
            <p:cNvSpPr txBox="1"/>
            <p:nvPr/>
          </p:nvSpPr>
          <p:spPr>
            <a:xfrm>
              <a:off x="450465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Tool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65C66C8-DDB8-4C60-8E4B-A3CFBDFF6215}"/>
                </a:ext>
              </a:extLst>
            </p:cNvPr>
            <p:cNvSpPr txBox="1"/>
            <p:nvPr/>
          </p:nvSpPr>
          <p:spPr>
            <a:xfrm>
              <a:off x="6229683" y="2830409"/>
              <a:ext cx="1682296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lication patterns</a:t>
              </a:r>
            </a:p>
          </p:txBody>
        </p:sp>
        <p:sp>
          <p:nvSpPr>
            <p:cNvPr id="42" name="DeveloperTools_EC7A" title="Icon of a wrench and a screwdriver">
              <a:extLst>
                <a:ext uri="{FF2B5EF4-FFF2-40B4-BE49-F238E27FC236}">
                  <a16:creationId xmlns:a16="http://schemas.microsoft.com/office/drawing/2014/main" id="{425E8B7F-F0DB-4094-9DC4-C527C20A5B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75548" y="2150630"/>
              <a:ext cx="232131" cy="365760"/>
            </a:xfrm>
            <a:custGeom>
              <a:avLst/>
              <a:gdLst>
                <a:gd name="T0" fmla="*/ 765 w 2384"/>
                <a:gd name="T1" fmla="*/ 958 h 3756"/>
                <a:gd name="T2" fmla="*/ 765 w 2384"/>
                <a:gd name="T3" fmla="*/ 3500 h 3756"/>
                <a:gd name="T4" fmla="*/ 509 w 2384"/>
                <a:gd name="T5" fmla="*/ 3756 h 3756"/>
                <a:gd name="T6" fmla="*/ 509 w 2384"/>
                <a:gd name="T7" fmla="*/ 3756 h 3756"/>
                <a:gd name="T8" fmla="*/ 253 w 2384"/>
                <a:gd name="T9" fmla="*/ 3500 h 3756"/>
                <a:gd name="T10" fmla="*/ 253 w 2384"/>
                <a:gd name="T11" fmla="*/ 958 h 3756"/>
                <a:gd name="T12" fmla="*/ 0 w 2384"/>
                <a:gd name="T13" fmla="*/ 518 h 3756"/>
                <a:gd name="T14" fmla="*/ 509 w 2384"/>
                <a:gd name="T15" fmla="*/ 9 h 3756"/>
                <a:gd name="T16" fmla="*/ 1018 w 2384"/>
                <a:gd name="T17" fmla="*/ 518 h 3756"/>
                <a:gd name="T18" fmla="*/ 765 w 2384"/>
                <a:gd name="T19" fmla="*/ 958 h 3756"/>
                <a:gd name="T20" fmla="*/ 1503 w 2384"/>
                <a:gd name="T21" fmla="*/ 2012 h 3756"/>
                <a:gd name="T22" fmla="*/ 1503 w 2384"/>
                <a:gd name="T23" fmla="*/ 3500 h 3756"/>
                <a:gd name="T24" fmla="*/ 1759 w 2384"/>
                <a:gd name="T25" fmla="*/ 3756 h 3756"/>
                <a:gd name="T26" fmla="*/ 1759 w 2384"/>
                <a:gd name="T27" fmla="*/ 3756 h 3756"/>
                <a:gd name="T28" fmla="*/ 2015 w 2384"/>
                <a:gd name="T29" fmla="*/ 3500 h 3756"/>
                <a:gd name="T30" fmla="*/ 2015 w 2384"/>
                <a:gd name="T31" fmla="*/ 2012 h 3756"/>
                <a:gd name="T32" fmla="*/ 509 w 2384"/>
                <a:gd name="T33" fmla="*/ 0 h 3756"/>
                <a:gd name="T34" fmla="*/ 509 w 2384"/>
                <a:gd name="T35" fmla="*/ 509 h 3756"/>
                <a:gd name="T36" fmla="*/ 1134 w 2384"/>
                <a:gd name="T37" fmla="*/ 2012 h 3756"/>
                <a:gd name="T38" fmla="*/ 2384 w 2384"/>
                <a:gd name="T39" fmla="*/ 2012 h 3756"/>
                <a:gd name="T40" fmla="*/ 1759 w 2384"/>
                <a:gd name="T41" fmla="*/ 2012 h 3756"/>
                <a:gd name="T42" fmla="*/ 1759 w 2384"/>
                <a:gd name="T43" fmla="*/ 711 h 3756"/>
                <a:gd name="T44" fmla="*/ 2015 w 2384"/>
                <a:gd name="T45" fmla="*/ 9 h 3756"/>
                <a:gd name="T46" fmla="*/ 1503 w 2384"/>
                <a:gd name="T47" fmla="*/ 9 h 3756"/>
                <a:gd name="T48" fmla="*/ 1503 w 2384"/>
                <a:gd name="T49" fmla="*/ 510 h 3756"/>
                <a:gd name="T50" fmla="*/ 1759 w 2384"/>
                <a:gd name="T51" fmla="*/ 756 h 3756"/>
                <a:gd name="T52" fmla="*/ 2015 w 2384"/>
                <a:gd name="T53" fmla="*/ 510 h 3756"/>
                <a:gd name="T54" fmla="*/ 2015 w 2384"/>
                <a:gd name="T55" fmla="*/ 9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84" h="3756">
                  <a:moveTo>
                    <a:pt x="765" y="958"/>
                  </a:moveTo>
                  <a:cubicBezTo>
                    <a:pt x="765" y="3500"/>
                    <a:pt x="765" y="3500"/>
                    <a:pt x="765" y="3500"/>
                  </a:cubicBezTo>
                  <a:cubicBezTo>
                    <a:pt x="765" y="3641"/>
                    <a:pt x="650" y="3756"/>
                    <a:pt x="509" y="3756"/>
                  </a:cubicBezTo>
                  <a:cubicBezTo>
                    <a:pt x="509" y="3756"/>
                    <a:pt x="509" y="3756"/>
                    <a:pt x="509" y="3756"/>
                  </a:cubicBezTo>
                  <a:cubicBezTo>
                    <a:pt x="368" y="3756"/>
                    <a:pt x="253" y="3641"/>
                    <a:pt x="253" y="3500"/>
                  </a:cubicBezTo>
                  <a:cubicBezTo>
                    <a:pt x="253" y="958"/>
                    <a:pt x="253" y="958"/>
                    <a:pt x="253" y="958"/>
                  </a:cubicBezTo>
                  <a:cubicBezTo>
                    <a:pt x="102" y="869"/>
                    <a:pt x="0" y="706"/>
                    <a:pt x="0" y="518"/>
                  </a:cubicBezTo>
                  <a:cubicBezTo>
                    <a:pt x="0" y="237"/>
                    <a:pt x="228" y="9"/>
                    <a:pt x="509" y="9"/>
                  </a:cubicBezTo>
                  <a:cubicBezTo>
                    <a:pt x="790" y="9"/>
                    <a:pt x="1018" y="237"/>
                    <a:pt x="1018" y="518"/>
                  </a:cubicBezTo>
                  <a:cubicBezTo>
                    <a:pt x="1018" y="706"/>
                    <a:pt x="916" y="869"/>
                    <a:pt x="765" y="958"/>
                  </a:cubicBezTo>
                  <a:close/>
                  <a:moveTo>
                    <a:pt x="1503" y="2012"/>
                  </a:moveTo>
                  <a:cubicBezTo>
                    <a:pt x="1503" y="3500"/>
                    <a:pt x="1503" y="3500"/>
                    <a:pt x="1503" y="3500"/>
                  </a:cubicBezTo>
                  <a:cubicBezTo>
                    <a:pt x="1503" y="3641"/>
                    <a:pt x="1618" y="3756"/>
                    <a:pt x="1759" y="3756"/>
                  </a:cubicBezTo>
                  <a:cubicBezTo>
                    <a:pt x="1759" y="3756"/>
                    <a:pt x="1759" y="3756"/>
                    <a:pt x="1759" y="3756"/>
                  </a:cubicBezTo>
                  <a:cubicBezTo>
                    <a:pt x="1900" y="3756"/>
                    <a:pt x="2015" y="3641"/>
                    <a:pt x="2015" y="3500"/>
                  </a:cubicBezTo>
                  <a:cubicBezTo>
                    <a:pt x="2015" y="2012"/>
                    <a:pt x="2015" y="2012"/>
                    <a:pt x="2015" y="2012"/>
                  </a:cubicBezTo>
                  <a:moveTo>
                    <a:pt x="509" y="0"/>
                  </a:moveTo>
                  <a:cubicBezTo>
                    <a:pt x="509" y="509"/>
                    <a:pt x="509" y="509"/>
                    <a:pt x="509" y="509"/>
                  </a:cubicBezTo>
                  <a:moveTo>
                    <a:pt x="1134" y="2012"/>
                  </a:moveTo>
                  <a:cubicBezTo>
                    <a:pt x="2384" y="2012"/>
                    <a:pt x="2384" y="2012"/>
                    <a:pt x="2384" y="2012"/>
                  </a:cubicBezTo>
                  <a:moveTo>
                    <a:pt x="1759" y="2012"/>
                  </a:moveTo>
                  <a:cubicBezTo>
                    <a:pt x="1759" y="711"/>
                    <a:pt x="1759" y="711"/>
                    <a:pt x="1759" y="711"/>
                  </a:cubicBezTo>
                  <a:moveTo>
                    <a:pt x="2015" y="9"/>
                  </a:moveTo>
                  <a:cubicBezTo>
                    <a:pt x="1503" y="9"/>
                    <a:pt x="1503" y="9"/>
                    <a:pt x="1503" y="9"/>
                  </a:cubicBezTo>
                  <a:cubicBezTo>
                    <a:pt x="1503" y="510"/>
                    <a:pt x="1503" y="510"/>
                    <a:pt x="1503" y="510"/>
                  </a:cubicBezTo>
                  <a:cubicBezTo>
                    <a:pt x="1759" y="756"/>
                    <a:pt x="1759" y="756"/>
                    <a:pt x="1759" y="756"/>
                  </a:cubicBezTo>
                  <a:cubicBezTo>
                    <a:pt x="2015" y="510"/>
                    <a:pt x="2015" y="510"/>
                    <a:pt x="2015" y="510"/>
                  </a:cubicBezTo>
                  <a:lnTo>
                    <a:pt x="2015" y="9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PhotoCollection_E7AA" title="Icon of a stacked photo of a landscape">
              <a:extLst>
                <a:ext uri="{FF2B5EF4-FFF2-40B4-BE49-F238E27FC236}">
                  <a16:creationId xmlns:a16="http://schemas.microsoft.com/office/drawing/2014/main" id="{4BDEDF7F-C4C1-43C0-8C28-336AAA0DB4E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07039" y="2172305"/>
              <a:ext cx="421962" cy="322410"/>
            </a:xfrm>
            <a:custGeom>
              <a:avLst/>
              <a:gdLst>
                <a:gd name="T0" fmla="*/ 3326 w 3752"/>
                <a:gd name="T1" fmla="*/ 2439 h 2865"/>
                <a:gd name="T2" fmla="*/ 0 w 3752"/>
                <a:gd name="T3" fmla="*/ 2439 h 2865"/>
                <a:gd name="T4" fmla="*/ 0 w 3752"/>
                <a:gd name="T5" fmla="*/ 0 h 2865"/>
                <a:gd name="T6" fmla="*/ 3326 w 3752"/>
                <a:gd name="T7" fmla="*/ 0 h 2865"/>
                <a:gd name="T8" fmla="*/ 3326 w 3752"/>
                <a:gd name="T9" fmla="*/ 2439 h 2865"/>
                <a:gd name="T10" fmla="*/ 2616 w 3752"/>
                <a:gd name="T11" fmla="*/ 665 h 2865"/>
                <a:gd name="T12" fmla="*/ 2660 w 3752"/>
                <a:gd name="T13" fmla="*/ 710 h 2865"/>
                <a:gd name="T14" fmla="*/ 2705 w 3752"/>
                <a:gd name="T15" fmla="*/ 665 h 2865"/>
                <a:gd name="T16" fmla="*/ 2660 w 3752"/>
                <a:gd name="T17" fmla="*/ 620 h 2865"/>
                <a:gd name="T18" fmla="*/ 2616 w 3752"/>
                <a:gd name="T19" fmla="*/ 665 h 2865"/>
                <a:gd name="T20" fmla="*/ 2660 w 3752"/>
                <a:gd name="T21" fmla="*/ 2439 h 2865"/>
                <a:gd name="T22" fmla="*/ 887 w 3752"/>
                <a:gd name="T23" fmla="*/ 665 h 2865"/>
                <a:gd name="T24" fmla="*/ 0 w 3752"/>
                <a:gd name="T25" fmla="*/ 1552 h 2865"/>
                <a:gd name="T26" fmla="*/ 3326 w 3752"/>
                <a:gd name="T27" fmla="*/ 2217 h 2865"/>
                <a:gd name="T28" fmla="*/ 2439 w 3752"/>
                <a:gd name="T29" fmla="*/ 1330 h 2865"/>
                <a:gd name="T30" fmla="*/ 1995 w 3752"/>
                <a:gd name="T31" fmla="*/ 1774 h 2865"/>
                <a:gd name="T32" fmla="*/ 426 w 3752"/>
                <a:gd name="T33" fmla="*/ 2439 h 2865"/>
                <a:gd name="T34" fmla="*/ 426 w 3752"/>
                <a:gd name="T35" fmla="*/ 2865 h 2865"/>
                <a:gd name="T36" fmla="*/ 3752 w 3752"/>
                <a:gd name="T37" fmla="*/ 2865 h 2865"/>
                <a:gd name="T38" fmla="*/ 3752 w 3752"/>
                <a:gd name="T39" fmla="*/ 426 h 2865"/>
                <a:gd name="T40" fmla="*/ 3326 w 3752"/>
                <a:gd name="T41" fmla="*/ 426 h 2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52" h="2865">
                  <a:moveTo>
                    <a:pt x="3326" y="2439"/>
                  </a:moveTo>
                  <a:cubicBezTo>
                    <a:pt x="0" y="2439"/>
                    <a:pt x="0" y="2439"/>
                    <a:pt x="0" y="24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26" y="0"/>
                    <a:pt x="3326" y="0"/>
                    <a:pt x="3326" y="0"/>
                  </a:cubicBezTo>
                  <a:lnTo>
                    <a:pt x="3326" y="2439"/>
                  </a:lnTo>
                  <a:close/>
                  <a:moveTo>
                    <a:pt x="2616" y="665"/>
                  </a:moveTo>
                  <a:cubicBezTo>
                    <a:pt x="2616" y="690"/>
                    <a:pt x="2636" y="710"/>
                    <a:pt x="2660" y="710"/>
                  </a:cubicBezTo>
                  <a:cubicBezTo>
                    <a:pt x="2685" y="710"/>
                    <a:pt x="2705" y="690"/>
                    <a:pt x="2705" y="665"/>
                  </a:cubicBezTo>
                  <a:cubicBezTo>
                    <a:pt x="2705" y="640"/>
                    <a:pt x="2685" y="620"/>
                    <a:pt x="2660" y="620"/>
                  </a:cubicBezTo>
                  <a:cubicBezTo>
                    <a:pt x="2636" y="620"/>
                    <a:pt x="2616" y="640"/>
                    <a:pt x="2616" y="665"/>
                  </a:cubicBezTo>
                  <a:close/>
                  <a:moveTo>
                    <a:pt x="2660" y="2439"/>
                  </a:moveTo>
                  <a:cubicBezTo>
                    <a:pt x="887" y="665"/>
                    <a:pt x="887" y="665"/>
                    <a:pt x="887" y="665"/>
                  </a:cubicBezTo>
                  <a:cubicBezTo>
                    <a:pt x="0" y="1552"/>
                    <a:pt x="0" y="1552"/>
                    <a:pt x="0" y="1552"/>
                  </a:cubicBezTo>
                  <a:moveTo>
                    <a:pt x="3326" y="2217"/>
                  </a:moveTo>
                  <a:cubicBezTo>
                    <a:pt x="2439" y="1330"/>
                    <a:pt x="2439" y="1330"/>
                    <a:pt x="2439" y="1330"/>
                  </a:cubicBezTo>
                  <a:cubicBezTo>
                    <a:pt x="1995" y="1774"/>
                    <a:pt x="1995" y="1774"/>
                    <a:pt x="1995" y="1774"/>
                  </a:cubicBezTo>
                  <a:moveTo>
                    <a:pt x="426" y="2439"/>
                  </a:moveTo>
                  <a:cubicBezTo>
                    <a:pt x="426" y="2865"/>
                    <a:pt x="426" y="2865"/>
                    <a:pt x="426" y="2865"/>
                  </a:cubicBezTo>
                  <a:cubicBezTo>
                    <a:pt x="3752" y="2865"/>
                    <a:pt x="3752" y="2865"/>
                    <a:pt x="3752" y="2865"/>
                  </a:cubicBezTo>
                  <a:cubicBezTo>
                    <a:pt x="3752" y="426"/>
                    <a:pt x="3752" y="426"/>
                    <a:pt x="3752" y="426"/>
                  </a:cubicBezTo>
                  <a:cubicBezTo>
                    <a:pt x="3326" y="426"/>
                    <a:pt x="3326" y="426"/>
                    <a:pt x="3326" y="426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browser_3" title="Icon of a browser window with an arrow pointing from the outside to the center">
              <a:extLst>
                <a:ext uri="{FF2B5EF4-FFF2-40B4-BE49-F238E27FC236}">
                  <a16:creationId xmlns:a16="http://schemas.microsoft.com/office/drawing/2014/main" id="{46AE92BA-2D5A-4AA3-9881-CDD35181B1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952159" y="2150630"/>
              <a:ext cx="384533" cy="365760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CRMArticles_EFF5" title="Icon of two documents stacked together with writing on them">
              <a:extLst>
                <a:ext uri="{FF2B5EF4-FFF2-40B4-BE49-F238E27FC236}">
                  <a16:creationId xmlns:a16="http://schemas.microsoft.com/office/drawing/2014/main" id="{3686D1E3-47EE-4414-B505-43A2127D9E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912403" y="2150630"/>
              <a:ext cx="316856" cy="365760"/>
            </a:xfrm>
            <a:custGeom>
              <a:avLst/>
              <a:gdLst>
                <a:gd name="T0" fmla="*/ 551 w 3583"/>
                <a:gd name="T1" fmla="*/ 3585 h 4136"/>
                <a:gd name="T2" fmla="*/ 0 w 3583"/>
                <a:gd name="T3" fmla="*/ 3585 h 4136"/>
                <a:gd name="T4" fmla="*/ 0 w 3583"/>
                <a:gd name="T5" fmla="*/ 0 h 4136"/>
                <a:gd name="T6" fmla="*/ 3033 w 3583"/>
                <a:gd name="T7" fmla="*/ 0 h 4136"/>
                <a:gd name="T8" fmla="*/ 3033 w 3583"/>
                <a:gd name="T9" fmla="*/ 1103 h 4136"/>
                <a:gd name="T10" fmla="*/ 2480 w 3583"/>
                <a:gd name="T11" fmla="*/ 551 h 4136"/>
                <a:gd name="T12" fmla="*/ 2480 w 3583"/>
                <a:gd name="T13" fmla="*/ 1654 h 4136"/>
                <a:gd name="T14" fmla="*/ 3583 w 3583"/>
                <a:gd name="T15" fmla="*/ 1654 h 4136"/>
                <a:gd name="T16" fmla="*/ 3583 w 3583"/>
                <a:gd name="T17" fmla="*/ 1654 h 4136"/>
                <a:gd name="T18" fmla="*/ 2480 w 3583"/>
                <a:gd name="T19" fmla="*/ 551 h 4136"/>
                <a:gd name="T20" fmla="*/ 551 w 3583"/>
                <a:gd name="T21" fmla="*/ 551 h 4136"/>
                <a:gd name="T22" fmla="*/ 551 w 3583"/>
                <a:gd name="T23" fmla="*/ 4136 h 4136"/>
                <a:gd name="T24" fmla="*/ 3583 w 3583"/>
                <a:gd name="T25" fmla="*/ 4136 h 4136"/>
                <a:gd name="T26" fmla="*/ 3583 w 3583"/>
                <a:gd name="T27" fmla="*/ 1654 h 4136"/>
                <a:gd name="T28" fmla="*/ 965 w 3583"/>
                <a:gd name="T29" fmla="*/ 2757 h 4136"/>
                <a:gd name="T30" fmla="*/ 2894 w 3583"/>
                <a:gd name="T31" fmla="*/ 2757 h 4136"/>
                <a:gd name="T32" fmla="*/ 965 w 3583"/>
                <a:gd name="T33" fmla="*/ 2206 h 4136"/>
                <a:gd name="T34" fmla="*/ 2894 w 3583"/>
                <a:gd name="T35" fmla="*/ 2206 h 4136"/>
                <a:gd name="T36" fmla="*/ 965 w 3583"/>
                <a:gd name="T37" fmla="*/ 1654 h 4136"/>
                <a:gd name="T38" fmla="*/ 2068 w 3583"/>
                <a:gd name="T39" fmla="*/ 1654 h 4136"/>
                <a:gd name="T40" fmla="*/ 965 w 3583"/>
                <a:gd name="T41" fmla="*/ 1103 h 4136"/>
                <a:gd name="T42" fmla="*/ 2068 w 3583"/>
                <a:gd name="T43" fmla="*/ 1103 h 4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83" h="4136">
                  <a:moveTo>
                    <a:pt x="551" y="3585"/>
                  </a:moveTo>
                  <a:lnTo>
                    <a:pt x="0" y="3585"/>
                  </a:lnTo>
                  <a:lnTo>
                    <a:pt x="0" y="0"/>
                  </a:lnTo>
                  <a:lnTo>
                    <a:pt x="3033" y="0"/>
                  </a:lnTo>
                  <a:lnTo>
                    <a:pt x="3033" y="1103"/>
                  </a:lnTo>
                  <a:moveTo>
                    <a:pt x="2480" y="551"/>
                  </a:moveTo>
                  <a:lnTo>
                    <a:pt x="2480" y="1654"/>
                  </a:lnTo>
                  <a:lnTo>
                    <a:pt x="3583" y="1654"/>
                  </a:lnTo>
                  <a:moveTo>
                    <a:pt x="3583" y="1654"/>
                  </a:moveTo>
                  <a:lnTo>
                    <a:pt x="2480" y="551"/>
                  </a:lnTo>
                  <a:lnTo>
                    <a:pt x="551" y="551"/>
                  </a:lnTo>
                  <a:lnTo>
                    <a:pt x="551" y="4136"/>
                  </a:lnTo>
                  <a:lnTo>
                    <a:pt x="3583" y="4136"/>
                  </a:lnTo>
                  <a:lnTo>
                    <a:pt x="3583" y="1654"/>
                  </a:lnTo>
                  <a:moveTo>
                    <a:pt x="965" y="2757"/>
                  </a:moveTo>
                  <a:lnTo>
                    <a:pt x="2894" y="2757"/>
                  </a:lnTo>
                  <a:moveTo>
                    <a:pt x="965" y="2206"/>
                  </a:moveTo>
                  <a:lnTo>
                    <a:pt x="2894" y="2206"/>
                  </a:lnTo>
                  <a:moveTo>
                    <a:pt x="965" y="1654"/>
                  </a:moveTo>
                  <a:lnTo>
                    <a:pt x="2068" y="1654"/>
                  </a:lnTo>
                  <a:moveTo>
                    <a:pt x="965" y="1103"/>
                  </a:moveTo>
                  <a:lnTo>
                    <a:pt x="2068" y="1103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96" title="Icon of a gear with a wrench">
              <a:extLst>
                <a:ext uri="{FF2B5EF4-FFF2-40B4-BE49-F238E27FC236}">
                  <a16:creationId xmlns:a16="http://schemas.microsoft.com/office/drawing/2014/main" id="{76576831-5184-49C3-98B2-4D126154D5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98619" y="2150630"/>
              <a:ext cx="397237" cy="365760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ouchscreen" title="Icon of a closed hand with one finger touching a screen">
              <a:extLst>
                <a:ext uri="{FF2B5EF4-FFF2-40B4-BE49-F238E27FC236}">
                  <a16:creationId xmlns:a16="http://schemas.microsoft.com/office/drawing/2014/main" id="{88BD2F02-D1E9-433F-81BC-E6C036AACD2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728594" y="2150630"/>
              <a:ext cx="390103" cy="365760"/>
            </a:xfrm>
            <a:custGeom>
              <a:avLst/>
              <a:gdLst>
                <a:gd name="T0" fmla="*/ 1917 w 3772"/>
                <a:gd name="T1" fmla="*/ 1791 h 3535"/>
                <a:gd name="T2" fmla="*/ 1917 w 3772"/>
                <a:gd name="T3" fmla="*/ 1985 h 3535"/>
                <a:gd name="T4" fmla="*/ 1917 w 3772"/>
                <a:gd name="T5" fmla="*/ 1123 h 3535"/>
                <a:gd name="T6" fmla="*/ 1745 w 3772"/>
                <a:gd name="T7" fmla="*/ 951 h 3535"/>
                <a:gd name="T8" fmla="*/ 1573 w 3772"/>
                <a:gd name="T9" fmla="*/ 1123 h 3535"/>
                <a:gd name="T10" fmla="*/ 1573 w 3772"/>
                <a:gd name="T11" fmla="*/ 1135 h 3535"/>
                <a:gd name="T12" fmla="*/ 1573 w 3772"/>
                <a:gd name="T13" fmla="*/ 2527 h 3535"/>
                <a:gd name="T14" fmla="*/ 1469 w 3772"/>
                <a:gd name="T15" fmla="*/ 2569 h 3535"/>
                <a:gd name="T16" fmla="*/ 1282 w 3772"/>
                <a:gd name="T17" fmla="*/ 2383 h 3535"/>
                <a:gd name="T18" fmla="*/ 1023 w 3772"/>
                <a:gd name="T19" fmla="*/ 2383 h 3535"/>
                <a:gd name="T20" fmla="*/ 1023 w 3772"/>
                <a:gd name="T21" fmla="*/ 2641 h 3535"/>
                <a:gd name="T22" fmla="*/ 1659 w 3772"/>
                <a:gd name="T23" fmla="*/ 3277 h 3535"/>
                <a:gd name="T24" fmla="*/ 2262 w 3772"/>
                <a:gd name="T25" fmla="*/ 3535 h 3535"/>
                <a:gd name="T26" fmla="*/ 2951 w 3772"/>
                <a:gd name="T27" fmla="*/ 2846 h 3535"/>
                <a:gd name="T28" fmla="*/ 2951 w 3772"/>
                <a:gd name="T29" fmla="*/ 2184 h 3535"/>
                <a:gd name="T30" fmla="*/ 2820 w 3772"/>
                <a:gd name="T31" fmla="*/ 2017 h 3535"/>
                <a:gd name="T32" fmla="*/ 1917 w 3772"/>
                <a:gd name="T33" fmla="*/ 1791 h 3535"/>
                <a:gd name="T34" fmla="*/ 1917 w 3772"/>
                <a:gd name="T35" fmla="*/ 1123 h 3535"/>
                <a:gd name="T36" fmla="*/ 1917 w 3772"/>
                <a:gd name="T37" fmla="*/ 1602 h 3535"/>
                <a:gd name="T38" fmla="*/ 2254 w 3772"/>
                <a:gd name="T39" fmla="*/ 1123 h 3535"/>
                <a:gd name="T40" fmla="*/ 1744 w 3772"/>
                <a:gd name="T41" fmla="*/ 614 h 3535"/>
                <a:gd name="T42" fmla="*/ 1235 w 3772"/>
                <a:gd name="T43" fmla="*/ 1123 h 3535"/>
                <a:gd name="T44" fmla="*/ 1573 w 3772"/>
                <a:gd name="T45" fmla="*/ 1603 h 3535"/>
                <a:gd name="T46" fmla="*/ 2951 w 3772"/>
                <a:gd name="T47" fmla="*/ 2672 h 3535"/>
                <a:gd name="T48" fmla="*/ 3657 w 3772"/>
                <a:gd name="T49" fmla="*/ 2672 h 3535"/>
                <a:gd name="T50" fmla="*/ 3772 w 3772"/>
                <a:gd name="T51" fmla="*/ 2557 h 3535"/>
                <a:gd name="T52" fmla="*/ 3772 w 3772"/>
                <a:gd name="T53" fmla="*/ 115 h 3535"/>
                <a:gd name="T54" fmla="*/ 3657 w 3772"/>
                <a:gd name="T55" fmla="*/ 0 h 3535"/>
                <a:gd name="T56" fmla="*/ 115 w 3772"/>
                <a:gd name="T57" fmla="*/ 0 h 3535"/>
                <a:gd name="T58" fmla="*/ 0 w 3772"/>
                <a:gd name="T59" fmla="*/ 115 h 3535"/>
                <a:gd name="T60" fmla="*/ 0 w 3772"/>
                <a:gd name="T61" fmla="*/ 2557 h 3535"/>
                <a:gd name="T62" fmla="*/ 115 w 3772"/>
                <a:gd name="T63" fmla="*/ 2672 h 3535"/>
                <a:gd name="T64" fmla="*/ 1054 w 3772"/>
                <a:gd name="T65" fmla="*/ 2672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2" h="3535">
                  <a:moveTo>
                    <a:pt x="1917" y="1791"/>
                  </a:moveTo>
                  <a:cubicBezTo>
                    <a:pt x="1917" y="1985"/>
                    <a:pt x="1917" y="1985"/>
                    <a:pt x="1917" y="1985"/>
                  </a:cubicBezTo>
                  <a:moveTo>
                    <a:pt x="1917" y="1123"/>
                  </a:moveTo>
                  <a:cubicBezTo>
                    <a:pt x="1917" y="1028"/>
                    <a:pt x="1840" y="951"/>
                    <a:pt x="1745" y="951"/>
                  </a:cubicBezTo>
                  <a:cubicBezTo>
                    <a:pt x="1650" y="951"/>
                    <a:pt x="1573" y="1028"/>
                    <a:pt x="1573" y="1123"/>
                  </a:cubicBezTo>
                  <a:cubicBezTo>
                    <a:pt x="1573" y="1123"/>
                    <a:pt x="1573" y="1127"/>
                    <a:pt x="1573" y="1135"/>
                  </a:cubicBezTo>
                  <a:cubicBezTo>
                    <a:pt x="1573" y="1252"/>
                    <a:pt x="1573" y="2194"/>
                    <a:pt x="1573" y="2527"/>
                  </a:cubicBezTo>
                  <a:cubicBezTo>
                    <a:pt x="1573" y="2581"/>
                    <a:pt x="1507" y="2608"/>
                    <a:pt x="1469" y="2569"/>
                  </a:cubicBezTo>
                  <a:cubicBezTo>
                    <a:pt x="1282" y="2383"/>
                    <a:pt x="1282" y="2383"/>
                    <a:pt x="1282" y="2383"/>
                  </a:cubicBezTo>
                  <a:cubicBezTo>
                    <a:pt x="1210" y="2311"/>
                    <a:pt x="1095" y="2311"/>
                    <a:pt x="1023" y="2383"/>
                  </a:cubicBezTo>
                  <a:cubicBezTo>
                    <a:pt x="952" y="2454"/>
                    <a:pt x="952" y="2570"/>
                    <a:pt x="1023" y="2641"/>
                  </a:cubicBezTo>
                  <a:cubicBezTo>
                    <a:pt x="1659" y="3277"/>
                    <a:pt x="1659" y="3277"/>
                    <a:pt x="1659" y="3277"/>
                  </a:cubicBezTo>
                  <a:cubicBezTo>
                    <a:pt x="1813" y="3436"/>
                    <a:pt x="2026" y="3535"/>
                    <a:pt x="2262" y="3535"/>
                  </a:cubicBezTo>
                  <a:cubicBezTo>
                    <a:pt x="2643" y="3535"/>
                    <a:pt x="2951" y="3227"/>
                    <a:pt x="2951" y="2846"/>
                  </a:cubicBezTo>
                  <a:cubicBezTo>
                    <a:pt x="2951" y="2184"/>
                    <a:pt x="2951" y="2184"/>
                    <a:pt x="2951" y="2184"/>
                  </a:cubicBezTo>
                  <a:cubicBezTo>
                    <a:pt x="2951" y="2105"/>
                    <a:pt x="2897" y="2036"/>
                    <a:pt x="2820" y="2017"/>
                  </a:cubicBezTo>
                  <a:cubicBezTo>
                    <a:pt x="1917" y="1791"/>
                    <a:pt x="1917" y="1791"/>
                    <a:pt x="1917" y="1791"/>
                  </a:cubicBezTo>
                  <a:lnTo>
                    <a:pt x="1917" y="1123"/>
                  </a:lnTo>
                  <a:close/>
                  <a:moveTo>
                    <a:pt x="1917" y="1602"/>
                  </a:moveTo>
                  <a:cubicBezTo>
                    <a:pt x="2114" y="1532"/>
                    <a:pt x="2254" y="1344"/>
                    <a:pt x="2254" y="1123"/>
                  </a:cubicBezTo>
                  <a:cubicBezTo>
                    <a:pt x="2254" y="842"/>
                    <a:pt x="2026" y="614"/>
                    <a:pt x="1744" y="614"/>
                  </a:cubicBezTo>
                  <a:cubicBezTo>
                    <a:pt x="1463" y="614"/>
                    <a:pt x="1235" y="842"/>
                    <a:pt x="1235" y="1123"/>
                  </a:cubicBezTo>
                  <a:cubicBezTo>
                    <a:pt x="1235" y="1344"/>
                    <a:pt x="1376" y="1532"/>
                    <a:pt x="1573" y="1603"/>
                  </a:cubicBezTo>
                  <a:moveTo>
                    <a:pt x="2951" y="2672"/>
                  </a:moveTo>
                  <a:cubicBezTo>
                    <a:pt x="3657" y="2672"/>
                    <a:pt x="3657" y="2672"/>
                    <a:pt x="3657" y="2672"/>
                  </a:cubicBezTo>
                  <a:cubicBezTo>
                    <a:pt x="3720" y="2672"/>
                    <a:pt x="3772" y="2621"/>
                    <a:pt x="3772" y="2557"/>
                  </a:cubicBezTo>
                  <a:cubicBezTo>
                    <a:pt x="3772" y="115"/>
                    <a:pt x="3772" y="115"/>
                    <a:pt x="3772" y="115"/>
                  </a:cubicBezTo>
                  <a:cubicBezTo>
                    <a:pt x="3772" y="51"/>
                    <a:pt x="3720" y="0"/>
                    <a:pt x="3657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51" y="0"/>
                    <a:pt x="0" y="51"/>
                    <a:pt x="0" y="115"/>
                  </a:cubicBezTo>
                  <a:cubicBezTo>
                    <a:pt x="0" y="2557"/>
                    <a:pt x="0" y="2557"/>
                    <a:pt x="0" y="2557"/>
                  </a:cubicBezTo>
                  <a:cubicBezTo>
                    <a:pt x="0" y="2621"/>
                    <a:pt x="51" y="2672"/>
                    <a:pt x="115" y="2672"/>
                  </a:cubicBezTo>
                  <a:cubicBezTo>
                    <a:pt x="1054" y="2672"/>
                    <a:pt x="1054" y="2672"/>
                    <a:pt x="1054" y="2672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C0A274C0-9AE3-443B-90B0-388E2C65F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780942"/>
            <a:ext cx="11306469" cy="616379"/>
          </a:xfrm>
        </p:spPr>
        <p:txBody>
          <a:bodyPr/>
          <a:lstStyle/>
          <a:p>
            <a:pPr algn="ctr"/>
            <a:r>
              <a:rPr lang="en-US"/>
              <a:t>Azure Stack Hub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1760D64D-0EC3-4F1D-9BAC-24D2058F8AEA}"/>
              </a:ext>
            </a:extLst>
          </p:cNvPr>
          <p:cNvSpPr/>
          <p:nvPr/>
        </p:nvSpPr>
        <p:spPr bwMode="auto">
          <a:xfrm>
            <a:off x="2575218" y="5200783"/>
            <a:ext cx="683703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E0884F64-9112-4297-A5EC-5BDDE4DF7E4A}"/>
              </a:ext>
            </a:extLst>
          </p:cNvPr>
          <p:cNvSpPr/>
          <p:nvPr/>
        </p:nvSpPr>
        <p:spPr bwMode="auto">
          <a:xfrm>
            <a:off x="5782690" y="5783263"/>
            <a:ext cx="626620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A0FBF7B-7269-4B6D-9093-C20B987EAA96}"/>
              </a:ext>
            </a:extLst>
          </p:cNvPr>
          <p:cNvSpPr txBox="1"/>
          <p:nvPr/>
        </p:nvSpPr>
        <p:spPr>
          <a:xfrm>
            <a:off x="1636909" y="5495826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Consistent application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development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D9E47B7-6BDD-4F7E-A06F-E4A2D266FF58}"/>
              </a:ext>
            </a:extLst>
          </p:cNvPr>
          <p:cNvSpPr txBox="1"/>
          <p:nvPr/>
        </p:nvSpPr>
        <p:spPr>
          <a:xfrm>
            <a:off x="4815840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3C6C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zure services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vailable on-premis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B755421-F80F-4D68-A27A-D20705E260F4}"/>
              </a:ext>
            </a:extLst>
          </p:cNvPr>
          <p:cNvSpPr txBox="1"/>
          <p:nvPr/>
        </p:nvSpPr>
        <p:spPr>
          <a:xfrm>
            <a:off x="7994771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Purpose-built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integrated syste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D290A2C-1C13-4D57-92A6-44FE71C1D863}"/>
              </a:ext>
            </a:extLst>
          </p:cNvPr>
          <p:cNvSpPr/>
          <p:nvPr/>
        </p:nvSpPr>
        <p:spPr bwMode="auto">
          <a:xfrm>
            <a:off x="2415648" y="3905188"/>
            <a:ext cx="1000551" cy="100055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err="1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A0A8A6EA-DC0A-4658-B77F-4B62B90366DA}"/>
              </a:ext>
            </a:extLst>
          </p:cNvPr>
          <p:cNvSpPr/>
          <p:nvPr/>
        </p:nvSpPr>
        <p:spPr bwMode="auto">
          <a:xfrm>
            <a:off x="8963863" y="5783263"/>
            <a:ext cx="622137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2" name="Group 101" descr="consistency">
            <a:extLst>
              <a:ext uri="{FF2B5EF4-FFF2-40B4-BE49-F238E27FC236}">
                <a16:creationId xmlns:a16="http://schemas.microsoft.com/office/drawing/2014/main" id="{8FB2645F-C39C-4B30-A47E-CE90738DCC94}"/>
              </a:ext>
            </a:extLst>
          </p:cNvPr>
          <p:cNvGrpSpPr/>
          <p:nvPr/>
        </p:nvGrpSpPr>
        <p:grpSpPr>
          <a:xfrm>
            <a:off x="2631410" y="4120864"/>
            <a:ext cx="571318" cy="569276"/>
            <a:chOff x="5422662" y="5746953"/>
            <a:chExt cx="435762" cy="434205"/>
          </a:xfrm>
        </p:grpSpPr>
        <p:sp>
          <p:nvSpPr>
            <p:cNvPr id="103" name="Freeform 841">
              <a:extLst>
                <a:ext uri="{FF2B5EF4-FFF2-40B4-BE49-F238E27FC236}">
                  <a16:creationId xmlns:a16="http://schemas.microsoft.com/office/drawing/2014/main" id="{E968ECB5-141D-434E-9CC0-DE2F6DF74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83" y="5815430"/>
              <a:ext cx="133841" cy="348609"/>
            </a:xfrm>
            <a:custGeom>
              <a:avLst/>
              <a:gdLst>
                <a:gd name="T0" fmla="*/ 116 w 116"/>
                <a:gd name="T1" fmla="*/ 133 h 304"/>
                <a:gd name="T2" fmla="*/ 60 w 116"/>
                <a:gd name="T3" fmla="*/ 0 h 304"/>
                <a:gd name="T4" fmla="*/ 46 w 116"/>
                <a:gd name="T5" fmla="*/ 14 h 304"/>
                <a:gd name="T6" fmla="*/ 48 w 116"/>
                <a:gd name="T7" fmla="*/ 16 h 304"/>
                <a:gd name="T8" fmla="*/ 83 w 116"/>
                <a:gd name="T9" fmla="*/ 68 h 304"/>
                <a:gd name="T10" fmla="*/ 96 w 116"/>
                <a:gd name="T11" fmla="*/ 133 h 304"/>
                <a:gd name="T12" fmla="*/ 83 w 116"/>
                <a:gd name="T13" fmla="*/ 197 h 304"/>
                <a:gd name="T14" fmla="*/ 47 w 116"/>
                <a:gd name="T15" fmla="*/ 250 h 304"/>
                <a:gd name="T16" fmla="*/ 19 w 116"/>
                <a:gd name="T17" fmla="*/ 273 h 304"/>
                <a:gd name="T18" fmla="*/ 5 w 116"/>
                <a:gd name="T19" fmla="*/ 255 h 304"/>
                <a:gd name="T20" fmla="*/ 0 w 116"/>
                <a:gd name="T21" fmla="*/ 299 h 304"/>
                <a:gd name="T22" fmla="*/ 43 w 116"/>
                <a:gd name="T23" fmla="*/ 304 h 304"/>
                <a:gd name="T24" fmla="*/ 31 w 116"/>
                <a:gd name="T25" fmla="*/ 289 h 304"/>
                <a:gd name="T26" fmla="*/ 116 w 116"/>
                <a:gd name="T27" fmla="*/ 13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04">
                  <a:moveTo>
                    <a:pt x="116" y="133"/>
                  </a:moveTo>
                  <a:cubicBezTo>
                    <a:pt x="116" y="81"/>
                    <a:pt x="94" y="33"/>
                    <a:pt x="60" y="0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5"/>
                    <a:pt x="48" y="16"/>
                  </a:cubicBezTo>
                  <a:cubicBezTo>
                    <a:pt x="63" y="31"/>
                    <a:pt x="75" y="49"/>
                    <a:pt x="83" y="68"/>
                  </a:cubicBezTo>
                  <a:cubicBezTo>
                    <a:pt x="92" y="89"/>
                    <a:pt x="96" y="111"/>
                    <a:pt x="96" y="133"/>
                  </a:cubicBezTo>
                  <a:cubicBezTo>
                    <a:pt x="96" y="155"/>
                    <a:pt x="91" y="177"/>
                    <a:pt x="83" y="197"/>
                  </a:cubicBezTo>
                  <a:cubicBezTo>
                    <a:pt x="74" y="217"/>
                    <a:pt x="62" y="235"/>
                    <a:pt x="47" y="250"/>
                  </a:cubicBezTo>
                  <a:cubicBezTo>
                    <a:pt x="39" y="259"/>
                    <a:pt x="29" y="266"/>
                    <a:pt x="19" y="273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43" y="304"/>
                    <a:pt x="43" y="304"/>
                    <a:pt x="43" y="304"/>
                  </a:cubicBezTo>
                  <a:cubicBezTo>
                    <a:pt x="31" y="289"/>
                    <a:pt x="31" y="289"/>
                    <a:pt x="31" y="289"/>
                  </a:cubicBezTo>
                  <a:cubicBezTo>
                    <a:pt x="82" y="255"/>
                    <a:pt x="116" y="198"/>
                    <a:pt x="116" y="133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04" name="Freeform 842">
              <a:extLst>
                <a:ext uri="{FF2B5EF4-FFF2-40B4-BE49-F238E27FC236}">
                  <a16:creationId xmlns:a16="http://schemas.microsoft.com/office/drawing/2014/main" id="{95AFBE5A-D09A-4789-8848-066BD5F03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662" y="6009966"/>
              <a:ext cx="273908" cy="171192"/>
            </a:xfrm>
            <a:custGeom>
              <a:avLst/>
              <a:gdLst>
                <a:gd name="T0" fmla="*/ 232 w 238"/>
                <a:gd name="T1" fmla="*/ 124 h 148"/>
                <a:gd name="T2" fmla="*/ 192 w 238"/>
                <a:gd name="T3" fmla="*/ 128 h 148"/>
                <a:gd name="T4" fmla="*/ 192 w 238"/>
                <a:gd name="T5" fmla="*/ 128 h 148"/>
                <a:gd name="T6" fmla="*/ 127 w 238"/>
                <a:gd name="T7" fmla="*/ 115 h 148"/>
                <a:gd name="T8" fmla="*/ 75 w 238"/>
                <a:gd name="T9" fmla="*/ 80 h 148"/>
                <a:gd name="T10" fmla="*/ 41 w 238"/>
                <a:gd name="T11" fmla="*/ 30 h 148"/>
                <a:gd name="T12" fmla="*/ 61 w 238"/>
                <a:gd name="T13" fmla="*/ 26 h 148"/>
                <a:gd name="T14" fmla="*/ 26 w 238"/>
                <a:gd name="T15" fmla="*/ 0 h 148"/>
                <a:gd name="T16" fmla="*/ 0 w 238"/>
                <a:gd name="T17" fmla="*/ 36 h 148"/>
                <a:gd name="T18" fmla="*/ 20 w 238"/>
                <a:gd name="T19" fmla="*/ 33 h 148"/>
                <a:gd name="T20" fmla="*/ 192 w 238"/>
                <a:gd name="T21" fmla="*/ 148 h 148"/>
                <a:gd name="T22" fmla="*/ 192 w 238"/>
                <a:gd name="T23" fmla="*/ 148 h 148"/>
                <a:gd name="T24" fmla="*/ 238 w 238"/>
                <a:gd name="T25" fmla="*/ 143 h 148"/>
                <a:gd name="T26" fmla="*/ 232 w 238"/>
                <a:gd name="T27" fmla="*/ 12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148">
                  <a:moveTo>
                    <a:pt x="232" y="124"/>
                  </a:moveTo>
                  <a:cubicBezTo>
                    <a:pt x="219" y="127"/>
                    <a:pt x="206" y="128"/>
                    <a:pt x="192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70" y="128"/>
                    <a:pt x="148" y="124"/>
                    <a:pt x="127" y="115"/>
                  </a:cubicBezTo>
                  <a:cubicBezTo>
                    <a:pt x="108" y="107"/>
                    <a:pt x="90" y="95"/>
                    <a:pt x="75" y="80"/>
                  </a:cubicBezTo>
                  <a:cubicBezTo>
                    <a:pt x="60" y="65"/>
                    <a:pt x="49" y="48"/>
                    <a:pt x="41" y="3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48" y="100"/>
                    <a:pt x="114" y="148"/>
                    <a:pt x="192" y="148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208" y="148"/>
                    <a:pt x="223" y="146"/>
                    <a:pt x="238" y="143"/>
                  </a:cubicBezTo>
                  <a:lnTo>
                    <a:pt x="232" y="124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05" name="Freeform 843">
              <a:extLst>
                <a:ext uri="{FF2B5EF4-FFF2-40B4-BE49-F238E27FC236}">
                  <a16:creationId xmlns:a16="http://schemas.microsoft.com/office/drawing/2014/main" id="{E1D989EB-BEDA-4F82-A961-9B47381BB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444" y="5746953"/>
              <a:ext cx="325266" cy="216325"/>
            </a:xfrm>
            <a:custGeom>
              <a:avLst/>
              <a:gdLst>
                <a:gd name="T0" fmla="*/ 282 w 282"/>
                <a:gd name="T1" fmla="*/ 40 h 188"/>
                <a:gd name="T2" fmla="*/ 264 w 282"/>
                <a:gd name="T3" fmla="*/ 0 h 188"/>
                <a:gd name="T4" fmla="*/ 257 w 282"/>
                <a:gd name="T5" fmla="*/ 20 h 188"/>
                <a:gd name="T6" fmla="*/ 186 w 282"/>
                <a:gd name="T7" fmla="*/ 6 h 188"/>
                <a:gd name="T8" fmla="*/ 185 w 282"/>
                <a:gd name="T9" fmla="*/ 6 h 188"/>
                <a:gd name="T10" fmla="*/ 0 w 282"/>
                <a:gd name="T11" fmla="*/ 188 h 188"/>
                <a:gd name="T12" fmla="*/ 20 w 282"/>
                <a:gd name="T13" fmla="*/ 188 h 188"/>
                <a:gd name="T14" fmla="*/ 33 w 282"/>
                <a:gd name="T15" fmla="*/ 127 h 188"/>
                <a:gd name="T16" fmla="*/ 68 w 282"/>
                <a:gd name="T17" fmla="*/ 74 h 188"/>
                <a:gd name="T18" fmla="*/ 121 w 282"/>
                <a:gd name="T19" fmla="*/ 39 h 188"/>
                <a:gd name="T20" fmla="*/ 185 w 282"/>
                <a:gd name="T21" fmla="*/ 26 h 188"/>
                <a:gd name="T22" fmla="*/ 185 w 282"/>
                <a:gd name="T23" fmla="*/ 26 h 188"/>
                <a:gd name="T24" fmla="*/ 249 w 282"/>
                <a:gd name="T25" fmla="*/ 39 h 188"/>
                <a:gd name="T26" fmla="*/ 242 w 282"/>
                <a:gd name="T27" fmla="*/ 58 h 188"/>
                <a:gd name="T28" fmla="*/ 282 w 282"/>
                <a:gd name="T29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2" h="188">
                  <a:moveTo>
                    <a:pt x="282" y="40"/>
                  </a:moveTo>
                  <a:cubicBezTo>
                    <a:pt x="264" y="0"/>
                    <a:pt x="264" y="0"/>
                    <a:pt x="264" y="0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35" y="11"/>
                    <a:pt x="211" y="6"/>
                    <a:pt x="186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84" y="6"/>
                    <a:pt x="2" y="87"/>
                    <a:pt x="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20" y="167"/>
                    <a:pt x="24" y="146"/>
                    <a:pt x="33" y="127"/>
                  </a:cubicBezTo>
                  <a:cubicBezTo>
                    <a:pt x="41" y="107"/>
                    <a:pt x="53" y="90"/>
                    <a:pt x="68" y="74"/>
                  </a:cubicBezTo>
                  <a:cubicBezTo>
                    <a:pt x="83" y="59"/>
                    <a:pt x="101" y="47"/>
                    <a:pt x="121" y="39"/>
                  </a:cubicBezTo>
                  <a:cubicBezTo>
                    <a:pt x="141" y="30"/>
                    <a:pt x="163" y="26"/>
                    <a:pt x="185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208" y="26"/>
                    <a:pt x="229" y="30"/>
                    <a:pt x="249" y="39"/>
                  </a:cubicBezTo>
                  <a:cubicBezTo>
                    <a:pt x="242" y="58"/>
                    <a:pt x="242" y="58"/>
                    <a:pt x="242" y="58"/>
                  </a:cubicBezTo>
                  <a:lnTo>
                    <a:pt x="282" y="4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06" name="Freeform 844">
              <a:extLst>
                <a:ext uri="{FF2B5EF4-FFF2-40B4-BE49-F238E27FC236}">
                  <a16:creationId xmlns:a16="http://schemas.microsoft.com/office/drawing/2014/main" id="{850649ED-C069-4E4D-9663-6EF63CDE5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8026" y="5810760"/>
              <a:ext cx="308146" cy="306590"/>
            </a:xfrm>
            <a:custGeom>
              <a:avLst/>
              <a:gdLst>
                <a:gd name="T0" fmla="*/ 267 w 267"/>
                <a:gd name="T1" fmla="*/ 153 h 267"/>
                <a:gd name="T2" fmla="*/ 267 w 267"/>
                <a:gd name="T3" fmla="*/ 114 h 267"/>
                <a:gd name="T4" fmla="*/ 239 w 267"/>
                <a:gd name="T5" fmla="*/ 114 h 267"/>
                <a:gd name="T6" fmla="*/ 222 w 267"/>
                <a:gd name="T7" fmla="*/ 73 h 267"/>
                <a:gd name="T8" fmla="*/ 242 w 267"/>
                <a:gd name="T9" fmla="*/ 53 h 267"/>
                <a:gd name="T10" fmla="*/ 215 w 267"/>
                <a:gd name="T11" fmla="*/ 25 h 267"/>
                <a:gd name="T12" fmla="*/ 195 w 267"/>
                <a:gd name="T13" fmla="*/ 45 h 267"/>
                <a:gd name="T14" fmla="*/ 153 w 267"/>
                <a:gd name="T15" fmla="*/ 28 h 267"/>
                <a:gd name="T16" fmla="*/ 153 w 267"/>
                <a:gd name="T17" fmla="*/ 0 h 267"/>
                <a:gd name="T18" fmla="*/ 114 w 267"/>
                <a:gd name="T19" fmla="*/ 0 h 267"/>
                <a:gd name="T20" fmla="*/ 114 w 267"/>
                <a:gd name="T21" fmla="*/ 28 h 267"/>
                <a:gd name="T22" fmla="*/ 73 w 267"/>
                <a:gd name="T23" fmla="*/ 45 h 267"/>
                <a:gd name="T24" fmla="*/ 53 w 267"/>
                <a:gd name="T25" fmla="*/ 25 h 267"/>
                <a:gd name="T26" fmla="*/ 25 w 267"/>
                <a:gd name="T27" fmla="*/ 53 h 267"/>
                <a:gd name="T28" fmla="*/ 46 w 267"/>
                <a:gd name="T29" fmla="*/ 73 h 267"/>
                <a:gd name="T30" fmla="*/ 29 w 267"/>
                <a:gd name="T31" fmla="*/ 114 h 267"/>
                <a:gd name="T32" fmla="*/ 0 w 267"/>
                <a:gd name="T33" fmla="*/ 114 h 267"/>
                <a:gd name="T34" fmla="*/ 0 w 267"/>
                <a:gd name="T35" fmla="*/ 153 h 267"/>
                <a:gd name="T36" fmla="*/ 30 w 267"/>
                <a:gd name="T37" fmla="*/ 153 h 267"/>
                <a:gd name="T38" fmla="*/ 46 w 267"/>
                <a:gd name="T39" fmla="*/ 193 h 267"/>
                <a:gd name="T40" fmla="*/ 25 w 267"/>
                <a:gd name="T41" fmla="*/ 214 h 267"/>
                <a:gd name="T42" fmla="*/ 53 w 267"/>
                <a:gd name="T43" fmla="*/ 242 h 267"/>
                <a:gd name="T44" fmla="*/ 74 w 267"/>
                <a:gd name="T45" fmla="*/ 221 h 267"/>
                <a:gd name="T46" fmla="*/ 114 w 267"/>
                <a:gd name="T47" fmla="*/ 237 h 267"/>
                <a:gd name="T48" fmla="*/ 114 w 267"/>
                <a:gd name="T49" fmla="*/ 267 h 267"/>
                <a:gd name="T50" fmla="*/ 153 w 267"/>
                <a:gd name="T51" fmla="*/ 267 h 267"/>
                <a:gd name="T52" fmla="*/ 153 w 267"/>
                <a:gd name="T53" fmla="*/ 238 h 267"/>
                <a:gd name="T54" fmla="*/ 194 w 267"/>
                <a:gd name="T55" fmla="*/ 221 h 267"/>
                <a:gd name="T56" fmla="*/ 214 w 267"/>
                <a:gd name="T57" fmla="*/ 242 h 267"/>
                <a:gd name="T58" fmla="*/ 242 w 267"/>
                <a:gd name="T59" fmla="*/ 215 h 267"/>
                <a:gd name="T60" fmla="*/ 221 w 267"/>
                <a:gd name="T61" fmla="*/ 194 h 267"/>
                <a:gd name="T62" fmla="*/ 239 w 267"/>
                <a:gd name="T63" fmla="*/ 153 h 267"/>
                <a:gd name="T64" fmla="*/ 267 w 267"/>
                <a:gd name="T65" fmla="*/ 15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7" h="267">
                  <a:moveTo>
                    <a:pt x="267" y="153"/>
                  </a:moveTo>
                  <a:cubicBezTo>
                    <a:pt x="267" y="114"/>
                    <a:pt x="267" y="114"/>
                    <a:pt x="267" y="114"/>
                  </a:cubicBezTo>
                  <a:cubicBezTo>
                    <a:pt x="239" y="114"/>
                    <a:pt x="239" y="114"/>
                    <a:pt x="239" y="114"/>
                  </a:cubicBezTo>
                  <a:cubicBezTo>
                    <a:pt x="237" y="99"/>
                    <a:pt x="231" y="85"/>
                    <a:pt x="222" y="7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15" y="25"/>
                    <a:pt x="215" y="25"/>
                    <a:pt x="215" y="2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83" y="36"/>
                    <a:pt x="169" y="31"/>
                    <a:pt x="153" y="28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99" y="31"/>
                    <a:pt x="85" y="37"/>
                    <a:pt x="73" y="4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8" y="85"/>
                    <a:pt x="32" y="99"/>
                    <a:pt x="29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32" y="168"/>
                    <a:pt x="38" y="181"/>
                    <a:pt x="46" y="193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53" y="242"/>
                    <a:pt x="53" y="242"/>
                    <a:pt x="53" y="242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86" y="229"/>
                    <a:pt x="99" y="235"/>
                    <a:pt x="114" y="237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53" y="267"/>
                    <a:pt x="153" y="267"/>
                    <a:pt x="153" y="267"/>
                  </a:cubicBezTo>
                  <a:cubicBezTo>
                    <a:pt x="153" y="238"/>
                    <a:pt x="153" y="238"/>
                    <a:pt x="153" y="238"/>
                  </a:cubicBezTo>
                  <a:cubicBezTo>
                    <a:pt x="168" y="235"/>
                    <a:pt x="182" y="229"/>
                    <a:pt x="194" y="221"/>
                  </a:cubicBezTo>
                  <a:cubicBezTo>
                    <a:pt x="214" y="242"/>
                    <a:pt x="214" y="242"/>
                    <a:pt x="214" y="242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30" y="182"/>
                    <a:pt x="236" y="168"/>
                    <a:pt x="239" y="153"/>
                  </a:cubicBezTo>
                  <a:lnTo>
                    <a:pt x="267" y="15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07" name="Oval 845">
              <a:extLst>
                <a:ext uri="{FF2B5EF4-FFF2-40B4-BE49-F238E27FC236}">
                  <a16:creationId xmlns:a16="http://schemas.microsoft.com/office/drawing/2014/main" id="{304C8D87-A6A7-4EA0-8358-82C5C1A9A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285" y="5885463"/>
              <a:ext cx="157186" cy="1556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108" name="Group 60" descr=" bidirectional, junction, split, change course">
            <a:extLst>
              <a:ext uri="{FF2B5EF4-FFF2-40B4-BE49-F238E27FC236}">
                <a16:creationId xmlns:a16="http://schemas.microsoft.com/office/drawing/2014/main" id="{3BAF3A5A-9CA6-4E53-80AB-5AD90385A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7459" y="4967702"/>
            <a:ext cx="437082" cy="464136"/>
            <a:chOff x="5796" y="793"/>
            <a:chExt cx="210" cy="223"/>
          </a:xfrm>
        </p:grpSpPr>
        <p:sp>
          <p:nvSpPr>
            <p:cNvPr id="109" name="AutoShape 59">
              <a:extLst>
                <a:ext uri="{FF2B5EF4-FFF2-40B4-BE49-F238E27FC236}">
                  <a16:creationId xmlns:a16="http://schemas.microsoft.com/office/drawing/2014/main" id="{9D74E082-C554-470C-9FA0-F52180F42B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96" y="793"/>
              <a:ext cx="21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1">
              <a:extLst>
                <a:ext uri="{FF2B5EF4-FFF2-40B4-BE49-F238E27FC236}">
                  <a16:creationId xmlns:a16="http://schemas.microsoft.com/office/drawing/2014/main" id="{D7914B80-168A-4FDD-B4C6-F4D615D76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793"/>
              <a:ext cx="121" cy="113"/>
            </a:xfrm>
            <a:custGeom>
              <a:avLst/>
              <a:gdLst>
                <a:gd name="T0" fmla="*/ 55 w 104"/>
                <a:gd name="T1" fmla="*/ 0 h 97"/>
                <a:gd name="T2" fmla="*/ 0 w 104"/>
                <a:gd name="T3" fmla="*/ 16 h 97"/>
                <a:gd name="T4" fmla="*/ 42 w 104"/>
                <a:gd name="T5" fmla="*/ 55 h 97"/>
                <a:gd name="T6" fmla="*/ 45 w 104"/>
                <a:gd name="T7" fmla="*/ 42 h 97"/>
                <a:gd name="T8" fmla="*/ 75 w 104"/>
                <a:gd name="T9" fmla="*/ 97 h 97"/>
                <a:gd name="T10" fmla="*/ 104 w 104"/>
                <a:gd name="T11" fmla="*/ 97 h 97"/>
                <a:gd name="T12" fmla="*/ 53 w 104"/>
                <a:gd name="T13" fmla="*/ 13 h 97"/>
                <a:gd name="T14" fmla="*/ 55 w 104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7">
                  <a:moveTo>
                    <a:pt x="5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4" y="54"/>
                    <a:pt x="75" y="75"/>
                    <a:pt x="75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61"/>
                    <a:pt x="84" y="29"/>
                    <a:pt x="53" y="13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2">
              <a:extLst>
                <a:ext uri="{FF2B5EF4-FFF2-40B4-BE49-F238E27FC236}">
                  <a16:creationId xmlns:a16="http://schemas.microsoft.com/office/drawing/2014/main" id="{92204F2E-8948-4398-8ADD-35A19F2C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" y="793"/>
              <a:ext cx="121" cy="223"/>
            </a:xfrm>
            <a:custGeom>
              <a:avLst/>
              <a:gdLst>
                <a:gd name="T0" fmla="*/ 52 w 104"/>
                <a:gd name="T1" fmla="*/ 13 h 192"/>
                <a:gd name="T2" fmla="*/ 0 w 104"/>
                <a:gd name="T3" fmla="*/ 97 h 192"/>
                <a:gd name="T4" fmla="*/ 97 w 104"/>
                <a:gd name="T5" fmla="*/ 192 h 192"/>
                <a:gd name="T6" fmla="*/ 97 w 104"/>
                <a:gd name="T7" fmla="*/ 163 h 192"/>
                <a:gd name="T8" fmla="*/ 29 w 104"/>
                <a:gd name="T9" fmla="*/ 97 h 192"/>
                <a:gd name="T10" fmla="*/ 60 w 104"/>
                <a:gd name="T11" fmla="*/ 42 h 192"/>
                <a:gd name="T12" fmla="*/ 63 w 104"/>
                <a:gd name="T13" fmla="*/ 55 h 192"/>
                <a:gd name="T14" fmla="*/ 104 w 104"/>
                <a:gd name="T15" fmla="*/ 16 h 192"/>
                <a:gd name="T16" fmla="*/ 49 w 104"/>
                <a:gd name="T17" fmla="*/ 0 h 192"/>
                <a:gd name="T18" fmla="*/ 52 w 104"/>
                <a:gd name="T19" fmla="*/ 1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92">
                  <a:moveTo>
                    <a:pt x="52" y="13"/>
                  </a:moveTo>
                  <a:cubicBezTo>
                    <a:pt x="21" y="29"/>
                    <a:pt x="0" y="61"/>
                    <a:pt x="0" y="97"/>
                  </a:cubicBezTo>
                  <a:cubicBezTo>
                    <a:pt x="0" y="149"/>
                    <a:pt x="43" y="192"/>
                    <a:pt x="97" y="192"/>
                  </a:cubicBezTo>
                  <a:cubicBezTo>
                    <a:pt x="97" y="163"/>
                    <a:pt x="97" y="163"/>
                    <a:pt x="97" y="163"/>
                  </a:cubicBezTo>
                  <a:cubicBezTo>
                    <a:pt x="60" y="163"/>
                    <a:pt x="29" y="133"/>
                    <a:pt x="29" y="97"/>
                  </a:cubicBezTo>
                  <a:cubicBezTo>
                    <a:pt x="29" y="75"/>
                    <a:pt x="41" y="54"/>
                    <a:pt x="60" y="42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2" y="1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Group 111" descr="gears, process, precision, productivity, mechanical">
            <a:extLst>
              <a:ext uri="{FF2B5EF4-FFF2-40B4-BE49-F238E27FC236}">
                <a16:creationId xmlns:a16="http://schemas.microsoft.com/office/drawing/2014/main" id="{56D2AD51-BA73-46CF-907C-F64507C46A08}"/>
              </a:ext>
            </a:extLst>
          </p:cNvPr>
          <p:cNvGrpSpPr/>
          <p:nvPr/>
        </p:nvGrpSpPr>
        <p:grpSpPr>
          <a:xfrm>
            <a:off x="9027187" y="4932209"/>
            <a:ext cx="495488" cy="535122"/>
            <a:chOff x="696496" y="5670715"/>
            <a:chExt cx="377924" cy="408154"/>
          </a:xfrm>
        </p:grpSpPr>
        <p:sp>
          <p:nvSpPr>
            <p:cNvPr id="113" name="Freeform 92">
              <a:extLst>
                <a:ext uri="{FF2B5EF4-FFF2-40B4-BE49-F238E27FC236}">
                  <a16:creationId xmlns:a16="http://schemas.microsoft.com/office/drawing/2014/main" id="{3546D16E-94CB-4C9D-BE59-E12796E47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59" y="5869123"/>
              <a:ext cx="243761" cy="209746"/>
            </a:xfrm>
            <a:custGeom>
              <a:avLst/>
              <a:gdLst>
                <a:gd name="T0" fmla="*/ 112 w 122"/>
                <a:gd name="T1" fmla="*/ 43 h 105"/>
                <a:gd name="T2" fmla="*/ 111 w 122"/>
                <a:gd name="T3" fmla="*/ 32 h 105"/>
                <a:gd name="T4" fmla="*/ 108 w 122"/>
                <a:gd name="T5" fmla="*/ 22 h 105"/>
                <a:gd name="T6" fmla="*/ 117 w 122"/>
                <a:gd name="T7" fmla="*/ 15 h 105"/>
                <a:gd name="T8" fmla="*/ 107 w 122"/>
                <a:gd name="T9" fmla="*/ 0 h 105"/>
                <a:gd name="T10" fmla="*/ 100 w 122"/>
                <a:gd name="T11" fmla="*/ 3 h 105"/>
                <a:gd name="T12" fmla="*/ 100 w 122"/>
                <a:gd name="T13" fmla="*/ 4 h 105"/>
                <a:gd name="T14" fmla="*/ 92 w 122"/>
                <a:gd name="T15" fmla="*/ 24 h 105"/>
                <a:gd name="T16" fmla="*/ 87 w 122"/>
                <a:gd name="T17" fmla="*/ 35 h 105"/>
                <a:gd name="T18" fmla="*/ 76 w 122"/>
                <a:gd name="T19" fmla="*/ 32 h 105"/>
                <a:gd name="T20" fmla="*/ 62 w 122"/>
                <a:gd name="T21" fmla="*/ 28 h 105"/>
                <a:gd name="T22" fmla="*/ 60 w 122"/>
                <a:gd name="T23" fmla="*/ 30 h 105"/>
                <a:gd name="T24" fmla="*/ 64 w 122"/>
                <a:gd name="T25" fmla="*/ 44 h 105"/>
                <a:gd name="T26" fmla="*/ 66 w 122"/>
                <a:gd name="T27" fmla="*/ 55 h 105"/>
                <a:gd name="T28" fmla="*/ 56 w 122"/>
                <a:gd name="T29" fmla="*/ 60 h 105"/>
                <a:gd name="T30" fmla="*/ 36 w 122"/>
                <a:gd name="T31" fmla="*/ 68 h 105"/>
                <a:gd name="T32" fmla="*/ 25 w 122"/>
                <a:gd name="T33" fmla="*/ 73 h 105"/>
                <a:gd name="T34" fmla="*/ 19 w 122"/>
                <a:gd name="T35" fmla="*/ 63 h 105"/>
                <a:gd name="T36" fmla="*/ 12 w 122"/>
                <a:gd name="T37" fmla="*/ 50 h 105"/>
                <a:gd name="T38" fmla="*/ 10 w 122"/>
                <a:gd name="T39" fmla="*/ 50 h 105"/>
                <a:gd name="T40" fmla="*/ 9 w 122"/>
                <a:gd name="T41" fmla="*/ 50 h 105"/>
                <a:gd name="T42" fmla="*/ 7 w 122"/>
                <a:gd name="T43" fmla="*/ 55 h 105"/>
                <a:gd name="T44" fmla="*/ 8 w 122"/>
                <a:gd name="T45" fmla="*/ 61 h 105"/>
                <a:gd name="T46" fmla="*/ 0 w 122"/>
                <a:gd name="T47" fmla="*/ 68 h 105"/>
                <a:gd name="T48" fmla="*/ 9 w 122"/>
                <a:gd name="T49" fmla="*/ 83 h 105"/>
                <a:gd name="T50" fmla="*/ 20 w 122"/>
                <a:gd name="T51" fmla="*/ 78 h 105"/>
                <a:gd name="T52" fmla="*/ 37 w 122"/>
                <a:gd name="T53" fmla="*/ 90 h 105"/>
                <a:gd name="T54" fmla="*/ 36 w 122"/>
                <a:gd name="T55" fmla="*/ 101 h 105"/>
                <a:gd name="T56" fmla="*/ 53 w 122"/>
                <a:gd name="T57" fmla="*/ 105 h 105"/>
                <a:gd name="T58" fmla="*/ 57 w 122"/>
                <a:gd name="T59" fmla="*/ 95 h 105"/>
                <a:gd name="T60" fmla="*/ 68 w 122"/>
                <a:gd name="T61" fmla="*/ 94 h 105"/>
                <a:gd name="T62" fmla="*/ 78 w 122"/>
                <a:gd name="T63" fmla="*/ 92 h 105"/>
                <a:gd name="T64" fmla="*/ 85 w 122"/>
                <a:gd name="T65" fmla="*/ 100 h 105"/>
                <a:gd name="T66" fmla="*/ 100 w 122"/>
                <a:gd name="T67" fmla="*/ 91 h 105"/>
                <a:gd name="T68" fmla="*/ 95 w 122"/>
                <a:gd name="T69" fmla="*/ 80 h 105"/>
                <a:gd name="T70" fmla="*/ 107 w 122"/>
                <a:gd name="T71" fmla="*/ 63 h 105"/>
                <a:gd name="T72" fmla="*/ 118 w 122"/>
                <a:gd name="T73" fmla="*/ 64 h 105"/>
                <a:gd name="T74" fmla="*/ 122 w 122"/>
                <a:gd name="T75" fmla="*/ 47 h 105"/>
                <a:gd name="T76" fmla="*/ 112 w 122"/>
                <a:gd name="T77" fmla="*/ 4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" h="105">
                  <a:moveTo>
                    <a:pt x="112" y="43"/>
                  </a:moveTo>
                  <a:cubicBezTo>
                    <a:pt x="112" y="40"/>
                    <a:pt x="112" y="36"/>
                    <a:pt x="111" y="32"/>
                  </a:cubicBezTo>
                  <a:cubicBezTo>
                    <a:pt x="111" y="29"/>
                    <a:pt x="110" y="26"/>
                    <a:pt x="108" y="22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1" y="29"/>
                    <a:pt x="61" y="29"/>
                    <a:pt x="60" y="30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8" y="59"/>
                    <a:pt x="8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4" y="83"/>
                    <a:pt x="30" y="88"/>
                    <a:pt x="37" y="9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60" y="95"/>
                    <a:pt x="64" y="95"/>
                    <a:pt x="68" y="94"/>
                  </a:cubicBezTo>
                  <a:cubicBezTo>
                    <a:pt x="71" y="94"/>
                    <a:pt x="74" y="93"/>
                    <a:pt x="78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100" y="76"/>
                    <a:pt x="104" y="70"/>
                    <a:pt x="107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112" y="43"/>
                  </a:ln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14" name="Freeform 93">
              <a:extLst>
                <a:ext uri="{FF2B5EF4-FFF2-40B4-BE49-F238E27FC236}">
                  <a16:creationId xmlns:a16="http://schemas.microsoft.com/office/drawing/2014/main" id="{D9A78D1D-42DF-4FFD-8EFC-DEF3CB8A2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96" y="5670715"/>
              <a:ext cx="309897" cy="309894"/>
            </a:xfrm>
            <a:custGeom>
              <a:avLst/>
              <a:gdLst>
                <a:gd name="T0" fmla="*/ 57 w 155"/>
                <a:gd name="T1" fmla="*/ 0 h 155"/>
                <a:gd name="T2" fmla="*/ 70 w 155"/>
                <a:gd name="T3" fmla="*/ 20 h 155"/>
                <a:gd name="T4" fmla="*/ 77 w 155"/>
                <a:gd name="T5" fmla="*/ 20 h 155"/>
                <a:gd name="T6" fmla="*/ 85 w 155"/>
                <a:gd name="T7" fmla="*/ 20 h 155"/>
                <a:gd name="T8" fmla="*/ 98 w 155"/>
                <a:gd name="T9" fmla="*/ 0 h 155"/>
                <a:gd name="T10" fmla="*/ 118 w 155"/>
                <a:gd name="T11" fmla="*/ 8 h 155"/>
                <a:gd name="T12" fmla="*/ 112 w 155"/>
                <a:gd name="T13" fmla="*/ 32 h 155"/>
                <a:gd name="T14" fmla="*/ 123 w 155"/>
                <a:gd name="T15" fmla="*/ 43 h 155"/>
                <a:gd name="T16" fmla="*/ 147 w 155"/>
                <a:gd name="T17" fmla="*/ 37 h 155"/>
                <a:gd name="T18" fmla="*/ 155 w 155"/>
                <a:gd name="T19" fmla="*/ 57 h 155"/>
                <a:gd name="T20" fmla="*/ 135 w 155"/>
                <a:gd name="T21" fmla="*/ 69 h 155"/>
                <a:gd name="T22" fmla="*/ 135 w 155"/>
                <a:gd name="T23" fmla="*/ 85 h 155"/>
                <a:gd name="T24" fmla="*/ 155 w 155"/>
                <a:gd name="T25" fmla="*/ 98 h 155"/>
                <a:gd name="T26" fmla="*/ 146 w 155"/>
                <a:gd name="T27" fmla="*/ 118 h 155"/>
                <a:gd name="T28" fmla="*/ 124 w 155"/>
                <a:gd name="T29" fmla="*/ 112 h 155"/>
                <a:gd name="T30" fmla="*/ 112 w 155"/>
                <a:gd name="T31" fmla="*/ 124 h 155"/>
                <a:gd name="T32" fmla="*/ 118 w 155"/>
                <a:gd name="T33" fmla="*/ 146 h 155"/>
                <a:gd name="T34" fmla="*/ 98 w 155"/>
                <a:gd name="T35" fmla="*/ 155 h 155"/>
                <a:gd name="T36" fmla="*/ 86 w 155"/>
                <a:gd name="T37" fmla="*/ 135 h 155"/>
                <a:gd name="T38" fmla="*/ 77 w 155"/>
                <a:gd name="T39" fmla="*/ 136 h 155"/>
                <a:gd name="T40" fmla="*/ 69 w 155"/>
                <a:gd name="T41" fmla="*/ 135 h 155"/>
                <a:gd name="T42" fmla="*/ 57 w 155"/>
                <a:gd name="T43" fmla="*/ 155 h 155"/>
                <a:gd name="T44" fmla="*/ 37 w 155"/>
                <a:gd name="T45" fmla="*/ 146 h 155"/>
                <a:gd name="T46" fmla="*/ 42 w 155"/>
                <a:gd name="T47" fmla="*/ 124 h 155"/>
                <a:gd name="T48" fmla="*/ 30 w 155"/>
                <a:gd name="T49" fmla="*/ 112 h 155"/>
                <a:gd name="T50" fmla="*/ 8 w 155"/>
                <a:gd name="T51" fmla="*/ 117 h 155"/>
                <a:gd name="T52" fmla="*/ 0 w 155"/>
                <a:gd name="T53" fmla="*/ 97 h 155"/>
                <a:gd name="T54" fmla="*/ 20 w 155"/>
                <a:gd name="T55" fmla="*/ 86 h 155"/>
                <a:gd name="T56" fmla="*/ 20 w 155"/>
                <a:gd name="T57" fmla="*/ 69 h 155"/>
                <a:gd name="T58" fmla="*/ 0 w 155"/>
                <a:gd name="T59" fmla="*/ 57 h 155"/>
                <a:gd name="T60" fmla="*/ 9 w 155"/>
                <a:gd name="T61" fmla="*/ 37 h 155"/>
                <a:gd name="T62" fmla="*/ 31 w 155"/>
                <a:gd name="T63" fmla="*/ 42 h 155"/>
                <a:gd name="T64" fmla="*/ 43 w 155"/>
                <a:gd name="T65" fmla="*/ 31 h 155"/>
                <a:gd name="T66" fmla="*/ 37 w 155"/>
                <a:gd name="T67" fmla="*/ 8 h 155"/>
                <a:gd name="T68" fmla="*/ 57 w 155"/>
                <a:gd name="T6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57" y="0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72" y="20"/>
                    <a:pt x="75" y="20"/>
                    <a:pt x="77" y="20"/>
                  </a:cubicBezTo>
                  <a:cubicBezTo>
                    <a:pt x="80" y="20"/>
                    <a:pt x="83" y="20"/>
                    <a:pt x="85" y="2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7" y="35"/>
                    <a:pt x="120" y="39"/>
                    <a:pt x="123" y="43"/>
                  </a:cubicBezTo>
                  <a:cubicBezTo>
                    <a:pt x="147" y="37"/>
                    <a:pt x="147" y="37"/>
                    <a:pt x="147" y="37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35" y="69"/>
                    <a:pt x="135" y="69"/>
                    <a:pt x="135" y="69"/>
                  </a:cubicBezTo>
                  <a:cubicBezTo>
                    <a:pt x="135" y="75"/>
                    <a:pt x="135" y="80"/>
                    <a:pt x="135" y="8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1" y="117"/>
                    <a:pt x="117" y="121"/>
                    <a:pt x="112" y="124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3" y="136"/>
                    <a:pt x="80" y="136"/>
                    <a:pt x="77" y="136"/>
                  </a:cubicBezTo>
                  <a:cubicBezTo>
                    <a:pt x="74" y="136"/>
                    <a:pt x="72" y="136"/>
                    <a:pt x="69" y="13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38" y="121"/>
                    <a:pt x="34" y="117"/>
                    <a:pt x="30" y="11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0"/>
                    <a:pt x="19" y="75"/>
                    <a:pt x="20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8"/>
                    <a:pt x="38" y="34"/>
                    <a:pt x="43" y="31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404BF5B2-F65F-4F81-B11E-E1F5F9A8790A}"/>
              </a:ext>
            </a:extLst>
          </p:cNvPr>
          <p:cNvSpPr/>
          <p:nvPr/>
        </p:nvSpPr>
        <p:spPr bwMode="auto">
          <a:xfrm>
            <a:off x="4873454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3107D88-DE01-496C-BEEB-AF14F948A40F}"/>
              </a:ext>
            </a:extLst>
          </p:cNvPr>
          <p:cNvSpPr/>
          <p:nvPr/>
        </p:nvSpPr>
        <p:spPr bwMode="auto">
          <a:xfrm>
            <a:off x="7881645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1202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FBF918-45FB-4318-AFAD-365322976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790622"/>
            <a:ext cx="11306469" cy="616379"/>
          </a:xfrm>
        </p:spPr>
        <p:txBody>
          <a:bodyPr/>
          <a:lstStyle/>
          <a:p>
            <a:pPr algn="ctr"/>
            <a:r>
              <a:rPr lang="en-US"/>
              <a:t>Azure Stack Hub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72B794C-0563-45E7-9298-76A770C78952}"/>
              </a:ext>
            </a:extLst>
          </p:cNvPr>
          <p:cNvSpPr/>
          <p:nvPr/>
        </p:nvSpPr>
        <p:spPr bwMode="auto">
          <a:xfrm flipV="1">
            <a:off x="0" y="4409769"/>
            <a:ext cx="12192000" cy="24482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6EFC45BB-C9AF-4CF3-8753-36683C584145}"/>
              </a:ext>
            </a:extLst>
          </p:cNvPr>
          <p:cNvSpPr/>
          <p:nvPr/>
        </p:nvSpPr>
        <p:spPr bwMode="auto">
          <a:xfrm>
            <a:off x="2575218" y="5783263"/>
            <a:ext cx="683703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BCFB5B16-23E1-4F77-B6E1-62AC86556545}"/>
              </a:ext>
            </a:extLst>
          </p:cNvPr>
          <p:cNvSpPr/>
          <p:nvPr/>
        </p:nvSpPr>
        <p:spPr bwMode="auto">
          <a:xfrm>
            <a:off x="5782690" y="5200783"/>
            <a:ext cx="626620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568A4FB-2C64-43FD-9AC2-7E1DD87DF94A}"/>
              </a:ext>
            </a:extLst>
          </p:cNvPr>
          <p:cNvSpPr txBox="1"/>
          <p:nvPr/>
        </p:nvSpPr>
        <p:spPr>
          <a:xfrm>
            <a:off x="1636909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Consistent application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developm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3F98887-509B-45F2-A8AA-DC83AF0FC0A3}"/>
              </a:ext>
            </a:extLst>
          </p:cNvPr>
          <p:cNvSpPr txBox="1"/>
          <p:nvPr/>
        </p:nvSpPr>
        <p:spPr>
          <a:xfrm>
            <a:off x="4815840" y="5495826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3C6C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zure services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vailable on-premise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FD3CBEF-E470-42D6-9C5F-4415B41249E0}"/>
              </a:ext>
            </a:extLst>
          </p:cNvPr>
          <p:cNvSpPr txBox="1"/>
          <p:nvPr/>
        </p:nvSpPr>
        <p:spPr>
          <a:xfrm>
            <a:off x="7994771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Purpose-built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integrated system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3A0A2CB-BB86-402F-97D9-5A083A8D9A9C}"/>
              </a:ext>
            </a:extLst>
          </p:cNvPr>
          <p:cNvSpPr/>
          <p:nvPr/>
        </p:nvSpPr>
        <p:spPr bwMode="auto">
          <a:xfrm>
            <a:off x="5595725" y="3905188"/>
            <a:ext cx="1000551" cy="100055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err="1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D6E6F60-45BB-47D4-B212-3C422C0C70B5}"/>
              </a:ext>
            </a:extLst>
          </p:cNvPr>
          <p:cNvSpPr/>
          <p:nvPr/>
        </p:nvSpPr>
        <p:spPr bwMode="auto">
          <a:xfrm>
            <a:off x="8963863" y="5783263"/>
            <a:ext cx="622137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8" name="Group 87" descr="consistency">
            <a:extLst>
              <a:ext uri="{FF2B5EF4-FFF2-40B4-BE49-F238E27FC236}">
                <a16:creationId xmlns:a16="http://schemas.microsoft.com/office/drawing/2014/main" id="{60654DBD-0ADD-4CFE-8D21-F0A6DE1F440D}"/>
              </a:ext>
            </a:extLst>
          </p:cNvPr>
          <p:cNvGrpSpPr/>
          <p:nvPr/>
        </p:nvGrpSpPr>
        <p:grpSpPr>
          <a:xfrm>
            <a:off x="2631410" y="4898055"/>
            <a:ext cx="571318" cy="569276"/>
            <a:chOff x="5422662" y="5746953"/>
            <a:chExt cx="435762" cy="434205"/>
          </a:xfrm>
        </p:grpSpPr>
        <p:sp>
          <p:nvSpPr>
            <p:cNvPr id="89" name="Freeform 841">
              <a:extLst>
                <a:ext uri="{FF2B5EF4-FFF2-40B4-BE49-F238E27FC236}">
                  <a16:creationId xmlns:a16="http://schemas.microsoft.com/office/drawing/2014/main" id="{4DDCAE0E-86E1-482A-8147-F066FC7F7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83" y="5815430"/>
              <a:ext cx="133841" cy="348609"/>
            </a:xfrm>
            <a:custGeom>
              <a:avLst/>
              <a:gdLst>
                <a:gd name="T0" fmla="*/ 116 w 116"/>
                <a:gd name="T1" fmla="*/ 133 h 304"/>
                <a:gd name="T2" fmla="*/ 60 w 116"/>
                <a:gd name="T3" fmla="*/ 0 h 304"/>
                <a:gd name="T4" fmla="*/ 46 w 116"/>
                <a:gd name="T5" fmla="*/ 14 h 304"/>
                <a:gd name="T6" fmla="*/ 48 w 116"/>
                <a:gd name="T7" fmla="*/ 16 h 304"/>
                <a:gd name="T8" fmla="*/ 83 w 116"/>
                <a:gd name="T9" fmla="*/ 68 h 304"/>
                <a:gd name="T10" fmla="*/ 96 w 116"/>
                <a:gd name="T11" fmla="*/ 133 h 304"/>
                <a:gd name="T12" fmla="*/ 83 w 116"/>
                <a:gd name="T13" fmla="*/ 197 h 304"/>
                <a:gd name="T14" fmla="*/ 47 w 116"/>
                <a:gd name="T15" fmla="*/ 250 h 304"/>
                <a:gd name="T16" fmla="*/ 19 w 116"/>
                <a:gd name="T17" fmla="*/ 273 h 304"/>
                <a:gd name="T18" fmla="*/ 5 w 116"/>
                <a:gd name="T19" fmla="*/ 255 h 304"/>
                <a:gd name="T20" fmla="*/ 0 w 116"/>
                <a:gd name="T21" fmla="*/ 299 h 304"/>
                <a:gd name="T22" fmla="*/ 43 w 116"/>
                <a:gd name="T23" fmla="*/ 304 h 304"/>
                <a:gd name="T24" fmla="*/ 31 w 116"/>
                <a:gd name="T25" fmla="*/ 289 h 304"/>
                <a:gd name="T26" fmla="*/ 116 w 116"/>
                <a:gd name="T27" fmla="*/ 13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04">
                  <a:moveTo>
                    <a:pt x="116" y="133"/>
                  </a:moveTo>
                  <a:cubicBezTo>
                    <a:pt x="116" y="81"/>
                    <a:pt x="94" y="33"/>
                    <a:pt x="60" y="0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5"/>
                    <a:pt x="48" y="16"/>
                  </a:cubicBezTo>
                  <a:cubicBezTo>
                    <a:pt x="63" y="31"/>
                    <a:pt x="75" y="49"/>
                    <a:pt x="83" y="68"/>
                  </a:cubicBezTo>
                  <a:cubicBezTo>
                    <a:pt x="92" y="89"/>
                    <a:pt x="96" y="111"/>
                    <a:pt x="96" y="133"/>
                  </a:cubicBezTo>
                  <a:cubicBezTo>
                    <a:pt x="96" y="155"/>
                    <a:pt x="91" y="177"/>
                    <a:pt x="83" y="197"/>
                  </a:cubicBezTo>
                  <a:cubicBezTo>
                    <a:pt x="74" y="217"/>
                    <a:pt x="62" y="235"/>
                    <a:pt x="47" y="250"/>
                  </a:cubicBezTo>
                  <a:cubicBezTo>
                    <a:pt x="39" y="259"/>
                    <a:pt x="29" y="266"/>
                    <a:pt x="19" y="273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43" y="304"/>
                    <a:pt x="43" y="304"/>
                    <a:pt x="43" y="304"/>
                  </a:cubicBezTo>
                  <a:cubicBezTo>
                    <a:pt x="31" y="289"/>
                    <a:pt x="31" y="289"/>
                    <a:pt x="31" y="289"/>
                  </a:cubicBezTo>
                  <a:cubicBezTo>
                    <a:pt x="82" y="255"/>
                    <a:pt x="116" y="198"/>
                    <a:pt x="116" y="133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0" name="Freeform 842">
              <a:extLst>
                <a:ext uri="{FF2B5EF4-FFF2-40B4-BE49-F238E27FC236}">
                  <a16:creationId xmlns:a16="http://schemas.microsoft.com/office/drawing/2014/main" id="{6A20A64A-5BD2-4CF4-B0A8-40A2FFCD8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662" y="6009966"/>
              <a:ext cx="273908" cy="171192"/>
            </a:xfrm>
            <a:custGeom>
              <a:avLst/>
              <a:gdLst>
                <a:gd name="T0" fmla="*/ 232 w 238"/>
                <a:gd name="T1" fmla="*/ 124 h 148"/>
                <a:gd name="T2" fmla="*/ 192 w 238"/>
                <a:gd name="T3" fmla="*/ 128 h 148"/>
                <a:gd name="T4" fmla="*/ 192 w 238"/>
                <a:gd name="T5" fmla="*/ 128 h 148"/>
                <a:gd name="T6" fmla="*/ 127 w 238"/>
                <a:gd name="T7" fmla="*/ 115 h 148"/>
                <a:gd name="T8" fmla="*/ 75 w 238"/>
                <a:gd name="T9" fmla="*/ 80 h 148"/>
                <a:gd name="T10" fmla="*/ 41 w 238"/>
                <a:gd name="T11" fmla="*/ 30 h 148"/>
                <a:gd name="T12" fmla="*/ 61 w 238"/>
                <a:gd name="T13" fmla="*/ 26 h 148"/>
                <a:gd name="T14" fmla="*/ 26 w 238"/>
                <a:gd name="T15" fmla="*/ 0 h 148"/>
                <a:gd name="T16" fmla="*/ 0 w 238"/>
                <a:gd name="T17" fmla="*/ 36 h 148"/>
                <a:gd name="T18" fmla="*/ 20 w 238"/>
                <a:gd name="T19" fmla="*/ 33 h 148"/>
                <a:gd name="T20" fmla="*/ 192 w 238"/>
                <a:gd name="T21" fmla="*/ 148 h 148"/>
                <a:gd name="T22" fmla="*/ 192 w 238"/>
                <a:gd name="T23" fmla="*/ 148 h 148"/>
                <a:gd name="T24" fmla="*/ 238 w 238"/>
                <a:gd name="T25" fmla="*/ 143 h 148"/>
                <a:gd name="T26" fmla="*/ 232 w 238"/>
                <a:gd name="T27" fmla="*/ 12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148">
                  <a:moveTo>
                    <a:pt x="232" y="124"/>
                  </a:moveTo>
                  <a:cubicBezTo>
                    <a:pt x="219" y="127"/>
                    <a:pt x="206" y="128"/>
                    <a:pt x="192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70" y="128"/>
                    <a:pt x="148" y="124"/>
                    <a:pt x="127" y="115"/>
                  </a:cubicBezTo>
                  <a:cubicBezTo>
                    <a:pt x="108" y="107"/>
                    <a:pt x="90" y="95"/>
                    <a:pt x="75" y="80"/>
                  </a:cubicBezTo>
                  <a:cubicBezTo>
                    <a:pt x="60" y="65"/>
                    <a:pt x="49" y="48"/>
                    <a:pt x="41" y="3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48" y="100"/>
                    <a:pt x="114" y="148"/>
                    <a:pt x="192" y="148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208" y="148"/>
                    <a:pt x="223" y="146"/>
                    <a:pt x="238" y="143"/>
                  </a:cubicBezTo>
                  <a:lnTo>
                    <a:pt x="232" y="124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1" name="Freeform 843">
              <a:extLst>
                <a:ext uri="{FF2B5EF4-FFF2-40B4-BE49-F238E27FC236}">
                  <a16:creationId xmlns:a16="http://schemas.microsoft.com/office/drawing/2014/main" id="{CF164236-2B78-4120-8EB4-8D12256AF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444" y="5746953"/>
              <a:ext cx="325266" cy="216325"/>
            </a:xfrm>
            <a:custGeom>
              <a:avLst/>
              <a:gdLst>
                <a:gd name="T0" fmla="*/ 282 w 282"/>
                <a:gd name="T1" fmla="*/ 40 h 188"/>
                <a:gd name="T2" fmla="*/ 264 w 282"/>
                <a:gd name="T3" fmla="*/ 0 h 188"/>
                <a:gd name="T4" fmla="*/ 257 w 282"/>
                <a:gd name="T5" fmla="*/ 20 h 188"/>
                <a:gd name="T6" fmla="*/ 186 w 282"/>
                <a:gd name="T7" fmla="*/ 6 h 188"/>
                <a:gd name="T8" fmla="*/ 185 w 282"/>
                <a:gd name="T9" fmla="*/ 6 h 188"/>
                <a:gd name="T10" fmla="*/ 0 w 282"/>
                <a:gd name="T11" fmla="*/ 188 h 188"/>
                <a:gd name="T12" fmla="*/ 20 w 282"/>
                <a:gd name="T13" fmla="*/ 188 h 188"/>
                <a:gd name="T14" fmla="*/ 33 w 282"/>
                <a:gd name="T15" fmla="*/ 127 h 188"/>
                <a:gd name="T16" fmla="*/ 68 w 282"/>
                <a:gd name="T17" fmla="*/ 74 h 188"/>
                <a:gd name="T18" fmla="*/ 121 w 282"/>
                <a:gd name="T19" fmla="*/ 39 h 188"/>
                <a:gd name="T20" fmla="*/ 185 w 282"/>
                <a:gd name="T21" fmla="*/ 26 h 188"/>
                <a:gd name="T22" fmla="*/ 185 w 282"/>
                <a:gd name="T23" fmla="*/ 26 h 188"/>
                <a:gd name="T24" fmla="*/ 249 w 282"/>
                <a:gd name="T25" fmla="*/ 39 h 188"/>
                <a:gd name="T26" fmla="*/ 242 w 282"/>
                <a:gd name="T27" fmla="*/ 58 h 188"/>
                <a:gd name="T28" fmla="*/ 282 w 282"/>
                <a:gd name="T29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2" h="188">
                  <a:moveTo>
                    <a:pt x="282" y="40"/>
                  </a:moveTo>
                  <a:cubicBezTo>
                    <a:pt x="264" y="0"/>
                    <a:pt x="264" y="0"/>
                    <a:pt x="264" y="0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35" y="11"/>
                    <a:pt x="211" y="6"/>
                    <a:pt x="186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84" y="6"/>
                    <a:pt x="2" y="87"/>
                    <a:pt x="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20" y="167"/>
                    <a:pt x="24" y="146"/>
                    <a:pt x="33" y="127"/>
                  </a:cubicBezTo>
                  <a:cubicBezTo>
                    <a:pt x="41" y="107"/>
                    <a:pt x="53" y="90"/>
                    <a:pt x="68" y="74"/>
                  </a:cubicBezTo>
                  <a:cubicBezTo>
                    <a:pt x="83" y="59"/>
                    <a:pt x="101" y="47"/>
                    <a:pt x="121" y="39"/>
                  </a:cubicBezTo>
                  <a:cubicBezTo>
                    <a:pt x="141" y="30"/>
                    <a:pt x="163" y="26"/>
                    <a:pt x="185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208" y="26"/>
                    <a:pt x="229" y="30"/>
                    <a:pt x="249" y="39"/>
                  </a:cubicBezTo>
                  <a:cubicBezTo>
                    <a:pt x="242" y="58"/>
                    <a:pt x="242" y="58"/>
                    <a:pt x="242" y="58"/>
                  </a:cubicBezTo>
                  <a:lnTo>
                    <a:pt x="282" y="4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2" name="Freeform 844">
              <a:extLst>
                <a:ext uri="{FF2B5EF4-FFF2-40B4-BE49-F238E27FC236}">
                  <a16:creationId xmlns:a16="http://schemas.microsoft.com/office/drawing/2014/main" id="{17D49444-6B21-425A-9C8D-01A708103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8026" y="5810760"/>
              <a:ext cx="308146" cy="306590"/>
            </a:xfrm>
            <a:custGeom>
              <a:avLst/>
              <a:gdLst>
                <a:gd name="T0" fmla="*/ 267 w 267"/>
                <a:gd name="T1" fmla="*/ 153 h 267"/>
                <a:gd name="T2" fmla="*/ 267 w 267"/>
                <a:gd name="T3" fmla="*/ 114 h 267"/>
                <a:gd name="T4" fmla="*/ 239 w 267"/>
                <a:gd name="T5" fmla="*/ 114 h 267"/>
                <a:gd name="T6" fmla="*/ 222 w 267"/>
                <a:gd name="T7" fmla="*/ 73 h 267"/>
                <a:gd name="T8" fmla="*/ 242 w 267"/>
                <a:gd name="T9" fmla="*/ 53 h 267"/>
                <a:gd name="T10" fmla="*/ 215 w 267"/>
                <a:gd name="T11" fmla="*/ 25 h 267"/>
                <a:gd name="T12" fmla="*/ 195 w 267"/>
                <a:gd name="T13" fmla="*/ 45 h 267"/>
                <a:gd name="T14" fmla="*/ 153 w 267"/>
                <a:gd name="T15" fmla="*/ 28 h 267"/>
                <a:gd name="T16" fmla="*/ 153 w 267"/>
                <a:gd name="T17" fmla="*/ 0 h 267"/>
                <a:gd name="T18" fmla="*/ 114 w 267"/>
                <a:gd name="T19" fmla="*/ 0 h 267"/>
                <a:gd name="T20" fmla="*/ 114 w 267"/>
                <a:gd name="T21" fmla="*/ 28 h 267"/>
                <a:gd name="T22" fmla="*/ 73 w 267"/>
                <a:gd name="T23" fmla="*/ 45 h 267"/>
                <a:gd name="T24" fmla="*/ 53 w 267"/>
                <a:gd name="T25" fmla="*/ 25 h 267"/>
                <a:gd name="T26" fmla="*/ 25 w 267"/>
                <a:gd name="T27" fmla="*/ 53 h 267"/>
                <a:gd name="T28" fmla="*/ 46 w 267"/>
                <a:gd name="T29" fmla="*/ 73 h 267"/>
                <a:gd name="T30" fmla="*/ 29 w 267"/>
                <a:gd name="T31" fmla="*/ 114 h 267"/>
                <a:gd name="T32" fmla="*/ 0 w 267"/>
                <a:gd name="T33" fmla="*/ 114 h 267"/>
                <a:gd name="T34" fmla="*/ 0 w 267"/>
                <a:gd name="T35" fmla="*/ 153 h 267"/>
                <a:gd name="T36" fmla="*/ 30 w 267"/>
                <a:gd name="T37" fmla="*/ 153 h 267"/>
                <a:gd name="T38" fmla="*/ 46 w 267"/>
                <a:gd name="T39" fmla="*/ 193 h 267"/>
                <a:gd name="T40" fmla="*/ 25 w 267"/>
                <a:gd name="T41" fmla="*/ 214 h 267"/>
                <a:gd name="T42" fmla="*/ 53 w 267"/>
                <a:gd name="T43" fmla="*/ 242 h 267"/>
                <a:gd name="T44" fmla="*/ 74 w 267"/>
                <a:gd name="T45" fmla="*/ 221 h 267"/>
                <a:gd name="T46" fmla="*/ 114 w 267"/>
                <a:gd name="T47" fmla="*/ 237 h 267"/>
                <a:gd name="T48" fmla="*/ 114 w 267"/>
                <a:gd name="T49" fmla="*/ 267 h 267"/>
                <a:gd name="T50" fmla="*/ 153 w 267"/>
                <a:gd name="T51" fmla="*/ 267 h 267"/>
                <a:gd name="T52" fmla="*/ 153 w 267"/>
                <a:gd name="T53" fmla="*/ 238 h 267"/>
                <a:gd name="T54" fmla="*/ 194 w 267"/>
                <a:gd name="T55" fmla="*/ 221 h 267"/>
                <a:gd name="T56" fmla="*/ 214 w 267"/>
                <a:gd name="T57" fmla="*/ 242 h 267"/>
                <a:gd name="T58" fmla="*/ 242 w 267"/>
                <a:gd name="T59" fmla="*/ 215 h 267"/>
                <a:gd name="T60" fmla="*/ 221 w 267"/>
                <a:gd name="T61" fmla="*/ 194 h 267"/>
                <a:gd name="T62" fmla="*/ 239 w 267"/>
                <a:gd name="T63" fmla="*/ 153 h 267"/>
                <a:gd name="T64" fmla="*/ 267 w 267"/>
                <a:gd name="T65" fmla="*/ 15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7" h="267">
                  <a:moveTo>
                    <a:pt x="267" y="153"/>
                  </a:moveTo>
                  <a:cubicBezTo>
                    <a:pt x="267" y="114"/>
                    <a:pt x="267" y="114"/>
                    <a:pt x="267" y="114"/>
                  </a:cubicBezTo>
                  <a:cubicBezTo>
                    <a:pt x="239" y="114"/>
                    <a:pt x="239" y="114"/>
                    <a:pt x="239" y="114"/>
                  </a:cubicBezTo>
                  <a:cubicBezTo>
                    <a:pt x="237" y="99"/>
                    <a:pt x="231" y="85"/>
                    <a:pt x="222" y="7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15" y="25"/>
                    <a:pt x="215" y="25"/>
                    <a:pt x="215" y="2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83" y="36"/>
                    <a:pt x="169" y="31"/>
                    <a:pt x="153" y="28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99" y="31"/>
                    <a:pt x="85" y="37"/>
                    <a:pt x="73" y="4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8" y="85"/>
                    <a:pt x="32" y="99"/>
                    <a:pt x="29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32" y="168"/>
                    <a:pt x="38" y="181"/>
                    <a:pt x="46" y="193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53" y="242"/>
                    <a:pt x="53" y="242"/>
                    <a:pt x="53" y="242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86" y="229"/>
                    <a:pt x="99" y="235"/>
                    <a:pt x="114" y="237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53" y="267"/>
                    <a:pt x="153" y="267"/>
                    <a:pt x="153" y="267"/>
                  </a:cubicBezTo>
                  <a:cubicBezTo>
                    <a:pt x="153" y="238"/>
                    <a:pt x="153" y="238"/>
                    <a:pt x="153" y="238"/>
                  </a:cubicBezTo>
                  <a:cubicBezTo>
                    <a:pt x="168" y="235"/>
                    <a:pt x="182" y="229"/>
                    <a:pt x="194" y="221"/>
                  </a:cubicBezTo>
                  <a:cubicBezTo>
                    <a:pt x="214" y="242"/>
                    <a:pt x="214" y="242"/>
                    <a:pt x="214" y="242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30" y="182"/>
                    <a:pt x="236" y="168"/>
                    <a:pt x="239" y="153"/>
                  </a:cubicBezTo>
                  <a:lnTo>
                    <a:pt x="267" y="15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93" name="Oval 845">
              <a:extLst>
                <a:ext uri="{FF2B5EF4-FFF2-40B4-BE49-F238E27FC236}">
                  <a16:creationId xmlns:a16="http://schemas.microsoft.com/office/drawing/2014/main" id="{AF2F92F7-59C1-40FF-801D-0AB479195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285" y="5885463"/>
              <a:ext cx="157186" cy="1556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94" name="Group 60" descr=" bidirectional, junction, split, change course">
            <a:extLst>
              <a:ext uri="{FF2B5EF4-FFF2-40B4-BE49-F238E27FC236}">
                <a16:creationId xmlns:a16="http://schemas.microsoft.com/office/drawing/2014/main" id="{BA3D99E8-674B-4F13-8D03-D8A8CC7F87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7459" y="4173395"/>
            <a:ext cx="437082" cy="464136"/>
            <a:chOff x="5796" y="793"/>
            <a:chExt cx="210" cy="223"/>
          </a:xfrm>
        </p:grpSpPr>
        <p:sp>
          <p:nvSpPr>
            <p:cNvPr id="95" name="AutoShape 59">
              <a:extLst>
                <a:ext uri="{FF2B5EF4-FFF2-40B4-BE49-F238E27FC236}">
                  <a16:creationId xmlns:a16="http://schemas.microsoft.com/office/drawing/2014/main" id="{28B889DF-0B61-4B0B-A88B-39EE73B1E4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96" y="793"/>
              <a:ext cx="21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1">
              <a:extLst>
                <a:ext uri="{FF2B5EF4-FFF2-40B4-BE49-F238E27FC236}">
                  <a16:creationId xmlns:a16="http://schemas.microsoft.com/office/drawing/2014/main" id="{C321A4C8-425D-4AE8-A2E4-32256B70D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793"/>
              <a:ext cx="121" cy="113"/>
            </a:xfrm>
            <a:custGeom>
              <a:avLst/>
              <a:gdLst>
                <a:gd name="T0" fmla="*/ 55 w 104"/>
                <a:gd name="T1" fmla="*/ 0 h 97"/>
                <a:gd name="T2" fmla="*/ 0 w 104"/>
                <a:gd name="T3" fmla="*/ 16 h 97"/>
                <a:gd name="T4" fmla="*/ 42 w 104"/>
                <a:gd name="T5" fmla="*/ 55 h 97"/>
                <a:gd name="T6" fmla="*/ 45 w 104"/>
                <a:gd name="T7" fmla="*/ 42 h 97"/>
                <a:gd name="T8" fmla="*/ 75 w 104"/>
                <a:gd name="T9" fmla="*/ 97 h 97"/>
                <a:gd name="T10" fmla="*/ 104 w 104"/>
                <a:gd name="T11" fmla="*/ 97 h 97"/>
                <a:gd name="T12" fmla="*/ 53 w 104"/>
                <a:gd name="T13" fmla="*/ 13 h 97"/>
                <a:gd name="T14" fmla="*/ 55 w 104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7">
                  <a:moveTo>
                    <a:pt x="5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4" y="54"/>
                    <a:pt x="75" y="75"/>
                    <a:pt x="75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61"/>
                    <a:pt x="84" y="29"/>
                    <a:pt x="53" y="13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2">
              <a:extLst>
                <a:ext uri="{FF2B5EF4-FFF2-40B4-BE49-F238E27FC236}">
                  <a16:creationId xmlns:a16="http://schemas.microsoft.com/office/drawing/2014/main" id="{1820D8B7-CE39-4059-9375-694B2CF0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" y="793"/>
              <a:ext cx="121" cy="223"/>
            </a:xfrm>
            <a:custGeom>
              <a:avLst/>
              <a:gdLst>
                <a:gd name="T0" fmla="*/ 52 w 104"/>
                <a:gd name="T1" fmla="*/ 13 h 192"/>
                <a:gd name="T2" fmla="*/ 0 w 104"/>
                <a:gd name="T3" fmla="*/ 97 h 192"/>
                <a:gd name="T4" fmla="*/ 97 w 104"/>
                <a:gd name="T5" fmla="*/ 192 h 192"/>
                <a:gd name="T6" fmla="*/ 97 w 104"/>
                <a:gd name="T7" fmla="*/ 163 h 192"/>
                <a:gd name="T8" fmla="*/ 29 w 104"/>
                <a:gd name="T9" fmla="*/ 97 h 192"/>
                <a:gd name="T10" fmla="*/ 60 w 104"/>
                <a:gd name="T11" fmla="*/ 42 h 192"/>
                <a:gd name="T12" fmla="*/ 63 w 104"/>
                <a:gd name="T13" fmla="*/ 55 h 192"/>
                <a:gd name="T14" fmla="*/ 104 w 104"/>
                <a:gd name="T15" fmla="*/ 16 h 192"/>
                <a:gd name="T16" fmla="*/ 49 w 104"/>
                <a:gd name="T17" fmla="*/ 0 h 192"/>
                <a:gd name="T18" fmla="*/ 52 w 104"/>
                <a:gd name="T19" fmla="*/ 1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92">
                  <a:moveTo>
                    <a:pt x="52" y="13"/>
                  </a:moveTo>
                  <a:cubicBezTo>
                    <a:pt x="21" y="29"/>
                    <a:pt x="0" y="61"/>
                    <a:pt x="0" y="97"/>
                  </a:cubicBezTo>
                  <a:cubicBezTo>
                    <a:pt x="0" y="149"/>
                    <a:pt x="43" y="192"/>
                    <a:pt x="97" y="192"/>
                  </a:cubicBezTo>
                  <a:cubicBezTo>
                    <a:pt x="97" y="163"/>
                    <a:pt x="97" y="163"/>
                    <a:pt x="97" y="163"/>
                  </a:cubicBezTo>
                  <a:cubicBezTo>
                    <a:pt x="60" y="163"/>
                    <a:pt x="29" y="133"/>
                    <a:pt x="29" y="97"/>
                  </a:cubicBezTo>
                  <a:cubicBezTo>
                    <a:pt x="29" y="75"/>
                    <a:pt x="41" y="54"/>
                    <a:pt x="60" y="42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2" y="1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97" descr="gears, process, precision, productivity, mechanical">
            <a:extLst>
              <a:ext uri="{FF2B5EF4-FFF2-40B4-BE49-F238E27FC236}">
                <a16:creationId xmlns:a16="http://schemas.microsoft.com/office/drawing/2014/main" id="{CE00373F-37C5-49C9-B1F4-447CC78DC50E}"/>
              </a:ext>
            </a:extLst>
          </p:cNvPr>
          <p:cNvGrpSpPr/>
          <p:nvPr/>
        </p:nvGrpSpPr>
        <p:grpSpPr>
          <a:xfrm>
            <a:off x="9027187" y="4932209"/>
            <a:ext cx="495488" cy="535122"/>
            <a:chOff x="696496" y="5670715"/>
            <a:chExt cx="377924" cy="408154"/>
          </a:xfrm>
        </p:grpSpPr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5A4724DA-C735-4744-9C0E-9E313F8E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59" y="5869123"/>
              <a:ext cx="243761" cy="209746"/>
            </a:xfrm>
            <a:custGeom>
              <a:avLst/>
              <a:gdLst>
                <a:gd name="T0" fmla="*/ 112 w 122"/>
                <a:gd name="T1" fmla="*/ 43 h 105"/>
                <a:gd name="T2" fmla="*/ 111 w 122"/>
                <a:gd name="T3" fmla="*/ 32 h 105"/>
                <a:gd name="T4" fmla="*/ 108 w 122"/>
                <a:gd name="T5" fmla="*/ 22 h 105"/>
                <a:gd name="T6" fmla="*/ 117 w 122"/>
                <a:gd name="T7" fmla="*/ 15 h 105"/>
                <a:gd name="T8" fmla="*/ 107 w 122"/>
                <a:gd name="T9" fmla="*/ 0 h 105"/>
                <a:gd name="T10" fmla="*/ 100 w 122"/>
                <a:gd name="T11" fmla="*/ 3 h 105"/>
                <a:gd name="T12" fmla="*/ 100 w 122"/>
                <a:gd name="T13" fmla="*/ 4 h 105"/>
                <a:gd name="T14" fmla="*/ 92 w 122"/>
                <a:gd name="T15" fmla="*/ 24 h 105"/>
                <a:gd name="T16" fmla="*/ 87 w 122"/>
                <a:gd name="T17" fmla="*/ 35 h 105"/>
                <a:gd name="T18" fmla="*/ 76 w 122"/>
                <a:gd name="T19" fmla="*/ 32 h 105"/>
                <a:gd name="T20" fmla="*/ 62 w 122"/>
                <a:gd name="T21" fmla="*/ 28 h 105"/>
                <a:gd name="T22" fmla="*/ 60 w 122"/>
                <a:gd name="T23" fmla="*/ 30 h 105"/>
                <a:gd name="T24" fmla="*/ 64 w 122"/>
                <a:gd name="T25" fmla="*/ 44 h 105"/>
                <a:gd name="T26" fmla="*/ 66 w 122"/>
                <a:gd name="T27" fmla="*/ 55 h 105"/>
                <a:gd name="T28" fmla="*/ 56 w 122"/>
                <a:gd name="T29" fmla="*/ 60 h 105"/>
                <a:gd name="T30" fmla="*/ 36 w 122"/>
                <a:gd name="T31" fmla="*/ 68 h 105"/>
                <a:gd name="T32" fmla="*/ 25 w 122"/>
                <a:gd name="T33" fmla="*/ 73 h 105"/>
                <a:gd name="T34" fmla="*/ 19 w 122"/>
                <a:gd name="T35" fmla="*/ 63 h 105"/>
                <a:gd name="T36" fmla="*/ 12 w 122"/>
                <a:gd name="T37" fmla="*/ 50 h 105"/>
                <a:gd name="T38" fmla="*/ 10 w 122"/>
                <a:gd name="T39" fmla="*/ 50 h 105"/>
                <a:gd name="T40" fmla="*/ 9 w 122"/>
                <a:gd name="T41" fmla="*/ 50 h 105"/>
                <a:gd name="T42" fmla="*/ 7 w 122"/>
                <a:gd name="T43" fmla="*/ 55 h 105"/>
                <a:gd name="T44" fmla="*/ 8 w 122"/>
                <a:gd name="T45" fmla="*/ 61 h 105"/>
                <a:gd name="T46" fmla="*/ 0 w 122"/>
                <a:gd name="T47" fmla="*/ 68 h 105"/>
                <a:gd name="T48" fmla="*/ 9 w 122"/>
                <a:gd name="T49" fmla="*/ 83 h 105"/>
                <a:gd name="T50" fmla="*/ 20 w 122"/>
                <a:gd name="T51" fmla="*/ 78 h 105"/>
                <a:gd name="T52" fmla="*/ 37 w 122"/>
                <a:gd name="T53" fmla="*/ 90 h 105"/>
                <a:gd name="T54" fmla="*/ 36 w 122"/>
                <a:gd name="T55" fmla="*/ 101 h 105"/>
                <a:gd name="T56" fmla="*/ 53 w 122"/>
                <a:gd name="T57" fmla="*/ 105 h 105"/>
                <a:gd name="T58" fmla="*/ 57 w 122"/>
                <a:gd name="T59" fmla="*/ 95 h 105"/>
                <a:gd name="T60" fmla="*/ 68 w 122"/>
                <a:gd name="T61" fmla="*/ 94 h 105"/>
                <a:gd name="T62" fmla="*/ 78 w 122"/>
                <a:gd name="T63" fmla="*/ 92 h 105"/>
                <a:gd name="T64" fmla="*/ 85 w 122"/>
                <a:gd name="T65" fmla="*/ 100 h 105"/>
                <a:gd name="T66" fmla="*/ 100 w 122"/>
                <a:gd name="T67" fmla="*/ 91 h 105"/>
                <a:gd name="T68" fmla="*/ 95 w 122"/>
                <a:gd name="T69" fmla="*/ 80 h 105"/>
                <a:gd name="T70" fmla="*/ 107 w 122"/>
                <a:gd name="T71" fmla="*/ 63 h 105"/>
                <a:gd name="T72" fmla="*/ 118 w 122"/>
                <a:gd name="T73" fmla="*/ 64 h 105"/>
                <a:gd name="T74" fmla="*/ 122 w 122"/>
                <a:gd name="T75" fmla="*/ 47 h 105"/>
                <a:gd name="T76" fmla="*/ 112 w 122"/>
                <a:gd name="T77" fmla="*/ 4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" h="105">
                  <a:moveTo>
                    <a:pt x="112" y="43"/>
                  </a:moveTo>
                  <a:cubicBezTo>
                    <a:pt x="112" y="40"/>
                    <a:pt x="112" y="36"/>
                    <a:pt x="111" y="32"/>
                  </a:cubicBezTo>
                  <a:cubicBezTo>
                    <a:pt x="111" y="29"/>
                    <a:pt x="110" y="26"/>
                    <a:pt x="108" y="22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1" y="29"/>
                    <a:pt x="61" y="29"/>
                    <a:pt x="60" y="30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8" y="59"/>
                    <a:pt x="8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4" y="83"/>
                    <a:pt x="30" y="88"/>
                    <a:pt x="37" y="9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60" y="95"/>
                    <a:pt x="64" y="95"/>
                    <a:pt x="68" y="94"/>
                  </a:cubicBezTo>
                  <a:cubicBezTo>
                    <a:pt x="71" y="94"/>
                    <a:pt x="74" y="93"/>
                    <a:pt x="78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100" y="76"/>
                    <a:pt x="104" y="70"/>
                    <a:pt x="107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112" y="43"/>
                  </a:ln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7068783-02B3-4353-93ED-DFD017C16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96" y="5670715"/>
              <a:ext cx="309897" cy="309894"/>
            </a:xfrm>
            <a:custGeom>
              <a:avLst/>
              <a:gdLst>
                <a:gd name="T0" fmla="*/ 57 w 155"/>
                <a:gd name="T1" fmla="*/ 0 h 155"/>
                <a:gd name="T2" fmla="*/ 70 w 155"/>
                <a:gd name="T3" fmla="*/ 20 h 155"/>
                <a:gd name="T4" fmla="*/ 77 w 155"/>
                <a:gd name="T5" fmla="*/ 20 h 155"/>
                <a:gd name="T6" fmla="*/ 85 w 155"/>
                <a:gd name="T7" fmla="*/ 20 h 155"/>
                <a:gd name="T8" fmla="*/ 98 w 155"/>
                <a:gd name="T9" fmla="*/ 0 h 155"/>
                <a:gd name="T10" fmla="*/ 118 w 155"/>
                <a:gd name="T11" fmla="*/ 8 h 155"/>
                <a:gd name="T12" fmla="*/ 112 w 155"/>
                <a:gd name="T13" fmla="*/ 32 h 155"/>
                <a:gd name="T14" fmla="*/ 123 w 155"/>
                <a:gd name="T15" fmla="*/ 43 h 155"/>
                <a:gd name="T16" fmla="*/ 147 w 155"/>
                <a:gd name="T17" fmla="*/ 37 h 155"/>
                <a:gd name="T18" fmla="*/ 155 w 155"/>
                <a:gd name="T19" fmla="*/ 57 h 155"/>
                <a:gd name="T20" fmla="*/ 135 w 155"/>
                <a:gd name="T21" fmla="*/ 69 h 155"/>
                <a:gd name="T22" fmla="*/ 135 w 155"/>
                <a:gd name="T23" fmla="*/ 85 h 155"/>
                <a:gd name="T24" fmla="*/ 155 w 155"/>
                <a:gd name="T25" fmla="*/ 98 h 155"/>
                <a:gd name="T26" fmla="*/ 146 w 155"/>
                <a:gd name="T27" fmla="*/ 118 h 155"/>
                <a:gd name="T28" fmla="*/ 124 w 155"/>
                <a:gd name="T29" fmla="*/ 112 h 155"/>
                <a:gd name="T30" fmla="*/ 112 w 155"/>
                <a:gd name="T31" fmla="*/ 124 h 155"/>
                <a:gd name="T32" fmla="*/ 118 w 155"/>
                <a:gd name="T33" fmla="*/ 146 h 155"/>
                <a:gd name="T34" fmla="*/ 98 w 155"/>
                <a:gd name="T35" fmla="*/ 155 h 155"/>
                <a:gd name="T36" fmla="*/ 86 w 155"/>
                <a:gd name="T37" fmla="*/ 135 h 155"/>
                <a:gd name="T38" fmla="*/ 77 w 155"/>
                <a:gd name="T39" fmla="*/ 136 h 155"/>
                <a:gd name="T40" fmla="*/ 69 w 155"/>
                <a:gd name="T41" fmla="*/ 135 h 155"/>
                <a:gd name="T42" fmla="*/ 57 w 155"/>
                <a:gd name="T43" fmla="*/ 155 h 155"/>
                <a:gd name="T44" fmla="*/ 37 w 155"/>
                <a:gd name="T45" fmla="*/ 146 h 155"/>
                <a:gd name="T46" fmla="*/ 42 w 155"/>
                <a:gd name="T47" fmla="*/ 124 h 155"/>
                <a:gd name="T48" fmla="*/ 30 w 155"/>
                <a:gd name="T49" fmla="*/ 112 h 155"/>
                <a:gd name="T50" fmla="*/ 8 w 155"/>
                <a:gd name="T51" fmla="*/ 117 h 155"/>
                <a:gd name="T52" fmla="*/ 0 w 155"/>
                <a:gd name="T53" fmla="*/ 97 h 155"/>
                <a:gd name="T54" fmla="*/ 20 w 155"/>
                <a:gd name="T55" fmla="*/ 86 h 155"/>
                <a:gd name="T56" fmla="*/ 20 w 155"/>
                <a:gd name="T57" fmla="*/ 69 h 155"/>
                <a:gd name="T58" fmla="*/ 0 w 155"/>
                <a:gd name="T59" fmla="*/ 57 h 155"/>
                <a:gd name="T60" fmla="*/ 9 w 155"/>
                <a:gd name="T61" fmla="*/ 37 h 155"/>
                <a:gd name="T62" fmla="*/ 31 w 155"/>
                <a:gd name="T63" fmla="*/ 42 h 155"/>
                <a:gd name="T64" fmla="*/ 43 w 155"/>
                <a:gd name="T65" fmla="*/ 31 h 155"/>
                <a:gd name="T66" fmla="*/ 37 w 155"/>
                <a:gd name="T67" fmla="*/ 8 h 155"/>
                <a:gd name="T68" fmla="*/ 57 w 155"/>
                <a:gd name="T6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57" y="0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72" y="20"/>
                    <a:pt x="75" y="20"/>
                    <a:pt x="77" y="20"/>
                  </a:cubicBezTo>
                  <a:cubicBezTo>
                    <a:pt x="80" y="20"/>
                    <a:pt x="83" y="20"/>
                    <a:pt x="85" y="2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7" y="35"/>
                    <a:pt x="120" y="39"/>
                    <a:pt x="123" y="43"/>
                  </a:cubicBezTo>
                  <a:cubicBezTo>
                    <a:pt x="147" y="37"/>
                    <a:pt x="147" y="37"/>
                    <a:pt x="147" y="37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35" y="69"/>
                    <a:pt x="135" y="69"/>
                    <a:pt x="135" y="69"/>
                  </a:cubicBezTo>
                  <a:cubicBezTo>
                    <a:pt x="135" y="75"/>
                    <a:pt x="135" y="80"/>
                    <a:pt x="135" y="8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1" y="117"/>
                    <a:pt x="117" y="121"/>
                    <a:pt x="112" y="124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3" y="136"/>
                    <a:pt x="80" y="136"/>
                    <a:pt x="77" y="136"/>
                  </a:cubicBezTo>
                  <a:cubicBezTo>
                    <a:pt x="74" y="136"/>
                    <a:pt x="72" y="136"/>
                    <a:pt x="69" y="13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38" y="121"/>
                    <a:pt x="34" y="117"/>
                    <a:pt x="30" y="11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0"/>
                    <a:pt x="19" y="75"/>
                    <a:pt x="20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8"/>
                    <a:pt x="38" y="34"/>
                    <a:pt x="43" y="31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C8B27BE-179D-426F-914A-6B5F8FCB558F}"/>
              </a:ext>
            </a:extLst>
          </p:cNvPr>
          <p:cNvSpPr/>
          <p:nvPr/>
        </p:nvSpPr>
        <p:spPr bwMode="auto">
          <a:xfrm>
            <a:off x="1568465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60A8054-BC68-47C9-AD6A-4931BA27CCB9}"/>
              </a:ext>
            </a:extLst>
          </p:cNvPr>
          <p:cNvSpPr/>
          <p:nvPr/>
        </p:nvSpPr>
        <p:spPr bwMode="auto">
          <a:xfrm>
            <a:off x="7881645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D9BD604-4133-49B3-AC46-FA118022270C}"/>
              </a:ext>
            </a:extLst>
          </p:cNvPr>
          <p:cNvSpPr txBox="1"/>
          <p:nvPr/>
        </p:nvSpPr>
        <p:spPr>
          <a:xfrm>
            <a:off x="7630740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Networking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FF25843-B719-44F1-880A-22C97B238CAF}"/>
              </a:ext>
            </a:extLst>
          </p:cNvPr>
          <p:cNvSpPr txBox="1"/>
          <p:nvPr/>
        </p:nvSpPr>
        <p:spPr>
          <a:xfrm>
            <a:off x="6194684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Virtual </a:t>
            </a:r>
            <a:br>
              <a:rPr lang="en-US" sz="1400"/>
            </a:br>
            <a:r>
              <a:rPr lang="en-US" sz="1400"/>
              <a:t>machines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640504A-E31E-4532-9F4A-F69BF6A410DE}"/>
              </a:ext>
            </a:extLst>
          </p:cNvPr>
          <p:cNvSpPr txBox="1"/>
          <p:nvPr/>
        </p:nvSpPr>
        <p:spPr>
          <a:xfrm>
            <a:off x="3322575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Container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5420573-962F-43D7-B9E7-13F2EB30FB55}"/>
              </a:ext>
            </a:extLst>
          </p:cNvPr>
          <p:cNvSpPr txBox="1"/>
          <p:nvPr/>
        </p:nvSpPr>
        <p:spPr>
          <a:xfrm>
            <a:off x="1886520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App Servic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A68201B-B8B5-4F05-8F39-805CBF12AC55}"/>
              </a:ext>
            </a:extLst>
          </p:cNvPr>
          <p:cNvSpPr txBox="1"/>
          <p:nvPr/>
        </p:nvSpPr>
        <p:spPr>
          <a:xfrm>
            <a:off x="450465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Serverles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62E205F-7FD5-46AD-AEF4-40037D1D0D7E}"/>
              </a:ext>
            </a:extLst>
          </p:cNvPr>
          <p:cNvSpPr txBox="1"/>
          <p:nvPr/>
        </p:nvSpPr>
        <p:spPr>
          <a:xfrm>
            <a:off x="4758629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Marketplace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CBEA75C-F0FA-46AC-A812-BA033C410AED}"/>
              </a:ext>
            </a:extLst>
          </p:cNvPr>
          <p:cNvSpPr txBox="1"/>
          <p:nvPr/>
        </p:nvSpPr>
        <p:spPr>
          <a:xfrm>
            <a:off x="9066797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Storag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FE6941B-1D39-42C0-B546-17340B8D5D70}"/>
              </a:ext>
            </a:extLst>
          </p:cNvPr>
          <p:cNvSpPr txBox="1"/>
          <p:nvPr/>
        </p:nvSpPr>
        <p:spPr>
          <a:xfrm>
            <a:off x="10502853" y="2830409"/>
            <a:ext cx="1254081" cy="640080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pPr lvl="0"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400"/>
              <a:t>Key Vaul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5554109-4E33-4871-AFA4-2CB87AAFF388}"/>
              </a:ext>
            </a:extLst>
          </p:cNvPr>
          <p:cNvGrpSpPr/>
          <p:nvPr/>
        </p:nvGrpSpPr>
        <p:grpSpPr>
          <a:xfrm>
            <a:off x="832465" y="2140299"/>
            <a:ext cx="490080" cy="371718"/>
            <a:chOff x="7192379" y="2935602"/>
            <a:chExt cx="559826" cy="424620"/>
          </a:xfrm>
        </p:grpSpPr>
        <p:sp>
          <p:nvSpPr>
            <p:cNvPr id="118" name="Freeform 76">
              <a:extLst>
                <a:ext uri="{FF2B5EF4-FFF2-40B4-BE49-F238E27FC236}">
                  <a16:creationId xmlns:a16="http://schemas.microsoft.com/office/drawing/2014/main" id="{470926E9-C414-4B6C-9644-E9E23AB8D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1196" y="3013808"/>
              <a:ext cx="81009" cy="268207"/>
            </a:xfrm>
            <a:custGeom>
              <a:avLst/>
              <a:gdLst>
                <a:gd name="T0" fmla="*/ 0 w 36"/>
                <a:gd name="T1" fmla="*/ 44 h 44"/>
                <a:gd name="T2" fmla="*/ 35 w 36"/>
                <a:gd name="T3" fmla="*/ 24 h 44"/>
                <a:gd name="T4" fmla="*/ 36 w 36"/>
                <a:gd name="T5" fmla="*/ 22 h 44"/>
                <a:gd name="T6" fmla="*/ 35 w 36"/>
                <a:gd name="T7" fmla="*/ 20 h 44"/>
                <a:gd name="T8" fmla="*/ 0 w 36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4">
                  <a:moveTo>
                    <a:pt x="0" y="4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3"/>
                    <a:pt x="36" y="22"/>
                  </a:cubicBezTo>
                  <a:cubicBezTo>
                    <a:pt x="36" y="21"/>
                    <a:pt x="35" y="20"/>
                    <a:pt x="35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77">
              <a:extLst>
                <a:ext uri="{FF2B5EF4-FFF2-40B4-BE49-F238E27FC236}">
                  <a16:creationId xmlns:a16="http://schemas.microsoft.com/office/drawing/2014/main" id="{16B3030B-3F21-4A1E-86A0-1C98076B7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530" y="2935602"/>
              <a:ext cx="240620" cy="424620"/>
            </a:xfrm>
            <a:custGeom>
              <a:avLst/>
              <a:gdLst>
                <a:gd name="T0" fmla="*/ 36 w 102"/>
                <a:gd name="T1" fmla="*/ 0 h 180"/>
                <a:gd name="T2" fmla="*/ 0 w 102"/>
                <a:gd name="T3" fmla="*/ 95 h 180"/>
                <a:gd name="T4" fmla="*/ 43 w 102"/>
                <a:gd name="T5" fmla="*/ 95 h 180"/>
                <a:gd name="T6" fmla="*/ 0 w 102"/>
                <a:gd name="T7" fmla="*/ 180 h 180"/>
                <a:gd name="T8" fmla="*/ 102 w 102"/>
                <a:gd name="T9" fmla="*/ 57 h 180"/>
                <a:gd name="T10" fmla="*/ 45 w 102"/>
                <a:gd name="T11" fmla="*/ 57 h 180"/>
                <a:gd name="T12" fmla="*/ 81 w 102"/>
                <a:gd name="T13" fmla="*/ 0 h 180"/>
                <a:gd name="T14" fmla="*/ 36 w 102"/>
                <a:gd name="T15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180">
                  <a:moveTo>
                    <a:pt x="36" y="0"/>
                  </a:moveTo>
                  <a:lnTo>
                    <a:pt x="0" y="95"/>
                  </a:lnTo>
                  <a:lnTo>
                    <a:pt x="43" y="95"/>
                  </a:lnTo>
                  <a:lnTo>
                    <a:pt x="0" y="180"/>
                  </a:lnTo>
                  <a:lnTo>
                    <a:pt x="102" y="57"/>
                  </a:lnTo>
                  <a:lnTo>
                    <a:pt x="45" y="57"/>
                  </a:lnTo>
                  <a:lnTo>
                    <a:pt x="81" y="0"/>
                  </a:lnTo>
                  <a:lnTo>
                    <a:pt x="3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76">
              <a:extLst>
                <a:ext uri="{FF2B5EF4-FFF2-40B4-BE49-F238E27FC236}">
                  <a16:creationId xmlns:a16="http://schemas.microsoft.com/office/drawing/2014/main" id="{CB1F0B78-6C76-43B4-A2DA-6BD5000547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192379" y="3013808"/>
              <a:ext cx="81009" cy="268207"/>
            </a:xfrm>
            <a:custGeom>
              <a:avLst/>
              <a:gdLst>
                <a:gd name="T0" fmla="*/ 0 w 36"/>
                <a:gd name="T1" fmla="*/ 44 h 44"/>
                <a:gd name="T2" fmla="*/ 35 w 36"/>
                <a:gd name="T3" fmla="*/ 24 h 44"/>
                <a:gd name="T4" fmla="*/ 36 w 36"/>
                <a:gd name="T5" fmla="*/ 22 h 44"/>
                <a:gd name="T6" fmla="*/ 35 w 36"/>
                <a:gd name="T7" fmla="*/ 20 h 44"/>
                <a:gd name="T8" fmla="*/ 0 w 36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4">
                  <a:moveTo>
                    <a:pt x="0" y="4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3"/>
                    <a:pt x="36" y="22"/>
                  </a:cubicBezTo>
                  <a:cubicBezTo>
                    <a:pt x="36" y="21"/>
                    <a:pt x="35" y="20"/>
                    <a:pt x="35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BAF4C1E-4B84-4FF5-945B-EAD2174BDC27}"/>
              </a:ext>
            </a:extLst>
          </p:cNvPr>
          <p:cNvGrpSpPr/>
          <p:nvPr/>
        </p:nvGrpSpPr>
        <p:grpSpPr>
          <a:xfrm>
            <a:off x="2336924" y="2150346"/>
            <a:ext cx="353272" cy="351624"/>
            <a:chOff x="3595914" y="1014386"/>
            <a:chExt cx="553461" cy="55088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88863DE-A884-4CB2-86FF-EA11DF779201}"/>
                </a:ext>
              </a:extLst>
            </p:cNvPr>
            <p:cNvGrpSpPr/>
            <p:nvPr/>
          </p:nvGrpSpPr>
          <p:grpSpPr>
            <a:xfrm>
              <a:off x="3595914" y="1014386"/>
              <a:ext cx="553461" cy="550880"/>
              <a:chOff x="2141538" y="665125"/>
              <a:chExt cx="984441" cy="97985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70AB22D-8483-4A5D-9A2B-DF5998FFCA00}"/>
                  </a:ext>
                </a:extLst>
              </p:cNvPr>
              <p:cNvSpPr/>
              <p:nvPr/>
            </p:nvSpPr>
            <p:spPr bwMode="auto">
              <a:xfrm>
                <a:off x="2141538" y="665125"/>
                <a:ext cx="417821" cy="41782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03CF93-28E6-4BCC-9FDB-687FC9AE6D68}"/>
                  </a:ext>
                </a:extLst>
              </p:cNvPr>
              <p:cNvSpPr/>
              <p:nvPr/>
            </p:nvSpPr>
            <p:spPr bwMode="auto">
              <a:xfrm>
                <a:off x="2708158" y="665125"/>
                <a:ext cx="417821" cy="41782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2E3DB1F0-BA39-4A8D-A9A5-42D266CCF1EE}"/>
                  </a:ext>
                </a:extLst>
              </p:cNvPr>
              <p:cNvSpPr/>
              <p:nvPr/>
            </p:nvSpPr>
            <p:spPr bwMode="auto">
              <a:xfrm>
                <a:off x="2141538" y="1227154"/>
                <a:ext cx="417821" cy="41782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E92F5DCC-5982-4B4F-84C5-AC5837385AAC}"/>
                  </a:ext>
                </a:extLst>
              </p:cNvPr>
              <p:cNvSpPr/>
              <p:nvPr/>
            </p:nvSpPr>
            <p:spPr bwMode="auto">
              <a:xfrm>
                <a:off x="2708158" y="1227154"/>
                <a:ext cx="417821" cy="41782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22" name="cloud" title="Icon of a cloud">
              <a:extLst>
                <a:ext uri="{FF2B5EF4-FFF2-40B4-BE49-F238E27FC236}">
                  <a16:creationId xmlns:a16="http://schemas.microsoft.com/office/drawing/2014/main" id="{97298BFD-88C1-497F-BE06-F07C855D7C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07544" y="1184642"/>
              <a:ext cx="330200" cy="210368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solidFill>
              <a:schemeClr val="bg1"/>
            </a:solidFill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20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27" name="Product_ECDC" title="Icon of a box">
            <a:extLst>
              <a:ext uri="{FF2B5EF4-FFF2-40B4-BE49-F238E27FC236}">
                <a16:creationId xmlns:a16="http://schemas.microsoft.com/office/drawing/2014/main" id="{43894DB9-FFBE-43FA-9EE8-F9649671CC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10769" y="2120202"/>
            <a:ext cx="366136" cy="411912"/>
          </a:xfrm>
          <a:custGeom>
            <a:avLst/>
            <a:gdLst>
              <a:gd name="T0" fmla="*/ 3623 w 3623"/>
              <a:gd name="T1" fmla="*/ 906 h 4076"/>
              <a:gd name="T2" fmla="*/ 1812 w 3623"/>
              <a:gd name="T3" fmla="*/ 1812 h 4076"/>
              <a:gd name="T4" fmla="*/ 0 w 3623"/>
              <a:gd name="T5" fmla="*/ 906 h 4076"/>
              <a:gd name="T6" fmla="*/ 906 w 3623"/>
              <a:gd name="T7" fmla="*/ 453 h 4076"/>
              <a:gd name="T8" fmla="*/ 2699 w 3623"/>
              <a:gd name="T9" fmla="*/ 1358 h 4076"/>
              <a:gd name="T10" fmla="*/ 3623 w 3623"/>
              <a:gd name="T11" fmla="*/ 906 h 4076"/>
              <a:gd name="T12" fmla="*/ 1812 w 3623"/>
              <a:gd name="T13" fmla="*/ 0 h 4076"/>
              <a:gd name="T14" fmla="*/ 0 w 3623"/>
              <a:gd name="T15" fmla="*/ 906 h 4076"/>
              <a:gd name="T16" fmla="*/ 0 w 3623"/>
              <a:gd name="T17" fmla="*/ 3171 h 4076"/>
              <a:gd name="T18" fmla="*/ 1812 w 3623"/>
              <a:gd name="T19" fmla="*/ 4076 h 4076"/>
              <a:gd name="T20" fmla="*/ 3623 w 3623"/>
              <a:gd name="T21" fmla="*/ 3171 h 4076"/>
              <a:gd name="T22" fmla="*/ 3623 w 3623"/>
              <a:gd name="T23" fmla="*/ 906 h 4076"/>
              <a:gd name="T24" fmla="*/ 1812 w 3623"/>
              <a:gd name="T25" fmla="*/ 1812 h 4076"/>
              <a:gd name="T26" fmla="*/ 1812 w 3623"/>
              <a:gd name="T27" fmla="*/ 4076 h 40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623" h="4076">
                <a:moveTo>
                  <a:pt x="3623" y="906"/>
                </a:moveTo>
                <a:lnTo>
                  <a:pt x="1812" y="1812"/>
                </a:lnTo>
                <a:lnTo>
                  <a:pt x="0" y="906"/>
                </a:lnTo>
                <a:moveTo>
                  <a:pt x="906" y="453"/>
                </a:moveTo>
                <a:lnTo>
                  <a:pt x="2699" y="1358"/>
                </a:lnTo>
                <a:moveTo>
                  <a:pt x="3623" y="906"/>
                </a:moveTo>
                <a:lnTo>
                  <a:pt x="1812" y="0"/>
                </a:lnTo>
                <a:lnTo>
                  <a:pt x="0" y="906"/>
                </a:lnTo>
                <a:lnTo>
                  <a:pt x="0" y="3171"/>
                </a:lnTo>
                <a:lnTo>
                  <a:pt x="1812" y="4076"/>
                </a:lnTo>
                <a:lnTo>
                  <a:pt x="3623" y="3171"/>
                </a:lnTo>
                <a:lnTo>
                  <a:pt x="3623" y="906"/>
                </a:lnTo>
                <a:moveTo>
                  <a:pt x="1812" y="1812"/>
                </a:moveTo>
                <a:lnTo>
                  <a:pt x="1812" y="4076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8" name="ShoppingCart_E7BF" title="Icon of a shopping cart">
            <a:extLst>
              <a:ext uri="{FF2B5EF4-FFF2-40B4-BE49-F238E27FC236}">
                <a16:creationId xmlns:a16="http://schemas.microsoft.com/office/drawing/2014/main" id="{3E8E63BA-CFAE-4644-8CF4-AA678CA448C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74888" y="2146920"/>
            <a:ext cx="421562" cy="358477"/>
          </a:xfrm>
          <a:custGeom>
            <a:avLst/>
            <a:gdLst>
              <a:gd name="T0" fmla="*/ 3368 w 3817"/>
              <a:gd name="T1" fmla="*/ 2994 h 3244"/>
              <a:gd name="T2" fmla="*/ 3119 w 3817"/>
              <a:gd name="T3" fmla="*/ 3244 h 3244"/>
              <a:gd name="T4" fmla="*/ 2869 w 3817"/>
              <a:gd name="T5" fmla="*/ 2994 h 3244"/>
              <a:gd name="T6" fmla="*/ 3119 w 3817"/>
              <a:gd name="T7" fmla="*/ 2745 h 3244"/>
              <a:gd name="T8" fmla="*/ 3368 w 3817"/>
              <a:gd name="T9" fmla="*/ 2994 h 3244"/>
              <a:gd name="T10" fmla="*/ 1372 w 3817"/>
              <a:gd name="T11" fmla="*/ 2745 h 3244"/>
              <a:gd name="T12" fmla="*/ 1123 w 3817"/>
              <a:gd name="T13" fmla="*/ 2994 h 3244"/>
              <a:gd name="T14" fmla="*/ 1372 w 3817"/>
              <a:gd name="T15" fmla="*/ 3244 h 3244"/>
              <a:gd name="T16" fmla="*/ 1622 w 3817"/>
              <a:gd name="T17" fmla="*/ 2994 h 3244"/>
              <a:gd name="T18" fmla="*/ 1372 w 3817"/>
              <a:gd name="T19" fmla="*/ 2745 h 3244"/>
              <a:gd name="T20" fmla="*/ 0 w 3817"/>
              <a:gd name="T21" fmla="*/ 0 h 3244"/>
              <a:gd name="T22" fmla="*/ 457 w 3817"/>
              <a:gd name="T23" fmla="*/ 0 h 3244"/>
              <a:gd name="T24" fmla="*/ 1372 w 3817"/>
              <a:gd name="T25" fmla="*/ 2745 h 3244"/>
              <a:gd name="T26" fmla="*/ 3119 w 3817"/>
              <a:gd name="T27" fmla="*/ 2745 h 3244"/>
              <a:gd name="T28" fmla="*/ 1123 w 3817"/>
              <a:gd name="T29" fmla="*/ 1996 h 3244"/>
              <a:gd name="T30" fmla="*/ 3318 w 3817"/>
              <a:gd name="T31" fmla="*/ 1996 h 3244"/>
              <a:gd name="T32" fmla="*/ 3817 w 3817"/>
              <a:gd name="T33" fmla="*/ 499 h 3244"/>
              <a:gd name="T34" fmla="*/ 624 w 3817"/>
              <a:gd name="T35" fmla="*/ 499 h 3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817" h="3244">
                <a:moveTo>
                  <a:pt x="3368" y="2994"/>
                </a:moveTo>
                <a:cubicBezTo>
                  <a:pt x="3368" y="3132"/>
                  <a:pt x="3257" y="3244"/>
                  <a:pt x="3119" y="3244"/>
                </a:cubicBezTo>
                <a:cubicBezTo>
                  <a:pt x="2981" y="3244"/>
                  <a:pt x="2869" y="3132"/>
                  <a:pt x="2869" y="2994"/>
                </a:cubicBezTo>
                <a:cubicBezTo>
                  <a:pt x="2869" y="2856"/>
                  <a:pt x="2981" y="2745"/>
                  <a:pt x="3119" y="2745"/>
                </a:cubicBezTo>
                <a:cubicBezTo>
                  <a:pt x="3257" y="2745"/>
                  <a:pt x="3368" y="2856"/>
                  <a:pt x="3368" y="2994"/>
                </a:cubicBezTo>
                <a:close/>
                <a:moveTo>
                  <a:pt x="1372" y="2745"/>
                </a:moveTo>
                <a:cubicBezTo>
                  <a:pt x="1234" y="2745"/>
                  <a:pt x="1123" y="2856"/>
                  <a:pt x="1123" y="2994"/>
                </a:cubicBezTo>
                <a:cubicBezTo>
                  <a:pt x="1123" y="3132"/>
                  <a:pt x="1234" y="3244"/>
                  <a:pt x="1372" y="3244"/>
                </a:cubicBezTo>
                <a:cubicBezTo>
                  <a:pt x="1510" y="3244"/>
                  <a:pt x="1622" y="3132"/>
                  <a:pt x="1622" y="2994"/>
                </a:cubicBezTo>
                <a:cubicBezTo>
                  <a:pt x="1622" y="2856"/>
                  <a:pt x="1510" y="2745"/>
                  <a:pt x="1372" y="2745"/>
                </a:cubicBezTo>
                <a:close/>
                <a:moveTo>
                  <a:pt x="0" y="0"/>
                </a:moveTo>
                <a:cubicBezTo>
                  <a:pt x="457" y="0"/>
                  <a:pt x="457" y="0"/>
                  <a:pt x="457" y="0"/>
                </a:cubicBezTo>
                <a:cubicBezTo>
                  <a:pt x="1372" y="2745"/>
                  <a:pt x="1372" y="2745"/>
                  <a:pt x="1372" y="2745"/>
                </a:cubicBezTo>
                <a:cubicBezTo>
                  <a:pt x="3119" y="2745"/>
                  <a:pt x="3119" y="2745"/>
                  <a:pt x="3119" y="2745"/>
                </a:cubicBezTo>
                <a:moveTo>
                  <a:pt x="1123" y="1996"/>
                </a:moveTo>
                <a:cubicBezTo>
                  <a:pt x="3318" y="1996"/>
                  <a:pt x="3318" y="1996"/>
                  <a:pt x="3318" y="1996"/>
                </a:cubicBezTo>
                <a:cubicBezTo>
                  <a:pt x="3817" y="499"/>
                  <a:pt x="3817" y="499"/>
                  <a:pt x="3817" y="499"/>
                </a:cubicBezTo>
                <a:cubicBezTo>
                  <a:pt x="624" y="499"/>
                  <a:pt x="624" y="499"/>
                  <a:pt x="624" y="499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7" name="signal_3" title="Icon of a communication tower with signal lines">
            <a:extLst>
              <a:ext uri="{FF2B5EF4-FFF2-40B4-BE49-F238E27FC236}">
                <a16:creationId xmlns:a16="http://schemas.microsoft.com/office/drawing/2014/main" id="{6F2CBC95-D88E-4239-AC55-0CEF0A6E69B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27101" y="2146920"/>
            <a:ext cx="261359" cy="358477"/>
          </a:xfrm>
          <a:custGeom>
            <a:avLst/>
            <a:gdLst>
              <a:gd name="T0" fmla="*/ 96 w 253"/>
              <a:gd name="T1" fmla="*/ 87 h 347"/>
              <a:gd name="T2" fmla="*/ 126 w 253"/>
              <a:gd name="T3" fmla="*/ 57 h 347"/>
              <a:gd name="T4" fmla="*/ 156 w 253"/>
              <a:gd name="T5" fmla="*/ 87 h 347"/>
              <a:gd name="T6" fmla="*/ 126 w 253"/>
              <a:gd name="T7" fmla="*/ 117 h 347"/>
              <a:gd name="T8" fmla="*/ 96 w 253"/>
              <a:gd name="T9" fmla="*/ 87 h 347"/>
              <a:gd name="T10" fmla="*/ 38 w 253"/>
              <a:gd name="T11" fmla="*/ 347 h 347"/>
              <a:gd name="T12" fmla="*/ 116 w 253"/>
              <a:gd name="T13" fmla="*/ 115 h 347"/>
              <a:gd name="T14" fmla="*/ 213 w 253"/>
              <a:gd name="T15" fmla="*/ 347 h 347"/>
              <a:gd name="T16" fmla="*/ 135 w 253"/>
              <a:gd name="T17" fmla="*/ 116 h 347"/>
              <a:gd name="T18" fmla="*/ 85 w 253"/>
              <a:gd name="T19" fmla="*/ 209 h 347"/>
              <a:gd name="T20" fmla="*/ 167 w 253"/>
              <a:gd name="T21" fmla="*/ 209 h 347"/>
              <a:gd name="T22" fmla="*/ 59 w 253"/>
              <a:gd name="T23" fmla="*/ 283 h 347"/>
              <a:gd name="T24" fmla="*/ 192 w 253"/>
              <a:gd name="T25" fmla="*/ 283 h 347"/>
              <a:gd name="T26" fmla="*/ 35 w 253"/>
              <a:gd name="T27" fmla="*/ 0 h 347"/>
              <a:gd name="T28" fmla="*/ 0 w 253"/>
              <a:gd name="T29" fmla="*/ 86 h 347"/>
              <a:gd name="T30" fmla="*/ 36 w 253"/>
              <a:gd name="T31" fmla="*/ 173 h 347"/>
              <a:gd name="T32" fmla="*/ 72 w 253"/>
              <a:gd name="T33" fmla="*/ 38 h 347"/>
              <a:gd name="T34" fmla="*/ 52 w 253"/>
              <a:gd name="T35" fmla="*/ 87 h 347"/>
              <a:gd name="T36" fmla="*/ 72 w 253"/>
              <a:gd name="T37" fmla="*/ 135 h 347"/>
              <a:gd name="T38" fmla="*/ 216 w 253"/>
              <a:gd name="T39" fmla="*/ 173 h 347"/>
              <a:gd name="T40" fmla="*/ 253 w 253"/>
              <a:gd name="T41" fmla="*/ 86 h 347"/>
              <a:gd name="T42" fmla="*/ 217 w 253"/>
              <a:gd name="T43" fmla="*/ 0 h 347"/>
              <a:gd name="T44" fmla="*/ 180 w 253"/>
              <a:gd name="T45" fmla="*/ 135 h 347"/>
              <a:gd name="T46" fmla="*/ 200 w 253"/>
              <a:gd name="T47" fmla="*/ 87 h 347"/>
              <a:gd name="T48" fmla="*/ 180 w 253"/>
              <a:gd name="T49" fmla="*/ 38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3" h="347">
                <a:moveTo>
                  <a:pt x="96" y="87"/>
                </a:moveTo>
                <a:cubicBezTo>
                  <a:pt x="96" y="70"/>
                  <a:pt x="109" y="57"/>
                  <a:pt x="126" y="57"/>
                </a:cubicBezTo>
                <a:cubicBezTo>
                  <a:pt x="143" y="57"/>
                  <a:pt x="156" y="70"/>
                  <a:pt x="156" y="87"/>
                </a:cubicBezTo>
                <a:cubicBezTo>
                  <a:pt x="156" y="104"/>
                  <a:pt x="143" y="117"/>
                  <a:pt x="126" y="117"/>
                </a:cubicBezTo>
                <a:cubicBezTo>
                  <a:pt x="109" y="117"/>
                  <a:pt x="96" y="104"/>
                  <a:pt x="96" y="87"/>
                </a:cubicBezTo>
                <a:close/>
                <a:moveTo>
                  <a:pt x="38" y="347"/>
                </a:moveTo>
                <a:cubicBezTo>
                  <a:pt x="116" y="115"/>
                  <a:pt x="116" y="115"/>
                  <a:pt x="116" y="115"/>
                </a:cubicBezTo>
                <a:moveTo>
                  <a:pt x="213" y="347"/>
                </a:moveTo>
                <a:cubicBezTo>
                  <a:pt x="135" y="116"/>
                  <a:pt x="135" y="116"/>
                  <a:pt x="135" y="116"/>
                </a:cubicBezTo>
                <a:moveTo>
                  <a:pt x="85" y="209"/>
                </a:moveTo>
                <a:cubicBezTo>
                  <a:pt x="167" y="209"/>
                  <a:pt x="167" y="209"/>
                  <a:pt x="167" y="209"/>
                </a:cubicBezTo>
                <a:moveTo>
                  <a:pt x="59" y="283"/>
                </a:moveTo>
                <a:cubicBezTo>
                  <a:pt x="192" y="283"/>
                  <a:pt x="192" y="283"/>
                  <a:pt x="192" y="283"/>
                </a:cubicBezTo>
                <a:moveTo>
                  <a:pt x="35" y="0"/>
                </a:moveTo>
                <a:cubicBezTo>
                  <a:pt x="13" y="22"/>
                  <a:pt x="0" y="52"/>
                  <a:pt x="0" y="86"/>
                </a:cubicBezTo>
                <a:cubicBezTo>
                  <a:pt x="0" y="120"/>
                  <a:pt x="13" y="151"/>
                  <a:pt x="36" y="173"/>
                </a:cubicBezTo>
                <a:moveTo>
                  <a:pt x="72" y="38"/>
                </a:moveTo>
                <a:cubicBezTo>
                  <a:pt x="60" y="50"/>
                  <a:pt x="52" y="68"/>
                  <a:pt x="52" y="87"/>
                </a:cubicBezTo>
                <a:cubicBezTo>
                  <a:pt x="52" y="105"/>
                  <a:pt x="60" y="122"/>
                  <a:pt x="72" y="135"/>
                </a:cubicBezTo>
                <a:moveTo>
                  <a:pt x="216" y="173"/>
                </a:moveTo>
                <a:cubicBezTo>
                  <a:pt x="239" y="151"/>
                  <a:pt x="253" y="120"/>
                  <a:pt x="253" y="86"/>
                </a:cubicBezTo>
                <a:cubicBezTo>
                  <a:pt x="253" y="52"/>
                  <a:pt x="239" y="22"/>
                  <a:pt x="217" y="0"/>
                </a:cubicBezTo>
                <a:moveTo>
                  <a:pt x="180" y="135"/>
                </a:moveTo>
                <a:cubicBezTo>
                  <a:pt x="192" y="122"/>
                  <a:pt x="200" y="105"/>
                  <a:pt x="200" y="87"/>
                </a:cubicBezTo>
                <a:cubicBezTo>
                  <a:pt x="200" y="68"/>
                  <a:pt x="192" y="50"/>
                  <a:pt x="180" y="38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6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8D2C27-0C41-45BD-8439-5026161287CB}"/>
              </a:ext>
            </a:extLst>
          </p:cNvPr>
          <p:cNvGrpSpPr/>
          <p:nvPr/>
        </p:nvGrpSpPr>
        <p:grpSpPr>
          <a:xfrm>
            <a:off x="10993317" y="2117158"/>
            <a:ext cx="273152" cy="418000"/>
            <a:chOff x="10536405" y="1385104"/>
            <a:chExt cx="358477" cy="548573"/>
          </a:xfrm>
        </p:grpSpPr>
        <p:sp>
          <p:nvSpPr>
            <p:cNvPr id="142" name="key" title="Icon of a key">
              <a:extLst>
                <a:ext uri="{FF2B5EF4-FFF2-40B4-BE49-F238E27FC236}">
                  <a16:creationId xmlns:a16="http://schemas.microsoft.com/office/drawing/2014/main" id="{DB3999D4-2B8A-4D1E-B570-19FFAFD2E7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700000">
              <a:off x="10535481" y="1386028"/>
              <a:ext cx="360325" cy="358477"/>
            </a:xfrm>
            <a:custGeom>
              <a:avLst/>
              <a:gdLst>
                <a:gd name="T0" fmla="*/ 175 w 330"/>
                <a:gd name="T1" fmla="*/ 198 h 328"/>
                <a:gd name="T2" fmla="*/ 109 w 330"/>
                <a:gd name="T3" fmla="*/ 220 h 328"/>
                <a:gd name="T4" fmla="*/ 0 w 330"/>
                <a:gd name="T5" fmla="*/ 110 h 328"/>
                <a:gd name="T6" fmla="*/ 109 w 330"/>
                <a:gd name="T7" fmla="*/ 0 h 328"/>
                <a:gd name="T8" fmla="*/ 219 w 330"/>
                <a:gd name="T9" fmla="*/ 110 h 328"/>
                <a:gd name="T10" fmla="*/ 214 w 330"/>
                <a:gd name="T11" fmla="*/ 143 h 328"/>
                <a:gd name="T12" fmla="*/ 330 w 330"/>
                <a:gd name="T13" fmla="*/ 258 h 328"/>
                <a:gd name="T14" fmla="*/ 330 w 330"/>
                <a:gd name="T15" fmla="*/ 328 h 328"/>
                <a:gd name="T16" fmla="*/ 264 w 330"/>
                <a:gd name="T17" fmla="*/ 328 h 328"/>
                <a:gd name="T18" fmla="*/ 264 w 330"/>
                <a:gd name="T19" fmla="*/ 283 h 328"/>
                <a:gd name="T20" fmla="*/ 221 w 330"/>
                <a:gd name="T21" fmla="*/ 283 h 328"/>
                <a:gd name="T22" fmla="*/ 221 w 330"/>
                <a:gd name="T23" fmla="*/ 239 h 328"/>
                <a:gd name="T24" fmla="*/ 175 w 330"/>
                <a:gd name="T25" fmla="*/ 239 h 328"/>
                <a:gd name="T26" fmla="*/ 175 w 330"/>
                <a:gd name="T27" fmla="*/ 198 h 328"/>
                <a:gd name="T28" fmla="*/ 76 w 330"/>
                <a:gd name="T29" fmla="*/ 91 h 328"/>
                <a:gd name="T30" fmla="*/ 91 w 330"/>
                <a:gd name="T31" fmla="*/ 76 h 328"/>
                <a:gd name="T32" fmla="*/ 76 w 330"/>
                <a:gd name="T33" fmla="*/ 60 h 328"/>
                <a:gd name="T34" fmla="*/ 60 w 330"/>
                <a:gd name="T35" fmla="*/ 76 h 328"/>
                <a:gd name="T36" fmla="*/ 76 w 330"/>
                <a:gd name="T37" fmla="*/ 9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328">
                  <a:moveTo>
                    <a:pt x="175" y="198"/>
                  </a:moveTo>
                  <a:cubicBezTo>
                    <a:pt x="157" y="212"/>
                    <a:pt x="134" y="220"/>
                    <a:pt x="109" y="220"/>
                  </a:cubicBez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09" y="0"/>
                  </a:cubicBezTo>
                  <a:cubicBezTo>
                    <a:pt x="170" y="0"/>
                    <a:pt x="219" y="49"/>
                    <a:pt x="219" y="110"/>
                  </a:cubicBezTo>
                  <a:cubicBezTo>
                    <a:pt x="219" y="122"/>
                    <a:pt x="217" y="133"/>
                    <a:pt x="214" y="143"/>
                  </a:cubicBezTo>
                  <a:cubicBezTo>
                    <a:pt x="330" y="258"/>
                    <a:pt x="330" y="258"/>
                    <a:pt x="330" y="25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264" y="328"/>
                    <a:pt x="264" y="328"/>
                    <a:pt x="264" y="328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1" y="239"/>
                    <a:pt x="221" y="239"/>
                    <a:pt x="221" y="239"/>
                  </a:cubicBezTo>
                  <a:cubicBezTo>
                    <a:pt x="175" y="239"/>
                    <a:pt x="175" y="239"/>
                    <a:pt x="175" y="239"/>
                  </a:cubicBezTo>
                  <a:lnTo>
                    <a:pt x="175" y="198"/>
                  </a:lnTo>
                  <a:close/>
                  <a:moveTo>
                    <a:pt x="76" y="91"/>
                  </a:moveTo>
                  <a:cubicBezTo>
                    <a:pt x="84" y="91"/>
                    <a:pt x="91" y="84"/>
                    <a:pt x="91" y="76"/>
                  </a:cubicBezTo>
                  <a:cubicBezTo>
                    <a:pt x="91" y="67"/>
                    <a:pt x="84" y="60"/>
                    <a:pt x="76" y="60"/>
                  </a:cubicBezTo>
                  <a:cubicBezTo>
                    <a:pt x="67" y="60"/>
                    <a:pt x="60" y="67"/>
                    <a:pt x="60" y="76"/>
                  </a:cubicBezTo>
                  <a:cubicBezTo>
                    <a:pt x="60" y="84"/>
                    <a:pt x="67" y="91"/>
                    <a:pt x="76" y="91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20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6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Arc 11">
              <a:extLst>
                <a:ext uri="{FF2B5EF4-FFF2-40B4-BE49-F238E27FC236}">
                  <a16:creationId xmlns:a16="http://schemas.microsoft.com/office/drawing/2014/main" id="{49621B3C-15FC-4765-8FF4-3CCCF8CA5AB8}"/>
                </a:ext>
              </a:extLst>
            </p:cNvPr>
            <p:cNvSpPr/>
            <p:nvPr/>
          </p:nvSpPr>
          <p:spPr>
            <a:xfrm>
              <a:off x="10549709" y="1601809"/>
              <a:ext cx="331868" cy="331868"/>
            </a:xfrm>
            <a:prstGeom prst="arc">
              <a:avLst>
                <a:gd name="adj1" fmla="val 18538684"/>
                <a:gd name="adj2" fmla="val 13902722"/>
              </a:avLst>
            </a:prstGeom>
            <a:ln w="12700" cap="rnd">
              <a:solidFill>
                <a:schemeClr val="tx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746690-C2A1-4C15-BA48-4A2FDE18B4AE}"/>
              </a:ext>
            </a:extLst>
          </p:cNvPr>
          <p:cNvGrpSpPr/>
          <p:nvPr/>
        </p:nvGrpSpPr>
        <p:grpSpPr>
          <a:xfrm>
            <a:off x="6594460" y="2150347"/>
            <a:ext cx="454528" cy="351622"/>
            <a:chOff x="6373628" y="1727150"/>
            <a:chExt cx="583554" cy="451437"/>
          </a:xfrm>
        </p:grpSpPr>
        <p:sp>
          <p:nvSpPr>
            <p:cNvPr id="132" name="monitor" title="Icon of a monitor">
              <a:extLst>
                <a:ext uri="{FF2B5EF4-FFF2-40B4-BE49-F238E27FC236}">
                  <a16:creationId xmlns:a16="http://schemas.microsoft.com/office/drawing/2014/main" id="{8B4A9AB6-EA30-4395-A7C9-3D08CD367A9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373628" y="1727150"/>
              <a:ext cx="448096" cy="343418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chemeClr val="bg1"/>
            </a:solidFill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20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monitor" title="Icon of a monitor">
              <a:extLst>
                <a:ext uri="{FF2B5EF4-FFF2-40B4-BE49-F238E27FC236}">
                  <a16:creationId xmlns:a16="http://schemas.microsoft.com/office/drawing/2014/main" id="{4C19B039-3FAF-4DC2-8C71-DB03A84E3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41357" y="1781160"/>
              <a:ext cx="448096" cy="343418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chemeClr val="bg1"/>
            </a:solidFill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20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F2DD2A5E-D9D0-4559-AA4C-B1BFDC428BA6}"/>
                </a:ext>
              </a:extLst>
            </p:cNvPr>
            <p:cNvGrpSpPr/>
            <p:nvPr/>
          </p:nvGrpSpPr>
          <p:grpSpPr>
            <a:xfrm>
              <a:off x="6509086" y="1835169"/>
              <a:ext cx="448096" cy="343418"/>
              <a:chOff x="6373628" y="1727150"/>
              <a:chExt cx="448096" cy="343418"/>
            </a:xfrm>
          </p:grpSpPr>
          <p:sp>
            <p:nvSpPr>
              <p:cNvPr id="150" name="monitor" title="Icon of a monitor">
                <a:extLst>
                  <a:ext uri="{FF2B5EF4-FFF2-40B4-BE49-F238E27FC236}">
                    <a16:creationId xmlns:a16="http://schemas.microsoft.com/office/drawing/2014/main" id="{D7D7F7F6-C066-4B7D-B051-C8E5A2A9F18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373628" y="1727150"/>
                <a:ext cx="448096" cy="343418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solidFill>
                <a:srgbClr val="FFFFFF"/>
              </a:solidFill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20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6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F037566D-8605-4A7A-8C6C-E93DA01B584C}"/>
                  </a:ext>
                </a:extLst>
              </p:cNvPr>
              <p:cNvGrpSpPr/>
              <p:nvPr/>
            </p:nvGrpSpPr>
            <p:grpSpPr>
              <a:xfrm>
                <a:off x="6513702" y="1780894"/>
                <a:ext cx="167950" cy="172426"/>
                <a:chOff x="5640388" y="2376487"/>
                <a:chExt cx="476251" cy="488951"/>
              </a:xfrm>
              <a:noFill/>
            </p:grpSpPr>
            <p:sp>
              <p:nvSpPr>
                <p:cNvPr id="152" name="Freeform 69">
                  <a:extLst>
                    <a:ext uri="{FF2B5EF4-FFF2-40B4-BE49-F238E27FC236}">
                      <a16:creationId xmlns:a16="http://schemas.microsoft.com/office/drawing/2014/main" id="{D8D5985E-AC56-4399-9613-BF1A2D0803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0388" y="2489200"/>
                  <a:ext cx="236538" cy="376238"/>
                </a:xfrm>
                <a:custGeom>
                  <a:avLst/>
                  <a:gdLst>
                    <a:gd name="T0" fmla="*/ 149 w 149"/>
                    <a:gd name="T1" fmla="*/ 237 h 237"/>
                    <a:gd name="T2" fmla="*/ 0 w 149"/>
                    <a:gd name="T3" fmla="*/ 167 h 237"/>
                    <a:gd name="T4" fmla="*/ 0 w 149"/>
                    <a:gd name="T5" fmla="*/ 0 h 237"/>
                    <a:gd name="T6" fmla="*/ 149 w 149"/>
                    <a:gd name="T7" fmla="*/ 70 h 237"/>
                    <a:gd name="T8" fmla="*/ 149 w 149"/>
                    <a:gd name="T9" fmla="*/ 237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9" h="237">
                      <a:moveTo>
                        <a:pt x="149" y="237"/>
                      </a:moveTo>
                      <a:lnTo>
                        <a:pt x="0" y="167"/>
                      </a:lnTo>
                      <a:lnTo>
                        <a:pt x="0" y="0"/>
                      </a:lnTo>
                      <a:lnTo>
                        <a:pt x="149" y="70"/>
                      </a:lnTo>
                      <a:lnTo>
                        <a:pt x="149" y="237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70">
                  <a:extLst>
                    <a:ext uri="{FF2B5EF4-FFF2-40B4-BE49-F238E27FC236}">
                      <a16:creationId xmlns:a16="http://schemas.microsoft.com/office/drawing/2014/main" id="{309E0AEB-220E-4A14-ACD6-5362BF0993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0388" y="2376487"/>
                  <a:ext cx="476250" cy="222250"/>
                </a:xfrm>
                <a:custGeom>
                  <a:avLst/>
                  <a:gdLst>
                    <a:gd name="T0" fmla="*/ 149 w 300"/>
                    <a:gd name="T1" fmla="*/ 140 h 140"/>
                    <a:gd name="T2" fmla="*/ 0 w 300"/>
                    <a:gd name="T3" fmla="*/ 71 h 140"/>
                    <a:gd name="T4" fmla="*/ 149 w 300"/>
                    <a:gd name="T5" fmla="*/ 0 h 140"/>
                    <a:gd name="T6" fmla="*/ 300 w 300"/>
                    <a:gd name="T7" fmla="*/ 71 h 140"/>
                    <a:gd name="T8" fmla="*/ 149 w 300"/>
                    <a:gd name="T9" fmla="*/ 14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0" h="140">
                      <a:moveTo>
                        <a:pt x="149" y="140"/>
                      </a:moveTo>
                      <a:lnTo>
                        <a:pt x="0" y="71"/>
                      </a:lnTo>
                      <a:lnTo>
                        <a:pt x="149" y="0"/>
                      </a:lnTo>
                      <a:lnTo>
                        <a:pt x="300" y="71"/>
                      </a:lnTo>
                      <a:lnTo>
                        <a:pt x="149" y="140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71">
                  <a:extLst>
                    <a:ext uri="{FF2B5EF4-FFF2-40B4-BE49-F238E27FC236}">
                      <a16:creationId xmlns:a16="http://schemas.microsoft.com/office/drawing/2014/main" id="{3D1059BE-1BF0-4A1F-9513-0445FB7BD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0101" y="2489200"/>
                  <a:ext cx="236538" cy="376238"/>
                </a:xfrm>
                <a:custGeom>
                  <a:avLst/>
                  <a:gdLst>
                    <a:gd name="T0" fmla="*/ 149 w 149"/>
                    <a:gd name="T1" fmla="*/ 167 h 237"/>
                    <a:gd name="T2" fmla="*/ 0 w 149"/>
                    <a:gd name="T3" fmla="*/ 237 h 237"/>
                    <a:gd name="T4" fmla="*/ 0 w 149"/>
                    <a:gd name="T5" fmla="*/ 70 h 237"/>
                    <a:gd name="T6" fmla="*/ 149 w 149"/>
                    <a:gd name="T7" fmla="*/ 0 h 237"/>
                    <a:gd name="T8" fmla="*/ 149 w 149"/>
                    <a:gd name="T9" fmla="*/ 167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9" h="237">
                      <a:moveTo>
                        <a:pt x="149" y="167"/>
                      </a:moveTo>
                      <a:lnTo>
                        <a:pt x="0" y="237"/>
                      </a:lnTo>
                      <a:lnTo>
                        <a:pt x="0" y="70"/>
                      </a:lnTo>
                      <a:lnTo>
                        <a:pt x="149" y="0"/>
                      </a:lnTo>
                      <a:lnTo>
                        <a:pt x="149" y="167"/>
                      </a:lnTo>
                      <a:close/>
                    </a:path>
                  </a:pathLst>
                </a:custGeom>
                <a:grp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F2C7F27-EA72-43AF-B066-E9687A95BDAB}"/>
              </a:ext>
            </a:extLst>
          </p:cNvPr>
          <p:cNvGrpSpPr/>
          <p:nvPr/>
        </p:nvGrpSpPr>
        <p:grpSpPr>
          <a:xfrm>
            <a:off x="3739829" y="2131545"/>
            <a:ext cx="419572" cy="389226"/>
            <a:chOff x="3197776" y="1317112"/>
            <a:chExt cx="1586848" cy="104747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826B9A9-AFB7-4A32-AB6C-3CD6B7D3B348}"/>
                </a:ext>
              </a:extLst>
            </p:cNvPr>
            <p:cNvGrpSpPr/>
            <p:nvPr/>
          </p:nvGrpSpPr>
          <p:grpSpPr>
            <a:xfrm>
              <a:off x="3197776" y="1677718"/>
              <a:ext cx="1586848" cy="326263"/>
              <a:chOff x="3197776" y="1655941"/>
              <a:chExt cx="1586848" cy="326263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80050D0E-089B-42DF-8FAA-CD7F8EEE5B26}"/>
                  </a:ext>
                </a:extLst>
              </p:cNvPr>
              <p:cNvGrpSpPr/>
              <p:nvPr/>
            </p:nvGrpSpPr>
            <p:grpSpPr>
              <a:xfrm>
                <a:off x="3197776" y="1655941"/>
                <a:ext cx="467769" cy="326262"/>
                <a:chOff x="3181155" y="1655941"/>
                <a:chExt cx="518769" cy="326262"/>
              </a:xfrm>
            </p:grpSpPr>
            <p:sp>
              <p:nvSpPr>
                <p:cNvPr id="17" name="Flowchart: Manual Operation 16">
                  <a:extLst>
                    <a:ext uri="{FF2B5EF4-FFF2-40B4-BE49-F238E27FC236}">
                      <a16:creationId xmlns:a16="http://schemas.microsoft.com/office/drawing/2014/main" id="{E87D0055-814D-40D2-B1CB-634CF5CAAB78}"/>
                    </a:ext>
                  </a:extLst>
                </p:cNvPr>
                <p:cNvSpPr/>
                <p:nvPr/>
              </p:nvSpPr>
              <p:spPr bwMode="auto">
                <a:xfrm rot="16200000">
                  <a:off x="3427496" y="1709775"/>
                  <a:ext cx="326262" cy="218594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5" name="Flowchart: Manual Operation 154">
                  <a:extLst>
                    <a:ext uri="{FF2B5EF4-FFF2-40B4-BE49-F238E27FC236}">
                      <a16:creationId xmlns:a16="http://schemas.microsoft.com/office/drawing/2014/main" id="{ABE10DDD-CCD7-4786-91E2-6B1EC4D298F9}"/>
                    </a:ext>
                  </a:extLst>
                </p:cNvPr>
                <p:cNvSpPr/>
                <p:nvPr/>
              </p:nvSpPr>
              <p:spPr bwMode="auto">
                <a:xfrm rot="5400000">
                  <a:off x="3127322" y="1709775"/>
                  <a:ext cx="326259" cy="218594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D37FC431-E2F3-4092-8A75-9910FB2FCEBF}"/>
                  </a:ext>
                </a:extLst>
              </p:cNvPr>
              <p:cNvGrpSpPr/>
              <p:nvPr/>
            </p:nvGrpSpPr>
            <p:grpSpPr>
              <a:xfrm>
                <a:off x="3757346" y="1655941"/>
                <a:ext cx="467774" cy="326261"/>
                <a:chOff x="3258921" y="1655941"/>
                <a:chExt cx="518774" cy="326261"/>
              </a:xfrm>
            </p:grpSpPr>
            <p:sp>
              <p:nvSpPr>
                <p:cNvPr id="157" name="Flowchart: Manual Operation 156">
                  <a:extLst>
                    <a:ext uri="{FF2B5EF4-FFF2-40B4-BE49-F238E27FC236}">
                      <a16:creationId xmlns:a16="http://schemas.microsoft.com/office/drawing/2014/main" id="{2C027774-790E-4FA8-AF58-9FED3D9CDD39}"/>
                    </a:ext>
                  </a:extLst>
                </p:cNvPr>
                <p:cNvSpPr/>
                <p:nvPr/>
              </p:nvSpPr>
              <p:spPr bwMode="auto">
                <a:xfrm rot="16200000">
                  <a:off x="3505266" y="1709773"/>
                  <a:ext cx="326261" cy="218597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8" name="Flowchart: Manual Operation 157">
                  <a:extLst>
                    <a:ext uri="{FF2B5EF4-FFF2-40B4-BE49-F238E27FC236}">
                      <a16:creationId xmlns:a16="http://schemas.microsoft.com/office/drawing/2014/main" id="{249C76D6-E74C-4F4B-8002-424C7D9B48C1}"/>
                    </a:ext>
                  </a:extLst>
                </p:cNvPr>
                <p:cNvSpPr/>
                <p:nvPr/>
              </p:nvSpPr>
              <p:spPr bwMode="auto">
                <a:xfrm rot="5400000">
                  <a:off x="3205088" y="1709774"/>
                  <a:ext cx="326260" cy="218594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1117A956-CA64-4ADB-BF6A-9C676DB6C783}"/>
                  </a:ext>
                </a:extLst>
              </p:cNvPr>
              <p:cNvGrpSpPr/>
              <p:nvPr/>
            </p:nvGrpSpPr>
            <p:grpSpPr>
              <a:xfrm>
                <a:off x="4316900" y="1655942"/>
                <a:ext cx="467724" cy="326262"/>
                <a:chOff x="3336683" y="1655942"/>
                <a:chExt cx="518720" cy="326262"/>
              </a:xfrm>
            </p:grpSpPr>
            <p:sp>
              <p:nvSpPr>
                <p:cNvPr id="160" name="Flowchart: Manual Operation 159">
                  <a:extLst>
                    <a:ext uri="{FF2B5EF4-FFF2-40B4-BE49-F238E27FC236}">
                      <a16:creationId xmlns:a16="http://schemas.microsoft.com/office/drawing/2014/main" id="{0C855DF1-F42F-4987-9436-9C24BD78214B}"/>
                    </a:ext>
                  </a:extLst>
                </p:cNvPr>
                <p:cNvSpPr/>
                <p:nvPr/>
              </p:nvSpPr>
              <p:spPr bwMode="auto">
                <a:xfrm rot="16200000">
                  <a:off x="3582977" y="1709775"/>
                  <a:ext cx="326259" cy="218593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1" name="Flowchart: Manual Operation 160">
                  <a:extLst>
                    <a:ext uri="{FF2B5EF4-FFF2-40B4-BE49-F238E27FC236}">
                      <a16:creationId xmlns:a16="http://schemas.microsoft.com/office/drawing/2014/main" id="{38B014A8-6B3D-4DBE-A944-57F0579BE0CD}"/>
                    </a:ext>
                  </a:extLst>
                </p:cNvPr>
                <p:cNvSpPr/>
                <p:nvPr/>
              </p:nvSpPr>
              <p:spPr bwMode="auto">
                <a:xfrm rot="5400000">
                  <a:off x="3282851" y="1709775"/>
                  <a:ext cx="326261" cy="218597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6E50F34-73A9-4A09-9A79-B333BA0704CF}"/>
                </a:ext>
              </a:extLst>
            </p:cNvPr>
            <p:cNvGrpSpPr/>
            <p:nvPr/>
          </p:nvGrpSpPr>
          <p:grpSpPr>
            <a:xfrm>
              <a:off x="3477563" y="2038320"/>
              <a:ext cx="1027315" cy="326264"/>
              <a:chOff x="3477563" y="1996331"/>
              <a:chExt cx="1027315" cy="326264"/>
            </a:xfrm>
          </p:grpSpPr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AC9D19FC-FBC5-41E9-A06A-C1A50FB55C89}"/>
                  </a:ext>
                </a:extLst>
              </p:cNvPr>
              <p:cNvGrpSpPr/>
              <p:nvPr/>
            </p:nvGrpSpPr>
            <p:grpSpPr>
              <a:xfrm>
                <a:off x="3477563" y="1996332"/>
                <a:ext cx="467766" cy="326263"/>
                <a:chOff x="3220044" y="1655940"/>
                <a:chExt cx="518766" cy="326263"/>
              </a:xfrm>
            </p:grpSpPr>
            <p:sp>
              <p:nvSpPr>
                <p:cNvPr id="166" name="Flowchart: Manual Operation 165">
                  <a:extLst>
                    <a:ext uri="{FF2B5EF4-FFF2-40B4-BE49-F238E27FC236}">
                      <a16:creationId xmlns:a16="http://schemas.microsoft.com/office/drawing/2014/main" id="{224E47A3-4CF0-447B-8C9D-D889355D82BC}"/>
                    </a:ext>
                  </a:extLst>
                </p:cNvPr>
                <p:cNvSpPr/>
                <p:nvPr/>
              </p:nvSpPr>
              <p:spPr bwMode="auto">
                <a:xfrm rot="16200000">
                  <a:off x="3466381" y="1709775"/>
                  <a:ext cx="326263" cy="218594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7" name="Flowchart: Manual Operation 166">
                  <a:extLst>
                    <a:ext uri="{FF2B5EF4-FFF2-40B4-BE49-F238E27FC236}">
                      <a16:creationId xmlns:a16="http://schemas.microsoft.com/office/drawing/2014/main" id="{444A3612-4515-4C0C-A4CD-8ABA88C38F50}"/>
                    </a:ext>
                  </a:extLst>
                </p:cNvPr>
                <p:cNvSpPr/>
                <p:nvPr/>
              </p:nvSpPr>
              <p:spPr bwMode="auto">
                <a:xfrm rot="5400000">
                  <a:off x="3166211" y="1709773"/>
                  <a:ext cx="326259" cy="218593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CC13B73B-E7BB-45FF-B87E-FBBBE4A910DC}"/>
                  </a:ext>
                </a:extLst>
              </p:cNvPr>
              <p:cNvGrpSpPr/>
              <p:nvPr/>
            </p:nvGrpSpPr>
            <p:grpSpPr>
              <a:xfrm>
                <a:off x="4037119" y="1996331"/>
                <a:ext cx="467759" cy="326262"/>
                <a:chOff x="3297810" y="1655939"/>
                <a:chExt cx="518760" cy="326262"/>
              </a:xfrm>
            </p:grpSpPr>
            <p:sp>
              <p:nvSpPr>
                <p:cNvPr id="169" name="Flowchart: Manual Operation 168">
                  <a:extLst>
                    <a:ext uri="{FF2B5EF4-FFF2-40B4-BE49-F238E27FC236}">
                      <a16:creationId xmlns:a16="http://schemas.microsoft.com/office/drawing/2014/main" id="{87B06943-CDFA-460B-A598-27AA36453F08}"/>
                    </a:ext>
                  </a:extLst>
                </p:cNvPr>
                <p:cNvSpPr/>
                <p:nvPr/>
              </p:nvSpPr>
              <p:spPr bwMode="auto">
                <a:xfrm rot="16200000">
                  <a:off x="3544142" y="1709773"/>
                  <a:ext cx="326262" cy="218594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0" name="Flowchart: Manual Operation 169">
                  <a:extLst>
                    <a:ext uri="{FF2B5EF4-FFF2-40B4-BE49-F238E27FC236}">
                      <a16:creationId xmlns:a16="http://schemas.microsoft.com/office/drawing/2014/main" id="{EEB0C19D-F746-449B-83D3-6D275F082BEB}"/>
                    </a:ext>
                  </a:extLst>
                </p:cNvPr>
                <p:cNvSpPr/>
                <p:nvPr/>
              </p:nvSpPr>
              <p:spPr bwMode="auto">
                <a:xfrm rot="5400000">
                  <a:off x="3243977" y="1709773"/>
                  <a:ext cx="326259" cy="218593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AAA884D-0879-4FD3-9D64-A7785D7DB820}"/>
                </a:ext>
              </a:extLst>
            </p:cNvPr>
            <p:cNvGrpSpPr/>
            <p:nvPr/>
          </p:nvGrpSpPr>
          <p:grpSpPr>
            <a:xfrm>
              <a:off x="3477548" y="1317112"/>
              <a:ext cx="1027356" cy="326264"/>
              <a:chOff x="3477548" y="1317112"/>
              <a:chExt cx="1027356" cy="326264"/>
            </a:xfrm>
          </p:grpSpPr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DB25812A-9852-43AC-9FC7-32ED2B8F13CF}"/>
                  </a:ext>
                </a:extLst>
              </p:cNvPr>
              <p:cNvGrpSpPr/>
              <p:nvPr/>
            </p:nvGrpSpPr>
            <p:grpSpPr>
              <a:xfrm>
                <a:off x="3477548" y="1317113"/>
                <a:ext cx="467777" cy="326263"/>
                <a:chOff x="3220038" y="1655940"/>
                <a:chExt cx="518780" cy="326263"/>
              </a:xfrm>
            </p:grpSpPr>
            <p:sp>
              <p:nvSpPr>
                <p:cNvPr id="172" name="Flowchart: Manual Operation 171">
                  <a:extLst>
                    <a:ext uri="{FF2B5EF4-FFF2-40B4-BE49-F238E27FC236}">
                      <a16:creationId xmlns:a16="http://schemas.microsoft.com/office/drawing/2014/main" id="{2522B552-FE1D-4B04-B2DB-F52A338B0846}"/>
                    </a:ext>
                  </a:extLst>
                </p:cNvPr>
                <p:cNvSpPr/>
                <p:nvPr/>
              </p:nvSpPr>
              <p:spPr bwMode="auto">
                <a:xfrm rot="16200000">
                  <a:off x="3466389" y="1709774"/>
                  <a:ext cx="326262" cy="218596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3" name="Flowchart: Manual Operation 172">
                  <a:extLst>
                    <a:ext uri="{FF2B5EF4-FFF2-40B4-BE49-F238E27FC236}">
                      <a16:creationId xmlns:a16="http://schemas.microsoft.com/office/drawing/2014/main" id="{225BC1E5-6F7D-4861-9E03-B26525D4B3CD}"/>
                    </a:ext>
                  </a:extLst>
                </p:cNvPr>
                <p:cNvSpPr/>
                <p:nvPr/>
              </p:nvSpPr>
              <p:spPr bwMode="auto">
                <a:xfrm rot="5400000">
                  <a:off x="3166204" y="1709774"/>
                  <a:ext cx="326262" cy="218594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A556BD95-F72E-4634-917B-C2B17F1E486E}"/>
                  </a:ext>
                </a:extLst>
              </p:cNvPr>
              <p:cNvGrpSpPr/>
              <p:nvPr/>
            </p:nvGrpSpPr>
            <p:grpSpPr>
              <a:xfrm>
                <a:off x="4037141" y="1317112"/>
                <a:ext cx="467763" cy="326263"/>
                <a:chOff x="3297805" y="1655939"/>
                <a:chExt cx="518760" cy="326263"/>
              </a:xfrm>
            </p:grpSpPr>
            <p:sp>
              <p:nvSpPr>
                <p:cNvPr id="175" name="Flowchart: Manual Operation 174">
                  <a:extLst>
                    <a:ext uri="{FF2B5EF4-FFF2-40B4-BE49-F238E27FC236}">
                      <a16:creationId xmlns:a16="http://schemas.microsoft.com/office/drawing/2014/main" id="{F77C3D94-582E-4F53-AE3C-2DA820000232}"/>
                    </a:ext>
                  </a:extLst>
                </p:cNvPr>
                <p:cNvSpPr/>
                <p:nvPr/>
              </p:nvSpPr>
              <p:spPr bwMode="auto">
                <a:xfrm rot="16200000">
                  <a:off x="3544135" y="1709773"/>
                  <a:ext cx="326263" cy="218596"/>
                </a:xfrm>
                <a:prstGeom prst="flowChartManualOperati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6" name="Flowchart: Manual Operation 175">
                  <a:extLst>
                    <a:ext uri="{FF2B5EF4-FFF2-40B4-BE49-F238E27FC236}">
                      <a16:creationId xmlns:a16="http://schemas.microsoft.com/office/drawing/2014/main" id="{A02D653A-93EC-4488-BD26-AD1C5F55C6A2}"/>
                    </a:ext>
                  </a:extLst>
                </p:cNvPr>
                <p:cNvSpPr/>
                <p:nvPr/>
              </p:nvSpPr>
              <p:spPr bwMode="auto">
                <a:xfrm rot="5400000">
                  <a:off x="3243971" y="1709776"/>
                  <a:ext cx="326260" cy="218592"/>
                </a:xfrm>
                <a:prstGeom prst="flowChartManualOperation">
                  <a:avLst/>
                </a:prstGeom>
                <a:noFill/>
                <a:ln w="12700"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118562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1C5064-E3C6-41B0-BA97-437C78384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66" y="792403"/>
            <a:ext cx="11306469" cy="616379"/>
          </a:xfrm>
        </p:spPr>
        <p:txBody>
          <a:bodyPr/>
          <a:lstStyle/>
          <a:p>
            <a:pPr algn="ctr"/>
            <a:r>
              <a:rPr lang="en-US"/>
              <a:t>Azure Stack Hub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5132DD-989A-4551-9A5B-D95008523620}"/>
              </a:ext>
            </a:extLst>
          </p:cNvPr>
          <p:cNvSpPr/>
          <p:nvPr/>
        </p:nvSpPr>
        <p:spPr bwMode="auto">
          <a:xfrm flipV="1">
            <a:off x="0" y="4409769"/>
            <a:ext cx="12192000" cy="24482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EC4A2AAE-DEFA-4FB1-B89A-7E6B322E7809}"/>
              </a:ext>
            </a:extLst>
          </p:cNvPr>
          <p:cNvSpPr/>
          <p:nvPr/>
        </p:nvSpPr>
        <p:spPr bwMode="auto">
          <a:xfrm>
            <a:off x="2575218" y="5783263"/>
            <a:ext cx="683703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80E0ACFF-16EB-4BA1-9F3F-9B2BCBD40EA7}"/>
              </a:ext>
            </a:extLst>
          </p:cNvPr>
          <p:cNvSpPr/>
          <p:nvPr/>
        </p:nvSpPr>
        <p:spPr bwMode="auto">
          <a:xfrm>
            <a:off x="5782690" y="5783263"/>
            <a:ext cx="626620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2E361EC-E8EC-4377-A578-41DBECB6F53E}"/>
              </a:ext>
            </a:extLst>
          </p:cNvPr>
          <p:cNvSpPr txBox="1"/>
          <p:nvPr/>
        </p:nvSpPr>
        <p:spPr>
          <a:xfrm>
            <a:off x="1636909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Consistent application 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developmen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FE0F644-9FD4-4FAB-A4E9-CDED850649F1}"/>
              </a:ext>
            </a:extLst>
          </p:cNvPr>
          <p:cNvSpPr txBox="1"/>
          <p:nvPr/>
        </p:nvSpPr>
        <p:spPr>
          <a:xfrm>
            <a:off x="4815840" y="5985639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3C6C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zure services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available on-premise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C867324-5194-4278-A9C1-D7271ED19E59}"/>
              </a:ext>
            </a:extLst>
          </p:cNvPr>
          <p:cNvSpPr txBox="1"/>
          <p:nvPr/>
        </p:nvSpPr>
        <p:spPr>
          <a:xfrm>
            <a:off x="7994771" y="5495826"/>
            <a:ext cx="2560320" cy="555832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29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Purpose-built </a:t>
            </a:r>
          </a:p>
          <a:p>
            <a:pPr marL="0" marR="0" lvl="0" indent="0" algn="ctr" defTabSz="89592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cs typeface="Segoe UI" pitchFamily="34" charset="0"/>
              </a:rPr>
              <a:t>integrated system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D0FA1B8-23A2-4C1C-86DD-AF0098C1FEBF}"/>
              </a:ext>
            </a:extLst>
          </p:cNvPr>
          <p:cNvSpPr/>
          <p:nvPr/>
        </p:nvSpPr>
        <p:spPr bwMode="auto">
          <a:xfrm>
            <a:off x="8774656" y="3905188"/>
            <a:ext cx="1000551" cy="100055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err="1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C863291-3DD0-4D93-ABFB-D4FB936EFEC4}"/>
              </a:ext>
            </a:extLst>
          </p:cNvPr>
          <p:cNvSpPr/>
          <p:nvPr/>
        </p:nvSpPr>
        <p:spPr bwMode="auto">
          <a:xfrm>
            <a:off x="8963863" y="5200783"/>
            <a:ext cx="622137" cy="0"/>
          </a:xfrm>
          <a:custGeom>
            <a:avLst/>
            <a:gdLst>
              <a:gd name="connsiteX0" fmla="*/ 0 w 771525"/>
              <a:gd name="connsiteY0" fmla="*/ 0 h 0"/>
              <a:gd name="connsiteX1" fmla="*/ 771525 w 77152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1525">
                <a:moveTo>
                  <a:pt x="0" y="0"/>
                </a:moveTo>
                <a:lnTo>
                  <a:pt x="771525" y="0"/>
                </a:lnTo>
              </a:path>
            </a:pathLst>
          </a:custGeom>
          <a:noFill/>
          <a:ln w="28575" cap="rnd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3" name="Group 52" descr="consistency">
            <a:extLst>
              <a:ext uri="{FF2B5EF4-FFF2-40B4-BE49-F238E27FC236}">
                <a16:creationId xmlns:a16="http://schemas.microsoft.com/office/drawing/2014/main" id="{C6F77CB7-2BE8-4CA9-A8BD-6E1085D8E9A1}"/>
              </a:ext>
            </a:extLst>
          </p:cNvPr>
          <p:cNvGrpSpPr/>
          <p:nvPr/>
        </p:nvGrpSpPr>
        <p:grpSpPr>
          <a:xfrm>
            <a:off x="2631410" y="4923480"/>
            <a:ext cx="571318" cy="569276"/>
            <a:chOff x="5422662" y="5746953"/>
            <a:chExt cx="435762" cy="434205"/>
          </a:xfrm>
        </p:grpSpPr>
        <p:sp>
          <p:nvSpPr>
            <p:cNvPr id="54" name="Freeform 841">
              <a:extLst>
                <a:ext uri="{FF2B5EF4-FFF2-40B4-BE49-F238E27FC236}">
                  <a16:creationId xmlns:a16="http://schemas.microsoft.com/office/drawing/2014/main" id="{B18DDACE-CA06-43C9-999A-9245F6D14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83" y="5815430"/>
              <a:ext cx="133841" cy="348609"/>
            </a:xfrm>
            <a:custGeom>
              <a:avLst/>
              <a:gdLst>
                <a:gd name="T0" fmla="*/ 116 w 116"/>
                <a:gd name="T1" fmla="*/ 133 h 304"/>
                <a:gd name="T2" fmla="*/ 60 w 116"/>
                <a:gd name="T3" fmla="*/ 0 h 304"/>
                <a:gd name="T4" fmla="*/ 46 w 116"/>
                <a:gd name="T5" fmla="*/ 14 h 304"/>
                <a:gd name="T6" fmla="*/ 48 w 116"/>
                <a:gd name="T7" fmla="*/ 16 h 304"/>
                <a:gd name="T8" fmla="*/ 83 w 116"/>
                <a:gd name="T9" fmla="*/ 68 h 304"/>
                <a:gd name="T10" fmla="*/ 96 w 116"/>
                <a:gd name="T11" fmla="*/ 133 h 304"/>
                <a:gd name="T12" fmla="*/ 83 w 116"/>
                <a:gd name="T13" fmla="*/ 197 h 304"/>
                <a:gd name="T14" fmla="*/ 47 w 116"/>
                <a:gd name="T15" fmla="*/ 250 h 304"/>
                <a:gd name="T16" fmla="*/ 19 w 116"/>
                <a:gd name="T17" fmla="*/ 273 h 304"/>
                <a:gd name="T18" fmla="*/ 5 w 116"/>
                <a:gd name="T19" fmla="*/ 255 h 304"/>
                <a:gd name="T20" fmla="*/ 0 w 116"/>
                <a:gd name="T21" fmla="*/ 299 h 304"/>
                <a:gd name="T22" fmla="*/ 43 w 116"/>
                <a:gd name="T23" fmla="*/ 304 h 304"/>
                <a:gd name="T24" fmla="*/ 31 w 116"/>
                <a:gd name="T25" fmla="*/ 289 h 304"/>
                <a:gd name="T26" fmla="*/ 116 w 116"/>
                <a:gd name="T27" fmla="*/ 13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04">
                  <a:moveTo>
                    <a:pt x="116" y="133"/>
                  </a:moveTo>
                  <a:cubicBezTo>
                    <a:pt x="116" y="81"/>
                    <a:pt x="94" y="33"/>
                    <a:pt x="60" y="0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5"/>
                    <a:pt x="48" y="16"/>
                  </a:cubicBezTo>
                  <a:cubicBezTo>
                    <a:pt x="63" y="31"/>
                    <a:pt x="75" y="49"/>
                    <a:pt x="83" y="68"/>
                  </a:cubicBezTo>
                  <a:cubicBezTo>
                    <a:pt x="92" y="89"/>
                    <a:pt x="96" y="111"/>
                    <a:pt x="96" y="133"/>
                  </a:cubicBezTo>
                  <a:cubicBezTo>
                    <a:pt x="96" y="155"/>
                    <a:pt x="91" y="177"/>
                    <a:pt x="83" y="197"/>
                  </a:cubicBezTo>
                  <a:cubicBezTo>
                    <a:pt x="74" y="217"/>
                    <a:pt x="62" y="235"/>
                    <a:pt x="47" y="250"/>
                  </a:cubicBezTo>
                  <a:cubicBezTo>
                    <a:pt x="39" y="259"/>
                    <a:pt x="29" y="266"/>
                    <a:pt x="19" y="273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43" y="304"/>
                    <a:pt x="43" y="304"/>
                    <a:pt x="43" y="304"/>
                  </a:cubicBezTo>
                  <a:cubicBezTo>
                    <a:pt x="31" y="289"/>
                    <a:pt x="31" y="289"/>
                    <a:pt x="31" y="289"/>
                  </a:cubicBezTo>
                  <a:cubicBezTo>
                    <a:pt x="82" y="255"/>
                    <a:pt x="116" y="198"/>
                    <a:pt x="116" y="133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55" name="Freeform 842">
              <a:extLst>
                <a:ext uri="{FF2B5EF4-FFF2-40B4-BE49-F238E27FC236}">
                  <a16:creationId xmlns:a16="http://schemas.microsoft.com/office/drawing/2014/main" id="{5CA5BB5E-B81D-4D23-8DA1-682F3FAF2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662" y="6009966"/>
              <a:ext cx="273908" cy="171192"/>
            </a:xfrm>
            <a:custGeom>
              <a:avLst/>
              <a:gdLst>
                <a:gd name="T0" fmla="*/ 232 w 238"/>
                <a:gd name="T1" fmla="*/ 124 h 148"/>
                <a:gd name="T2" fmla="*/ 192 w 238"/>
                <a:gd name="T3" fmla="*/ 128 h 148"/>
                <a:gd name="T4" fmla="*/ 192 w 238"/>
                <a:gd name="T5" fmla="*/ 128 h 148"/>
                <a:gd name="T6" fmla="*/ 127 w 238"/>
                <a:gd name="T7" fmla="*/ 115 h 148"/>
                <a:gd name="T8" fmla="*/ 75 w 238"/>
                <a:gd name="T9" fmla="*/ 80 h 148"/>
                <a:gd name="T10" fmla="*/ 41 w 238"/>
                <a:gd name="T11" fmla="*/ 30 h 148"/>
                <a:gd name="T12" fmla="*/ 61 w 238"/>
                <a:gd name="T13" fmla="*/ 26 h 148"/>
                <a:gd name="T14" fmla="*/ 26 w 238"/>
                <a:gd name="T15" fmla="*/ 0 h 148"/>
                <a:gd name="T16" fmla="*/ 0 w 238"/>
                <a:gd name="T17" fmla="*/ 36 h 148"/>
                <a:gd name="T18" fmla="*/ 20 w 238"/>
                <a:gd name="T19" fmla="*/ 33 h 148"/>
                <a:gd name="T20" fmla="*/ 192 w 238"/>
                <a:gd name="T21" fmla="*/ 148 h 148"/>
                <a:gd name="T22" fmla="*/ 192 w 238"/>
                <a:gd name="T23" fmla="*/ 148 h 148"/>
                <a:gd name="T24" fmla="*/ 238 w 238"/>
                <a:gd name="T25" fmla="*/ 143 h 148"/>
                <a:gd name="T26" fmla="*/ 232 w 238"/>
                <a:gd name="T27" fmla="*/ 12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148">
                  <a:moveTo>
                    <a:pt x="232" y="124"/>
                  </a:moveTo>
                  <a:cubicBezTo>
                    <a:pt x="219" y="127"/>
                    <a:pt x="206" y="128"/>
                    <a:pt x="192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70" y="128"/>
                    <a:pt x="148" y="124"/>
                    <a:pt x="127" y="115"/>
                  </a:cubicBezTo>
                  <a:cubicBezTo>
                    <a:pt x="108" y="107"/>
                    <a:pt x="90" y="95"/>
                    <a:pt x="75" y="80"/>
                  </a:cubicBezTo>
                  <a:cubicBezTo>
                    <a:pt x="60" y="65"/>
                    <a:pt x="49" y="48"/>
                    <a:pt x="41" y="3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48" y="100"/>
                    <a:pt x="114" y="148"/>
                    <a:pt x="192" y="148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208" y="148"/>
                    <a:pt x="223" y="146"/>
                    <a:pt x="238" y="143"/>
                  </a:cubicBezTo>
                  <a:lnTo>
                    <a:pt x="232" y="124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56" name="Freeform 843">
              <a:extLst>
                <a:ext uri="{FF2B5EF4-FFF2-40B4-BE49-F238E27FC236}">
                  <a16:creationId xmlns:a16="http://schemas.microsoft.com/office/drawing/2014/main" id="{7D7E1168-7DE2-4A6E-BA79-B5C7671F8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444" y="5746953"/>
              <a:ext cx="325266" cy="216325"/>
            </a:xfrm>
            <a:custGeom>
              <a:avLst/>
              <a:gdLst>
                <a:gd name="T0" fmla="*/ 282 w 282"/>
                <a:gd name="T1" fmla="*/ 40 h 188"/>
                <a:gd name="T2" fmla="*/ 264 w 282"/>
                <a:gd name="T3" fmla="*/ 0 h 188"/>
                <a:gd name="T4" fmla="*/ 257 w 282"/>
                <a:gd name="T5" fmla="*/ 20 h 188"/>
                <a:gd name="T6" fmla="*/ 186 w 282"/>
                <a:gd name="T7" fmla="*/ 6 h 188"/>
                <a:gd name="T8" fmla="*/ 185 w 282"/>
                <a:gd name="T9" fmla="*/ 6 h 188"/>
                <a:gd name="T10" fmla="*/ 0 w 282"/>
                <a:gd name="T11" fmla="*/ 188 h 188"/>
                <a:gd name="T12" fmla="*/ 20 w 282"/>
                <a:gd name="T13" fmla="*/ 188 h 188"/>
                <a:gd name="T14" fmla="*/ 33 w 282"/>
                <a:gd name="T15" fmla="*/ 127 h 188"/>
                <a:gd name="T16" fmla="*/ 68 w 282"/>
                <a:gd name="T17" fmla="*/ 74 h 188"/>
                <a:gd name="T18" fmla="*/ 121 w 282"/>
                <a:gd name="T19" fmla="*/ 39 h 188"/>
                <a:gd name="T20" fmla="*/ 185 w 282"/>
                <a:gd name="T21" fmla="*/ 26 h 188"/>
                <a:gd name="T22" fmla="*/ 185 w 282"/>
                <a:gd name="T23" fmla="*/ 26 h 188"/>
                <a:gd name="T24" fmla="*/ 249 w 282"/>
                <a:gd name="T25" fmla="*/ 39 h 188"/>
                <a:gd name="T26" fmla="*/ 242 w 282"/>
                <a:gd name="T27" fmla="*/ 58 h 188"/>
                <a:gd name="T28" fmla="*/ 282 w 282"/>
                <a:gd name="T29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2" h="188">
                  <a:moveTo>
                    <a:pt x="282" y="40"/>
                  </a:moveTo>
                  <a:cubicBezTo>
                    <a:pt x="264" y="0"/>
                    <a:pt x="264" y="0"/>
                    <a:pt x="264" y="0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35" y="11"/>
                    <a:pt x="211" y="6"/>
                    <a:pt x="186" y="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84" y="6"/>
                    <a:pt x="2" y="87"/>
                    <a:pt x="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20" y="167"/>
                    <a:pt x="24" y="146"/>
                    <a:pt x="33" y="127"/>
                  </a:cubicBezTo>
                  <a:cubicBezTo>
                    <a:pt x="41" y="107"/>
                    <a:pt x="53" y="90"/>
                    <a:pt x="68" y="74"/>
                  </a:cubicBezTo>
                  <a:cubicBezTo>
                    <a:pt x="83" y="59"/>
                    <a:pt x="101" y="47"/>
                    <a:pt x="121" y="39"/>
                  </a:cubicBezTo>
                  <a:cubicBezTo>
                    <a:pt x="141" y="30"/>
                    <a:pt x="163" y="26"/>
                    <a:pt x="185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208" y="26"/>
                    <a:pt x="229" y="30"/>
                    <a:pt x="249" y="39"/>
                  </a:cubicBezTo>
                  <a:cubicBezTo>
                    <a:pt x="242" y="58"/>
                    <a:pt x="242" y="58"/>
                    <a:pt x="242" y="58"/>
                  </a:cubicBezTo>
                  <a:lnTo>
                    <a:pt x="282" y="4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57" name="Freeform 844">
              <a:extLst>
                <a:ext uri="{FF2B5EF4-FFF2-40B4-BE49-F238E27FC236}">
                  <a16:creationId xmlns:a16="http://schemas.microsoft.com/office/drawing/2014/main" id="{D447BFF3-7FE2-42CA-8329-8AFD21566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8026" y="5810760"/>
              <a:ext cx="308146" cy="306590"/>
            </a:xfrm>
            <a:custGeom>
              <a:avLst/>
              <a:gdLst>
                <a:gd name="T0" fmla="*/ 267 w 267"/>
                <a:gd name="T1" fmla="*/ 153 h 267"/>
                <a:gd name="T2" fmla="*/ 267 w 267"/>
                <a:gd name="T3" fmla="*/ 114 h 267"/>
                <a:gd name="T4" fmla="*/ 239 w 267"/>
                <a:gd name="T5" fmla="*/ 114 h 267"/>
                <a:gd name="T6" fmla="*/ 222 w 267"/>
                <a:gd name="T7" fmla="*/ 73 h 267"/>
                <a:gd name="T8" fmla="*/ 242 w 267"/>
                <a:gd name="T9" fmla="*/ 53 h 267"/>
                <a:gd name="T10" fmla="*/ 215 w 267"/>
                <a:gd name="T11" fmla="*/ 25 h 267"/>
                <a:gd name="T12" fmla="*/ 195 w 267"/>
                <a:gd name="T13" fmla="*/ 45 h 267"/>
                <a:gd name="T14" fmla="*/ 153 w 267"/>
                <a:gd name="T15" fmla="*/ 28 h 267"/>
                <a:gd name="T16" fmla="*/ 153 w 267"/>
                <a:gd name="T17" fmla="*/ 0 h 267"/>
                <a:gd name="T18" fmla="*/ 114 w 267"/>
                <a:gd name="T19" fmla="*/ 0 h 267"/>
                <a:gd name="T20" fmla="*/ 114 w 267"/>
                <a:gd name="T21" fmla="*/ 28 h 267"/>
                <a:gd name="T22" fmla="*/ 73 w 267"/>
                <a:gd name="T23" fmla="*/ 45 h 267"/>
                <a:gd name="T24" fmla="*/ 53 w 267"/>
                <a:gd name="T25" fmla="*/ 25 h 267"/>
                <a:gd name="T26" fmla="*/ 25 w 267"/>
                <a:gd name="T27" fmla="*/ 53 h 267"/>
                <a:gd name="T28" fmla="*/ 46 w 267"/>
                <a:gd name="T29" fmla="*/ 73 h 267"/>
                <a:gd name="T30" fmla="*/ 29 w 267"/>
                <a:gd name="T31" fmla="*/ 114 h 267"/>
                <a:gd name="T32" fmla="*/ 0 w 267"/>
                <a:gd name="T33" fmla="*/ 114 h 267"/>
                <a:gd name="T34" fmla="*/ 0 w 267"/>
                <a:gd name="T35" fmla="*/ 153 h 267"/>
                <a:gd name="T36" fmla="*/ 30 w 267"/>
                <a:gd name="T37" fmla="*/ 153 h 267"/>
                <a:gd name="T38" fmla="*/ 46 w 267"/>
                <a:gd name="T39" fmla="*/ 193 h 267"/>
                <a:gd name="T40" fmla="*/ 25 w 267"/>
                <a:gd name="T41" fmla="*/ 214 h 267"/>
                <a:gd name="T42" fmla="*/ 53 w 267"/>
                <a:gd name="T43" fmla="*/ 242 h 267"/>
                <a:gd name="T44" fmla="*/ 74 w 267"/>
                <a:gd name="T45" fmla="*/ 221 h 267"/>
                <a:gd name="T46" fmla="*/ 114 w 267"/>
                <a:gd name="T47" fmla="*/ 237 h 267"/>
                <a:gd name="T48" fmla="*/ 114 w 267"/>
                <a:gd name="T49" fmla="*/ 267 h 267"/>
                <a:gd name="T50" fmla="*/ 153 w 267"/>
                <a:gd name="T51" fmla="*/ 267 h 267"/>
                <a:gd name="T52" fmla="*/ 153 w 267"/>
                <a:gd name="T53" fmla="*/ 238 h 267"/>
                <a:gd name="T54" fmla="*/ 194 w 267"/>
                <a:gd name="T55" fmla="*/ 221 h 267"/>
                <a:gd name="T56" fmla="*/ 214 w 267"/>
                <a:gd name="T57" fmla="*/ 242 h 267"/>
                <a:gd name="T58" fmla="*/ 242 w 267"/>
                <a:gd name="T59" fmla="*/ 215 h 267"/>
                <a:gd name="T60" fmla="*/ 221 w 267"/>
                <a:gd name="T61" fmla="*/ 194 h 267"/>
                <a:gd name="T62" fmla="*/ 239 w 267"/>
                <a:gd name="T63" fmla="*/ 153 h 267"/>
                <a:gd name="T64" fmla="*/ 267 w 267"/>
                <a:gd name="T65" fmla="*/ 15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7" h="267">
                  <a:moveTo>
                    <a:pt x="267" y="153"/>
                  </a:moveTo>
                  <a:cubicBezTo>
                    <a:pt x="267" y="114"/>
                    <a:pt x="267" y="114"/>
                    <a:pt x="267" y="114"/>
                  </a:cubicBezTo>
                  <a:cubicBezTo>
                    <a:pt x="239" y="114"/>
                    <a:pt x="239" y="114"/>
                    <a:pt x="239" y="114"/>
                  </a:cubicBezTo>
                  <a:cubicBezTo>
                    <a:pt x="237" y="99"/>
                    <a:pt x="231" y="85"/>
                    <a:pt x="222" y="7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15" y="25"/>
                    <a:pt x="215" y="25"/>
                    <a:pt x="215" y="2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83" y="36"/>
                    <a:pt x="169" y="31"/>
                    <a:pt x="153" y="28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99" y="31"/>
                    <a:pt x="85" y="37"/>
                    <a:pt x="73" y="4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8" y="85"/>
                    <a:pt x="32" y="99"/>
                    <a:pt x="29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32" y="168"/>
                    <a:pt x="38" y="181"/>
                    <a:pt x="46" y="193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53" y="242"/>
                    <a:pt x="53" y="242"/>
                    <a:pt x="53" y="242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86" y="229"/>
                    <a:pt x="99" y="235"/>
                    <a:pt x="114" y="237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53" y="267"/>
                    <a:pt x="153" y="267"/>
                    <a:pt x="153" y="267"/>
                  </a:cubicBezTo>
                  <a:cubicBezTo>
                    <a:pt x="153" y="238"/>
                    <a:pt x="153" y="238"/>
                    <a:pt x="153" y="238"/>
                  </a:cubicBezTo>
                  <a:cubicBezTo>
                    <a:pt x="168" y="235"/>
                    <a:pt x="182" y="229"/>
                    <a:pt x="194" y="221"/>
                  </a:cubicBezTo>
                  <a:cubicBezTo>
                    <a:pt x="214" y="242"/>
                    <a:pt x="214" y="242"/>
                    <a:pt x="214" y="242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21" y="194"/>
                    <a:pt x="221" y="194"/>
                    <a:pt x="221" y="194"/>
                  </a:cubicBezTo>
                  <a:cubicBezTo>
                    <a:pt x="230" y="182"/>
                    <a:pt x="236" y="168"/>
                    <a:pt x="239" y="153"/>
                  </a:cubicBezTo>
                  <a:lnTo>
                    <a:pt x="267" y="15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58" name="Oval 845">
              <a:extLst>
                <a:ext uri="{FF2B5EF4-FFF2-40B4-BE49-F238E27FC236}">
                  <a16:creationId xmlns:a16="http://schemas.microsoft.com/office/drawing/2014/main" id="{696D0118-3538-46F0-A6FC-F046AB5E1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285" y="5885463"/>
              <a:ext cx="157186" cy="1556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59" name="Group 60" descr=" bidirectional, junction, split, change course">
            <a:extLst>
              <a:ext uri="{FF2B5EF4-FFF2-40B4-BE49-F238E27FC236}">
                <a16:creationId xmlns:a16="http://schemas.microsoft.com/office/drawing/2014/main" id="{E16E35AE-6408-4CB2-B702-25F0172582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7459" y="4967702"/>
            <a:ext cx="437082" cy="464136"/>
            <a:chOff x="5796" y="793"/>
            <a:chExt cx="210" cy="223"/>
          </a:xfrm>
        </p:grpSpPr>
        <p:sp>
          <p:nvSpPr>
            <p:cNvPr id="60" name="AutoShape 59">
              <a:extLst>
                <a:ext uri="{FF2B5EF4-FFF2-40B4-BE49-F238E27FC236}">
                  <a16:creationId xmlns:a16="http://schemas.microsoft.com/office/drawing/2014/main" id="{857E84DC-22EA-40B3-9F99-17093F6F59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96" y="793"/>
              <a:ext cx="21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1">
              <a:extLst>
                <a:ext uri="{FF2B5EF4-FFF2-40B4-BE49-F238E27FC236}">
                  <a16:creationId xmlns:a16="http://schemas.microsoft.com/office/drawing/2014/main" id="{D23C4234-4D4A-4789-B5CA-46A998122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793"/>
              <a:ext cx="121" cy="113"/>
            </a:xfrm>
            <a:custGeom>
              <a:avLst/>
              <a:gdLst>
                <a:gd name="T0" fmla="*/ 55 w 104"/>
                <a:gd name="T1" fmla="*/ 0 h 97"/>
                <a:gd name="T2" fmla="*/ 0 w 104"/>
                <a:gd name="T3" fmla="*/ 16 h 97"/>
                <a:gd name="T4" fmla="*/ 42 w 104"/>
                <a:gd name="T5" fmla="*/ 55 h 97"/>
                <a:gd name="T6" fmla="*/ 45 w 104"/>
                <a:gd name="T7" fmla="*/ 42 h 97"/>
                <a:gd name="T8" fmla="*/ 75 w 104"/>
                <a:gd name="T9" fmla="*/ 97 h 97"/>
                <a:gd name="T10" fmla="*/ 104 w 104"/>
                <a:gd name="T11" fmla="*/ 97 h 97"/>
                <a:gd name="T12" fmla="*/ 53 w 104"/>
                <a:gd name="T13" fmla="*/ 13 h 97"/>
                <a:gd name="T14" fmla="*/ 55 w 104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97">
                  <a:moveTo>
                    <a:pt x="55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4" y="54"/>
                    <a:pt x="75" y="75"/>
                    <a:pt x="75" y="97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61"/>
                    <a:pt x="84" y="29"/>
                    <a:pt x="53" y="13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2">
              <a:extLst>
                <a:ext uri="{FF2B5EF4-FFF2-40B4-BE49-F238E27FC236}">
                  <a16:creationId xmlns:a16="http://schemas.microsoft.com/office/drawing/2014/main" id="{86187FE8-D187-4B4B-824C-01E0BFE42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" y="793"/>
              <a:ext cx="121" cy="223"/>
            </a:xfrm>
            <a:custGeom>
              <a:avLst/>
              <a:gdLst>
                <a:gd name="T0" fmla="*/ 52 w 104"/>
                <a:gd name="T1" fmla="*/ 13 h 192"/>
                <a:gd name="T2" fmla="*/ 0 w 104"/>
                <a:gd name="T3" fmla="*/ 97 h 192"/>
                <a:gd name="T4" fmla="*/ 97 w 104"/>
                <a:gd name="T5" fmla="*/ 192 h 192"/>
                <a:gd name="T6" fmla="*/ 97 w 104"/>
                <a:gd name="T7" fmla="*/ 163 h 192"/>
                <a:gd name="T8" fmla="*/ 29 w 104"/>
                <a:gd name="T9" fmla="*/ 97 h 192"/>
                <a:gd name="T10" fmla="*/ 60 w 104"/>
                <a:gd name="T11" fmla="*/ 42 h 192"/>
                <a:gd name="T12" fmla="*/ 63 w 104"/>
                <a:gd name="T13" fmla="*/ 55 h 192"/>
                <a:gd name="T14" fmla="*/ 104 w 104"/>
                <a:gd name="T15" fmla="*/ 16 h 192"/>
                <a:gd name="T16" fmla="*/ 49 w 104"/>
                <a:gd name="T17" fmla="*/ 0 h 192"/>
                <a:gd name="T18" fmla="*/ 52 w 104"/>
                <a:gd name="T19" fmla="*/ 1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92">
                  <a:moveTo>
                    <a:pt x="52" y="13"/>
                  </a:moveTo>
                  <a:cubicBezTo>
                    <a:pt x="21" y="29"/>
                    <a:pt x="0" y="61"/>
                    <a:pt x="0" y="97"/>
                  </a:cubicBezTo>
                  <a:cubicBezTo>
                    <a:pt x="0" y="149"/>
                    <a:pt x="43" y="192"/>
                    <a:pt x="97" y="192"/>
                  </a:cubicBezTo>
                  <a:cubicBezTo>
                    <a:pt x="97" y="163"/>
                    <a:pt x="97" y="163"/>
                    <a:pt x="97" y="163"/>
                  </a:cubicBezTo>
                  <a:cubicBezTo>
                    <a:pt x="60" y="163"/>
                    <a:pt x="29" y="133"/>
                    <a:pt x="29" y="97"/>
                  </a:cubicBezTo>
                  <a:cubicBezTo>
                    <a:pt x="29" y="75"/>
                    <a:pt x="41" y="54"/>
                    <a:pt x="60" y="42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2" y="13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 descr="gears, process, precision, productivity, mechanical">
            <a:extLst>
              <a:ext uri="{FF2B5EF4-FFF2-40B4-BE49-F238E27FC236}">
                <a16:creationId xmlns:a16="http://schemas.microsoft.com/office/drawing/2014/main" id="{74705F92-04EF-4AFD-AF18-0ECCD85F7212}"/>
              </a:ext>
            </a:extLst>
          </p:cNvPr>
          <p:cNvGrpSpPr/>
          <p:nvPr/>
        </p:nvGrpSpPr>
        <p:grpSpPr>
          <a:xfrm>
            <a:off x="9027187" y="4137902"/>
            <a:ext cx="495488" cy="535122"/>
            <a:chOff x="696496" y="5670715"/>
            <a:chExt cx="377924" cy="408154"/>
          </a:xfrm>
        </p:grpSpPr>
        <p:sp>
          <p:nvSpPr>
            <p:cNvPr id="64" name="Freeform 92">
              <a:extLst>
                <a:ext uri="{FF2B5EF4-FFF2-40B4-BE49-F238E27FC236}">
                  <a16:creationId xmlns:a16="http://schemas.microsoft.com/office/drawing/2014/main" id="{1049C031-BF16-4AAE-B2F7-8246F74DC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59" y="5869123"/>
              <a:ext cx="243761" cy="209746"/>
            </a:xfrm>
            <a:custGeom>
              <a:avLst/>
              <a:gdLst>
                <a:gd name="T0" fmla="*/ 112 w 122"/>
                <a:gd name="T1" fmla="*/ 43 h 105"/>
                <a:gd name="T2" fmla="*/ 111 w 122"/>
                <a:gd name="T3" fmla="*/ 32 h 105"/>
                <a:gd name="T4" fmla="*/ 108 w 122"/>
                <a:gd name="T5" fmla="*/ 22 h 105"/>
                <a:gd name="T6" fmla="*/ 117 w 122"/>
                <a:gd name="T7" fmla="*/ 15 h 105"/>
                <a:gd name="T8" fmla="*/ 107 w 122"/>
                <a:gd name="T9" fmla="*/ 0 h 105"/>
                <a:gd name="T10" fmla="*/ 100 w 122"/>
                <a:gd name="T11" fmla="*/ 3 h 105"/>
                <a:gd name="T12" fmla="*/ 100 w 122"/>
                <a:gd name="T13" fmla="*/ 4 h 105"/>
                <a:gd name="T14" fmla="*/ 92 w 122"/>
                <a:gd name="T15" fmla="*/ 24 h 105"/>
                <a:gd name="T16" fmla="*/ 87 w 122"/>
                <a:gd name="T17" fmla="*/ 35 h 105"/>
                <a:gd name="T18" fmla="*/ 76 w 122"/>
                <a:gd name="T19" fmla="*/ 32 h 105"/>
                <a:gd name="T20" fmla="*/ 62 w 122"/>
                <a:gd name="T21" fmla="*/ 28 h 105"/>
                <a:gd name="T22" fmla="*/ 60 w 122"/>
                <a:gd name="T23" fmla="*/ 30 h 105"/>
                <a:gd name="T24" fmla="*/ 64 w 122"/>
                <a:gd name="T25" fmla="*/ 44 h 105"/>
                <a:gd name="T26" fmla="*/ 66 w 122"/>
                <a:gd name="T27" fmla="*/ 55 h 105"/>
                <a:gd name="T28" fmla="*/ 56 w 122"/>
                <a:gd name="T29" fmla="*/ 60 h 105"/>
                <a:gd name="T30" fmla="*/ 36 w 122"/>
                <a:gd name="T31" fmla="*/ 68 h 105"/>
                <a:gd name="T32" fmla="*/ 25 w 122"/>
                <a:gd name="T33" fmla="*/ 73 h 105"/>
                <a:gd name="T34" fmla="*/ 19 w 122"/>
                <a:gd name="T35" fmla="*/ 63 h 105"/>
                <a:gd name="T36" fmla="*/ 12 w 122"/>
                <a:gd name="T37" fmla="*/ 50 h 105"/>
                <a:gd name="T38" fmla="*/ 10 w 122"/>
                <a:gd name="T39" fmla="*/ 50 h 105"/>
                <a:gd name="T40" fmla="*/ 9 w 122"/>
                <a:gd name="T41" fmla="*/ 50 h 105"/>
                <a:gd name="T42" fmla="*/ 7 w 122"/>
                <a:gd name="T43" fmla="*/ 55 h 105"/>
                <a:gd name="T44" fmla="*/ 8 w 122"/>
                <a:gd name="T45" fmla="*/ 61 h 105"/>
                <a:gd name="T46" fmla="*/ 0 w 122"/>
                <a:gd name="T47" fmla="*/ 68 h 105"/>
                <a:gd name="T48" fmla="*/ 9 w 122"/>
                <a:gd name="T49" fmla="*/ 83 h 105"/>
                <a:gd name="T50" fmla="*/ 20 w 122"/>
                <a:gd name="T51" fmla="*/ 78 h 105"/>
                <a:gd name="T52" fmla="*/ 37 w 122"/>
                <a:gd name="T53" fmla="*/ 90 h 105"/>
                <a:gd name="T54" fmla="*/ 36 w 122"/>
                <a:gd name="T55" fmla="*/ 101 h 105"/>
                <a:gd name="T56" fmla="*/ 53 w 122"/>
                <a:gd name="T57" fmla="*/ 105 h 105"/>
                <a:gd name="T58" fmla="*/ 57 w 122"/>
                <a:gd name="T59" fmla="*/ 95 h 105"/>
                <a:gd name="T60" fmla="*/ 68 w 122"/>
                <a:gd name="T61" fmla="*/ 94 h 105"/>
                <a:gd name="T62" fmla="*/ 78 w 122"/>
                <a:gd name="T63" fmla="*/ 92 h 105"/>
                <a:gd name="T64" fmla="*/ 85 w 122"/>
                <a:gd name="T65" fmla="*/ 100 h 105"/>
                <a:gd name="T66" fmla="*/ 100 w 122"/>
                <a:gd name="T67" fmla="*/ 91 h 105"/>
                <a:gd name="T68" fmla="*/ 95 w 122"/>
                <a:gd name="T69" fmla="*/ 80 h 105"/>
                <a:gd name="T70" fmla="*/ 107 w 122"/>
                <a:gd name="T71" fmla="*/ 63 h 105"/>
                <a:gd name="T72" fmla="*/ 118 w 122"/>
                <a:gd name="T73" fmla="*/ 64 h 105"/>
                <a:gd name="T74" fmla="*/ 122 w 122"/>
                <a:gd name="T75" fmla="*/ 47 h 105"/>
                <a:gd name="T76" fmla="*/ 112 w 122"/>
                <a:gd name="T77" fmla="*/ 4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2" h="105">
                  <a:moveTo>
                    <a:pt x="112" y="43"/>
                  </a:moveTo>
                  <a:cubicBezTo>
                    <a:pt x="112" y="40"/>
                    <a:pt x="112" y="36"/>
                    <a:pt x="111" y="32"/>
                  </a:cubicBezTo>
                  <a:cubicBezTo>
                    <a:pt x="111" y="29"/>
                    <a:pt x="110" y="26"/>
                    <a:pt x="108" y="22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1" y="29"/>
                    <a:pt x="61" y="29"/>
                    <a:pt x="60" y="30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7"/>
                    <a:pt x="8" y="59"/>
                    <a:pt x="8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4" y="83"/>
                    <a:pt x="30" y="88"/>
                    <a:pt x="37" y="9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60" y="95"/>
                    <a:pt x="64" y="95"/>
                    <a:pt x="68" y="94"/>
                  </a:cubicBezTo>
                  <a:cubicBezTo>
                    <a:pt x="71" y="94"/>
                    <a:pt x="74" y="93"/>
                    <a:pt x="78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100" y="76"/>
                    <a:pt x="104" y="70"/>
                    <a:pt x="107" y="63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22" y="47"/>
                    <a:pt x="122" y="47"/>
                    <a:pt x="122" y="47"/>
                  </a:cubicBezTo>
                  <a:lnTo>
                    <a:pt x="112" y="43"/>
                  </a:lnTo>
                  <a:close/>
                </a:path>
              </a:pathLst>
            </a:custGeom>
            <a:solidFill>
              <a:srgbClr val="4F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5" name="Freeform 93">
              <a:extLst>
                <a:ext uri="{FF2B5EF4-FFF2-40B4-BE49-F238E27FC236}">
                  <a16:creationId xmlns:a16="http://schemas.microsoft.com/office/drawing/2014/main" id="{CA522D13-7C26-4EBE-8320-0CD5015EA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96" y="5670715"/>
              <a:ext cx="309897" cy="309894"/>
            </a:xfrm>
            <a:custGeom>
              <a:avLst/>
              <a:gdLst>
                <a:gd name="T0" fmla="*/ 57 w 155"/>
                <a:gd name="T1" fmla="*/ 0 h 155"/>
                <a:gd name="T2" fmla="*/ 70 w 155"/>
                <a:gd name="T3" fmla="*/ 20 h 155"/>
                <a:gd name="T4" fmla="*/ 77 w 155"/>
                <a:gd name="T5" fmla="*/ 20 h 155"/>
                <a:gd name="T6" fmla="*/ 85 w 155"/>
                <a:gd name="T7" fmla="*/ 20 h 155"/>
                <a:gd name="T8" fmla="*/ 98 w 155"/>
                <a:gd name="T9" fmla="*/ 0 h 155"/>
                <a:gd name="T10" fmla="*/ 118 w 155"/>
                <a:gd name="T11" fmla="*/ 8 h 155"/>
                <a:gd name="T12" fmla="*/ 112 w 155"/>
                <a:gd name="T13" fmla="*/ 32 h 155"/>
                <a:gd name="T14" fmla="*/ 123 w 155"/>
                <a:gd name="T15" fmla="*/ 43 h 155"/>
                <a:gd name="T16" fmla="*/ 147 w 155"/>
                <a:gd name="T17" fmla="*/ 37 h 155"/>
                <a:gd name="T18" fmla="*/ 155 w 155"/>
                <a:gd name="T19" fmla="*/ 57 h 155"/>
                <a:gd name="T20" fmla="*/ 135 w 155"/>
                <a:gd name="T21" fmla="*/ 69 h 155"/>
                <a:gd name="T22" fmla="*/ 135 w 155"/>
                <a:gd name="T23" fmla="*/ 85 h 155"/>
                <a:gd name="T24" fmla="*/ 155 w 155"/>
                <a:gd name="T25" fmla="*/ 98 h 155"/>
                <a:gd name="T26" fmla="*/ 146 w 155"/>
                <a:gd name="T27" fmla="*/ 118 h 155"/>
                <a:gd name="T28" fmla="*/ 124 w 155"/>
                <a:gd name="T29" fmla="*/ 112 h 155"/>
                <a:gd name="T30" fmla="*/ 112 w 155"/>
                <a:gd name="T31" fmla="*/ 124 h 155"/>
                <a:gd name="T32" fmla="*/ 118 w 155"/>
                <a:gd name="T33" fmla="*/ 146 h 155"/>
                <a:gd name="T34" fmla="*/ 98 w 155"/>
                <a:gd name="T35" fmla="*/ 155 h 155"/>
                <a:gd name="T36" fmla="*/ 86 w 155"/>
                <a:gd name="T37" fmla="*/ 135 h 155"/>
                <a:gd name="T38" fmla="*/ 77 w 155"/>
                <a:gd name="T39" fmla="*/ 136 h 155"/>
                <a:gd name="T40" fmla="*/ 69 w 155"/>
                <a:gd name="T41" fmla="*/ 135 h 155"/>
                <a:gd name="T42" fmla="*/ 57 w 155"/>
                <a:gd name="T43" fmla="*/ 155 h 155"/>
                <a:gd name="T44" fmla="*/ 37 w 155"/>
                <a:gd name="T45" fmla="*/ 146 h 155"/>
                <a:gd name="T46" fmla="*/ 42 w 155"/>
                <a:gd name="T47" fmla="*/ 124 h 155"/>
                <a:gd name="T48" fmla="*/ 30 w 155"/>
                <a:gd name="T49" fmla="*/ 112 h 155"/>
                <a:gd name="T50" fmla="*/ 8 w 155"/>
                <a:gd name="T51" fmla="*/ 117 h 155"/>
                <a:gd name="T52" fmla="*/ 0 w 155"/>
                <a:gd name="T53" fmla="*/ 97 h 155"/>
                <a:gd name="T54" fmla="*/ 20 w 155"/>
                <a:gd name="T55" fmla="*/ 86 h 155"/>
                <a:gd name="T56" fmla="*/ 20 w 155"/>
                <a:gd name="T57" fmla="*/ 69 h 155"/>
                <a:gd name="T58" fmla="*/ 0 w 155"/>
                <a:gd name="T59" fmla="*/ 57 h 155"/>
                <a:gd name="T60" fmla="*/ 9 w 155"/>
                <a:gd name="T61" fmla="*/ 37 h 155"/>
                <a:gd name="T62" fmla="*/ 31 w 155"/>
                <a:gd name="T63" fmla="*/ 42 h 155"/>
                <a:gd name="T64" fmla="*/ 43 w 155"/>
                <a:gd name="T65" fmla="*/ 31 h 155"/>
                <a:gd name="T66" fmla="*/ 37 w 155"/>
                <a:gd name="T67" fmla="*/ 8 h 155"/>
                <a:gd name="T68" fmla="*/ 57 w 155"/>
                <a:gd name="T6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155">
                  <a:moveTo>
                    <a:pt x="57" y="0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72" y="20"/>
                    <a:pt x="75" y="20"/>
                    <a:pt x="77" y="20"/>
                  </a:cubicBezTo>
                  <a:cubicBezTo>
                    <a:pt x="80" y="20"/>
                    <a:pt x="83" y="20"/>
                    <a:pt x="85" y="2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7" y="35"/>
                    <a:pt x="120" y="39"/>
                    <a:pt x="123" y="43"/>
                  </a:cubicBezTo>
                  <a:cubicBezTo>
                    <a:pt x="147" y="37"/>
                    <a:pt x="147" y="37"/>
                    <a:pt x="147" y="37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35" y="69"/>
                    <a:pt x="135" y="69"/>
                    <a:pt x="135" y="69"/>
                  </a:cubicBezTo>
                  <a:cubicBezTo>
                    <a:pt x="135" y="75"/>
                    <a:pt x="135" y="80"/>
                    <a:pt x="135" y="8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24" y="112"/>
                    <a:pt x="124" y="112"/>
                    <a:pt x="124" y="112"/>
                  </a:cubicBezTo>
                  <a:cubicBezTo>
                    <a:pt x="121" y="117"/>
                    <a:pt x="117" y="121"/>
                    <a:pt x="112" y="124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3" y="136"/>
                    <a:pt x="80" y="136"/>
                    <a:pt x="77" y="136"/>
                  </a:cubicBezTo>
                  <a:cubicBezTo>
                    <a:pt x="74" y="136"/>
                    <a:pt x="72" y="136"/>
                    <a:pt x="69" y="13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38" y="121"/>
                    <a:pt x="34" y="117"/>
                    <a:pt x="30" y="11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0"/>
                    <a:pt x="19" y="75"/>
                    <a:pt x="20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8"/>
                    <a:pt x="38" y="34"/>
                    <a:pt x="43" y="31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algn="ctr" defTabSz="896386" fontAlgn="base"/>
              <a:endParaRPr lang="en-US" sz="1667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A84FDF0A-F29C-473D-9D55-C4320B7B53AD}"/>
              </a:ext>
            </a:extLst>
          </p:cNvPr>
          <p:cNvSpPr/>
          <p:nvPr/>
        </p:nvSpPr>
        <p:spPr bwMode="auto">
          <a:xfrm>
            <a:off x="1613847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29A08C2-B556-4BDD-A797-46C11AE09039}"/>
              </a:ext>
            </a:extLst>
          </p:cNvPr>
          <p:cNvSpPr/>
          <p:nvPr/>
        </p:nvSpPr>
        <p:spPr bwMode="auto">
          <a:xfrm>
            <a:off x="4702715" y="4409769"/>
            <a:ext cx="2786571" cy="24482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1811EE-B8D8-46E8-811E-91C289A29597}"/>
              </a:ext>
            </a:extLst>
          </p:cNvPr>
          <p:cNvGrpSpPr/>
          <p:nvPr/>
        </p:nvGrpSpPr>
        <p:grpSpPr>
          <a:xfrm>
            <a:off x="450465" y="2133162"/>
            <a:ext cx="11306469" cy="1337327"/>
            <a:chOff x="450465" y="2133162"/>
            <a:chExt cx="11306469" cy="1337327"/>
          </a:xfrm>
        </p:grpSpPr>
        <p:sp>
          <p:nvSpPr>
            <p:cNvPr id="78" name="binoculars" title="Icon of binoculars">
              <a:extLst>
                <a:ext uri="{FF2B5EF4-FFF2-40B4-BE49-F238E27FC236}">
                  <a16:creationId xmlns:a16="http://schemas.microsoft.com/office/drawing/2014/main" id="{27561492-9E2C-400B-8C46-A3472CE7AE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97970" y="2162287"/>
              <a:ext cx="375398" cy="345680"/>
            </a:xfrm>
            <a:custGeom>
              <a:avLst/>
              <a:gdLst>
                <a:gd name="T0" fmla="*/ 0 w 331"/>
                <a:gd name="T1" fmla="*/ 239 h 306"/>
                <a:gd name="T2" fmla="*/ 67 w 331"/>
                <a:gd name="T3" fmla="*/ 172 h 306"/>
                <a:gd name="T4" fmla="*/ 134 w 331"/>
                <a:gd name="T5" fmla="*/ 239 h 306"/>
                <a:gd name="T6" fmla="*/ 67 w 331"/>
                <a:gd name="T7" fmla="*/ 306 h 306"/>
                <a:gd name="T8" fmla="*/ 0 w 331"/>
                <a:gd name="T9" fmla="*/ 239 h 306"/>
                <a:gd name="T10" fmla="*/ 264 w 331"/>
                <a:gd name="T11" fmla="*/ 306 h 306"/>
                <a:gd name="T12" fmla="*/ 331 w 331"/>
                <a:gd name="T13" fmla="*/ 239 h 306"/>
                <a:gd name="T14" fmla="*/ 264 w 331"/>
                <a:gd name="T15" fmla="*/ 172 h 306"/>
                <a:gd name="T16" fmla="*/ 197 w 331"/>
                <a:gd name="T17" fmla="*/ 239 h 306"/>
                <a:gd name="T18" fmla="*/ 264 w 331"/>
                <a:gd name="T19" fmla="*/ 306 h 306"/>
                <a:gd name="T20" fmla="*/ 324 w 331"/>
                <a:gd name="T21" fmla="*/ 209 h 306"/>
                <a:gd name="T22" fmla="*/ 264 w 331"/>
                <a:gd name="T23" fmla="*/ 34 h 306"/>
                <a:gd name="T24" fmla="*/ 231 w 331"/>
                <a:gd name="T25" fmla="*/ 0 h 306"/>
                <a:gd name="T26" fmla="*/ 197 w 331"/>
                <a:gd name="T27" fmla="*/ 34 h 306"/>
                <a:gd name="T28" fmla="*/ 197 w 331"/>
                <a:gd name="T29" fmla="*/ 239 h 306"/>
                <a:gd name="T30" fmla="*/ 134 w 331"/>
                <a:gd name="T31" fmla="*/ 239 h 306"/>
                <a:gd name="T32" fmla="*/ 134 w 331"/>
                <a:gd name="T33" fmla="*/ 34 h 306"/>
                <a:gd name="T34" fmla="*/ 100 w 331"/>
                <a:gd name="T35" fmla="*/ 0 h 306"/>
                <a:gd name="T36" fmla="*/ 67 w 331"/>
                <a:gd name="T37" fmla="*/ 34 h 306"/>
                <a:gd name="T38" fmla="*/ 4 w 331"/>
                <a:gd name="T39" fmla="*/ 217 h 306"/>
                <a:gd name="T40" fmla="*/ 134 w 331"/>
                <a:gd name="T41" fmla="*/ 87 h 306"/>
                <a:gd name="T42" fmla="*/ 197 w 331"/>
                <a:gd name="T43" fmla="*/ 87 h 306"/>
                <a:gd name="T44" fmla="*/ 134 w 331"/>
                <a:gd name="T45" fmla="*/ 154 h 306"/>
                <a:gd name="T46" fmla="*/ 197 w 331"/>
                <a:gd name="T47" fmla="*/ 15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1" h="306">
                  <a:moveTo>
                    <a:pt x="0" y="239"/>
                  </a:moveTo>
                  <a:cubicBezTo>
                    <a:pt x="0" y="202"/>
                    <a:pt x="30" y="172"/>
                    <a:pt x="67" y="172"/>
                  </a:cubicBezTo>
                  <a:cubicBezTo>
                    <a:pt x="104" y="172"/>
                    <a:pt x="134" y="202"/>
                    <a:pt x="134" y="239"/>
                  </a:cubicBezTo>
                  <a:cubicBezTo>
                    <a:pt x="134" y="276"/>
                    <a:pt x="104" y="306"/>
                    <a:pt x="67" y="306"/>
                  </a:cubicBezTo>
                  <a:cubicBezTo>
                    <a:pt x="30" y="306"/>
                    <a:pt x="0" y="276"/>
                    <a:pt x="0" y="239"/>
                  </a:cubicBezTo>
                  <a:close/>
                  <a:moveTo>
                    <a:pt x="264" y="306"/>
                  </a:moveTo>
                  <a:cubicBezTo>
                    <a:pt x="301" y="306"/>
                    <a:pt x="331" y="276"/>
                    <a:pt x="331" y="239"/>
                  </a:cubicBezTo>
                  <a:cubicBezTo>
                    <a:pt x="331" y="202"/>
                    <a:pt x="301" y="172"/>
                    <a:pt x="264" y="172"/>
                  </a:cubicBezTo>
                  <a:cubicBezTo>
                    <a:pt x="227" y="172"/>
                    <a:pt x="197" y="202"/>
                    <a:pt x="197" y="239"/>
                  </a:cubicBezTo>
                  <a:cubicBezTo>
                    <a:pt x="197" y="276"/>
                    <a:pt x="227" y="306"/>
                    <a:pt x="264" y="306"/>
                  </a:cubicBezTo>
                  <a:close/>
                  <a:moveTo>
                    <a:pt x="324" y="209"/>
                  </a:moveTo>
                  <a:cubicBezTo>
                    <a:pt x="264" y="34"/>
                    <a:pt x="264" y="34"/>
                    <a:pt x="264" y="34"/>
                  </a:cubicBezTo>
                  <a:cubicBezTo>
                    <a:pt x="258" y="15"/>
                    <a:pt x="249" y="0"/>
                    <a:pt x="231" y="0"/>
                  </a:cubicBezTo>
                  <a:cubicBezTo>
                    <a:pt x="212" y="0"/>
                    <a:pt x="197" y="15"/>
                    <a:pt x="197" y="34"/>
                  </a:cubicBezTo>
                  <a:cubicBezTo>
                    <a:pt x="197" y="239"/>
                    <a:pt x="197" y="239"/>
                    <a:pt x="197" y="239"/>
                  </a:cubicBezTo>
                  <a:moveTo>
                    <a:pt x="134" y="239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15"/>
                    <a:pt x="119" y="0"/>
                    <a:pt x="100" y="0"/>
                  </a:cubicBezTo>
                  <a:cubicBezTo>
                    <a:pt x="82" y="0"/>
                    <a:pt x="72" y="15"/>
                    <a:pt x="67" y="34"/>
                  </a:cubicBezTo>
                  <a:cubicBezTo>
                    <a:pt x="4" y="217"/>
                    <a:pt x="4" y="217"/>
                    <a:pt x="4" y="217"/>
                  </a:cubicBezTo>
                  <a:moveTo>
                    <a:pt x="134" y="87"/>
                  </a:moveTo>
                  <a:cubicBezTo>
                    <a:pt x="197" y="87"/>
                    <a:pt x="197" y="87"/>
                    <a:pt x="197" y="87"/>
                  </a:cubicBezTo>
                  <a:moveTo>
                    <a:pt x="134" y="154"/>
                  </a:moveTo>
                  <a:cubicBezTo>
                    <a:pt x="197" y="154"/>
                    <a:pt x="197" y="154"/>
                    <a:pt x="197" y="15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ingerprint_E928" title="Icon of a fingerprint">
              <a:extLst>
                <a:ext uri="{FF2B5EF4-FFF2-40B4-BE49-F238E27FC236}">
                  <a16:creationId xmlns:a16="http://schemas.microsoft.com/office/drawing/2014/main" id="{EDBD8221-D466-4CC4-8F0C-30ED8FFFC9E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94847" y="2164501"/>
              <a:ext cx="253754" cy="341252"/>
            </a:xfrm>
            <a:custGeom>
              <a:avLst/>
              <a:gdLst>
                <a:gd name="T0" fmla="*/ 1116 w 2414"/>
                <a:gd name="T1" fmla="*/ 1998 h 3246"/>
                <a:gd name="T2" fmla="*/ 117 w 2414"/>
                <a:gd name="T3" fmla="*/ 2996 h 3246"/>
                <a:gd name="T4" fmla="*/ 2115 w 2414"/>
                <a:gd name="T5" fmla="*/ 250 h 3246"/>
                <a:gd name="T6" fmla="*/ 1116 w 2414"/>
                <a:gd name="T7" fmla="*/ 0 h 3246"/>
                <a:gd name="T8" fmla="*/ 117 w 2414"/>
                <a:gd name="T9" fmla="*/ 250 h 3246"/>
                <a:gd name="T10" fmla="*/ 2414 w 2414"/>
                <a:gd name="T11" fmla="*/ 1248 h 3246"/>
                <a:gd name="T12" fmla="*/ 1116 w 2414"/>
                <a:gd name="T13" fmla="*/ 499 h 3246"/>
                <a:gd name="T14" fmla="*/ 0 w 2414"/>
                <a:gd name="T15" fmla="*/ 999 h 3246"/>
                <a:gd name="T16" fmla="*/ 1677 w 2414"/>
                <a:gd name="T17" fmla="*/ 3246 h 3246"/>
                <a:gd name="T18" fmla="*/ 2115 w 2414"/>
                <a:gd name="T19" fmla="*/ 1998 h 3246"/>
                <a:gd name="T20" fmla="*/ 1116 w 2414"/>
                <a:gd name="T21" fmla="*/ 999 h 3246"/>
                <a:gd name="T22" fmla="*/ 117 w 2414"/>
                <a:gd name="T23" fmla="*/ 1998 h 3246"/>
                <a:gd name="T24" fmla="*/ 946 w 2414"/>
                <a:gd name="T25" fmla="*/ 3246 h 3246"/>
                <a:gd name="T26" fmla="*/ 1616 w 2414"/>
                <a:gd name="T27" fmla="*/ 1998 h 3246"/>
                <a:gd name="T28" fmla="*/ 1116 w 2414"/>
                <a:gd name="T29" fmla="*/ 1498 h 3246"/>
                <a:gd name="T30" fmla="*/ 617 w 2414"/>
                <a:gd name="T31" fmla="*/ 1998 h 3246"/>
                <a:gd name="T32" fmla="*/ 117 w 2414"/>
                <a:gd name="T33" fmla="*/ 2497 h 3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14" h="3246">
                  <a:moveTo>
                    <a:pt x="1116" y="1998"/>
                  </a:moveTo>
                  <a:cubicBezTo>
                    <a:pt x="1116" y="2550"/>
                    <a:pt x="669" y="2996"/>
                    <a:pt x="117" y="2996"/>
                  </a:cubicBezTo>
                  <a:moveTo>
                    <a:pt x="2115" y="250"/>
                  </a:moveTo>
                  <a:cubicBezTo>
                    <a:pt x="1819" y="91"/>
                    <a:pt x="1479" y="0"/>
                    <a:pt x="1116" y="0"/>
                  </a:cubicBezTo>
                  <a:cubicBezTo>
                    <a:pt x="754" y="0"/>
                    <a:pt x="413" y="91"/>
                    <a:pt x="117" y="250"/>
                  </a:cubicBezTo>
                  <a:moveTo>
                    <a:pt x="2414" y="1248"/>
                  </a:moveTo>
                  <a:cubicBezTo>
                    <a:pt x="2155" y="801"/>
                    <a:pt x="1671" y="499"/>
                    <a:pt x="1116" y="499"/>
                  </a:cubicBezTo>
                  <a:cubicBezTo>
                    <a:pt x="673" y="499"/>
                    <a:pt x="274" y="692"/>
                    <a:pt x="0" y="999"/>
                  </a:cubicBezTo>
                  <a:moveTo>
                    <a:pt x="1677" y="3246"/>
                  </a:moveTo>
                  <a:cubicBezTo>
                    <a:pt x="1951" y="2904"/>
                    <a:pt x="2115" y="2470"/>
                    <a:pt x="2115" y="1998"/>
                  </a:cubicBezTo>
                  <a:cubicBezTo>
                    <a:pt x="2115" y="1446"/>
                    <a:pt x="1668" y="999"/>
                    <a:pt x="1116" y="999"/>
                  </a:cubicBezTo>
                  <a:cubicBezTo>
                    <a:pt x="565" y="999"/>
                    <a:pt x="117" y="1446"/>
                    <a:pt x="117" y="1998"/>
                  </a:cubicBezTo>
                  <a:moveTo>
                    <a:pt x="946" y="3246"/>
                  </a:moveTo>
                  <a:cubicBezTo>
                    <a:pt x="1350" y="2978"/>
                    <a:pt x="1616" y="2519"/>
                    <a:pt x="1616" y="1998"/>
                  </a:cubicBezTo>
                  <a:cubicBezTo>
                    <a:pt x="1616" y="1722"/>
                    <a:pt x="1392" y="1498"/>
                    <a:pt x="1116" y="1498"/>
                  </a:cubicBezTo>
                  <a:cubicBezTo>
                    <a:pt x="840" y="1498"/>
                    <a:pt x="617" y="1722"/>
                    <a:pt x="617" y="1998"/>
                  </a:cubicBezTo>
                  <a:cubicBezTo>
                    <a:pt x="617" y="2274"/>
                    <a:pt x="393" y="2497"/>
                    <a:pt x="117" y="2497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Calendar" title="Icon of a calendar">
              <a:extLst>
                <a:ext uri="{FF2B5EF4-FFF2-40B4-BE49-F238E27FC236}">
                  <a16:creationId xmlns:a16="http://schemas.microsoft.com/office/drawing/2014/main" id="{E76FEAEE-C57E-4C04-AC71-4911E27039A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33200" y="2181205"/>
              <a:ext cx="321276" cy="307844"/>
            </a:xfrm>
            <a:custGeom>
              <a:avLst/>
              <a:gdLst>
                <a:gd name="T0" fmla="*/ 598 w 598"/>
                <a:gd name="T1" fmla="*/ 573 h 573"/>
                <a:gd name="T2" fmla="*/ 0 w 598"/>
                <a:gd name="T3" fmla="*/ 59 h 573"/>
                <a:gd name="T4" fmla="*/ 598 w 598"/>
                <a:gd name="T5" fmla="*/ 341 h 573"/>
                <a:gd name="T6" fmla="*/ 598 w 598"/>
                <a:gd name="T7" fmla="*/ 176 h 573"/>
                <a:gd name="T8" fmla="*/ 120 w 598"/>
                <a:gd name="T9" fmla="*/ 121 h 573"/>
                <a:gd name="T10" fmla="*/ 477 w 598"/>
                <a:gd name="T11" fmla="*/ 121 h 573"/>
                <a:gd name="T12" fmla="*/ 246 w 598"/>
                <a:gd name="T13" fmla="*/ 252 h 573"/>
                <a:gd name="T14" fmla="*/ 232 w 598"/>
                <a:gd name="T15" fmla="*/ 266 h 573"/>
                <a:gd name="T16" fmla="*/ 246 w 598"/>
                <a:gd name="T17" fmla="*/ 259 h 573"/>
                <a:gd name="T18" fmla="*/ 365 w 598"/>
                <a:gd name="T19" fmla="*/ 252 h 573"/>
                <a:gd name="T20" fmla="*/ 351 w 598"/>
                <a:gd name="T21" fmla="*/ 266 h 573"/>
                <a:gd name="T22" fmla="*/ 365 w 598"/>
                <a:gd name="T23" fmla="*/ 257 h 573"/>
                <a:gd name="T24" fmla="*/ 484 w 598"/>
                <a:gd name="T25" fmla="*/ 252 h 573"/>
                <a:gd name="T26" fmla="*/ 470 w 598"/>
                <a:gd name="T27" fmla="*/ 266 h 573"/>
                <a:gd name="T28" fmla="*/ 484 w 598"/>
                <a:gd name="T29" fmla="*/ 259 h 573"/>
                <a:gd name="T30" fmla="*/ 246 w 598"/>
                <a:gd name="T31" fmla="*/ 332 h 573"/>
                <a:gd name="T32" fmla="*/ 232 w 598"/>
                <a:gd name="T33" fmla="*/ 344 h 573"/>
                <a:gd name="T34" fmla="*/ 246 w 598"/>
                <a:gd name="T35" fmla="*/ 339 h 573"/>
                <a:gd name="T36" fmla="*/ 365 w 598"/>
                <a:gd name="T37" fmla="*/ 332 h 573"/>
                <a:gd name="T38" fmla="*/ 351 w 598"/>
                <a:gd name="T39" fmla="*/ 344 h 573"/>
                <a:gd name="T40" fmla="*/ 365 w 598"/>
                <a:gd name="T41" fmla="*/ 337 h 573"/>
                <a:gd name="T42" fmla="*/ 484 w 598"/>
                <a:gd name="T43" fmla="*/ 332 h 573"/>
                <a:gd name="T44" fmla="*/ 470 w 598"/>
                <a:gd name="T45" fmla="*/ 344 h 573"/>
                <a:gd name="T46" fmla="*/ 484 w 598"/>
                <a:gd name="T47" fmla="*/ 339 h 573"/>
                <a:gd name="T48" fmla="*/ 127 w 598"/>
                <a:gd name="T49" fmla="*/ 332 h 573"/>
                <a:gd name="T50" fmla="*/ 113 w 598"/>
                <a:gd name="T51" fmla="*/ 344 h 573"/>
                <a:gd name="T52" fmla="*/ 127 w 598"/>
                <a:gd name="T53" fmla="*/ 337 h 573"/>
                <a:gd name="T54" fmla="*/ 246 w 598"/>
                <a:gd name="T55" fmla="*/ 410 h 573"/>
                <a:gd name="T56" fmla="*/ 232 w 598"/>
                <a:gd name="T57" fmla="*/ 424 h 573"/>
                <a:gd name="T58" fmla="*/ 246 w 598"/>
                <a:gd name="T59" fmla="*/ 417 h 573"/>
                <a:gd name="T60" fmla="*/ 365 w 598"/>
                <a:gd name="T61" fmla="*/ 410 h 573"/>
                <a:gd name="T62" fmla="*/ 351 w 598"/>
                <a:gd name="T63" fmla="*/ 424 h 573"/>
                <a:gd name="T64" fmla="*/ 365 w 598"/>
                <a:gd name="T65" fmla="*/ 417 h 573"/>
                <a:gd name="T66" fmla="*/ 484 w 598"/>
                <a:gd name="T67" fmla="*/ 410 h 573"/>
                <a:gd name="T68" fmla="*/ 470 w 598"/>
                <a:gd name="T69" fmla="*/ 424 h 573"/>
                <a:gd name="T70" fmla="*/ 484 w 598"/>
                <a:gd name="T71" fmla="*/ 417 h 573"/>
                <a:gd name="T72" fmla="*/ 127 w 598"/>
                <a:gd name="T73" fmla="*/ 410 h 573"/>
                <a:gd name="T74" fmla="*/ 113 w 598"/>
                <a:gd name="T75" fmla="*/ 424 h 573"/>
                <a:gd name="T76" fmla="*/ 127 w 598"/>
                <a:gd name="T77" fmla="*/ 417 h 573"/>
                <a:gd name="T78" fmla="*/ 246 w 598"/>
                <a:gd name="T79" fmla="*/ 490 h 573"/>
                <a:gd name="T80" fmla="*/ 232 w 598"/>
                <a:gd name="T81" fmla="*/ 504 h 573"/>
                <a:gd name="T82" fmla="*/ 246 w 598"/>
                <a:gd name="T83" fmla="*/ 497 h 573"/>
                <a:gd name="T84" fmla="*/ 365 w 598"/>
                <a:gd name="T85" fmla="*/ 490 h 573"/>
                <a:gd name="T86" fmla="*/ 351 w 598"/>
                <a:gd name="T87" fmla="*/ 504 h 573"/>
                <a:gd name="T88" fmla="*/ 365 w 598"/>
                <a:gd name="T89" fmla="*/ 497 h 573"/>
                <a:gd name="T90" fmla="*/ 127 w 598"/>
                <a:gd name="T91" fmla="*/ 490 h 573"/>
                <a:gd name="T92" fmla="*/ 113 w 598"/>
                <a:gd name="T93" fmla="*/ 504 h 573"/>
                <a:gd name="T94" fmla="*/ 127 w 598"/>
                <a:gd name="T95" fmla="*/ 495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98" h="573">
                  <a:moveTo>
                    <a:pt x="598" y="341"/>
                  </a:moveTo>
                  <a:lnTo>
                    <a:pt x="598" y="573"/>
                  </a:lnTo>
                  <a:lnTo>
                    <a:pt x="0" y="573"/>
                  </a:lnTo>
                  <a:lnTo>
                    <a:pt x="0" y="59"/>
                  </a:lnTo>
                  <a:lnTo>
                    <a:pt x="598" y="59"/>
                  </a:lnTo>
                  <a:lnTo>
                    <a:pt x="598" y="341"/>
                  </a:lnTo>
                  <a:moveTo>
                    <a:pt x="0" y="176"/>
                  </a:moveTo>
                  <a:lnTo>
                    <a:pt x="598" y="176"/>
                  </a:lnTo>
                  <a:moveTo>
                    <a:pt x="120" y="0"/>
                  </a:moveTo>
                  <a:lnTo>
                    <a:pt x="120" y="121"/>
                  </a:lnTo>
                  <a:moveTo>
                    <a:pt x="477" y="0"/>
                  </a:moveTo>
                  <a:lnTo>
                    <a:pt x="477" y="121"/>
                  </a:lnTo>
                  <a:moveTo>
                    <a:pt x="246" y="259"/>
                  </a:moveTo>
                  <a:lnTo>
                    <a:pt x="246" y="252"/>
                  </a:lnTo>
                  <a:lnTo>
                    <a:pt x="232" y="252"/>
                  </a:lnTo>
                  <a:lnTo>
                    <a:pt x="232" y="266"/>
                  </a:lnTo>
                  <a:lnTo>
                    <a:pt x="246" y="266"/>
                  </a:lnTo>
                  <a:lnTo>
                    <a:pt x="246" y="259"/>
                  </a:lnTo>
                  <a:moveTo>
                    <a:pt x="365" y="257"/>
                  </a:moveTo>
                  <a:lnTo>
                    <a:pt x="365" y="252"/>
                  </a:lnTo>
                  <a:lnTo>
                    <a:pt x="351" y="252"/>
                  </a:lnTo>
                  <a:lnTo>
                    <a:pt x="351" y="266"/>
                  </a:lnTo>
                  <a:lnTo>
                    <a:pt x="365" y="266"/>
                  </a:lnTo>
                  <a:lnTo>
                    <a:pt x="365" y="257"/>
                  </a:lnTo>
                  <a:moveTo>
                    <a:pt x="484" y="259"/>
                  </a:moveTo>
                  <a:lnTo>
                    <a:pt x="484" y="252"/>
                  </a:lnTo>
                  <a:lnTo>
                    <a:pt x="470" y="252"/>
                  </a:lnTo>
                  <a:lnTo>
                    <a:pt x="470" y="266"/>
                  </a:lnTo>
                  <a:lnTo>
                    <a:pt x="484" y="266"/>
                  </a:lnTo>
                  <a:lnTo>
                    <a:pt x="484" y="259"/>
                  </a:lnTo>
                  <a:moveTo>
                    <a:pt x="246" y="339"/>
                  </a:moveTo>
                  <a:lnTo>
                    <a:pt x="246" y="332"/>
                  </a:lnTo>
                  <a:lnTo>
                    <a:pt x="232" y="332"/>
                  </a:lnTo>
                  <a:lnTo>
                    <a:pt x="232" y="344"/>
                  </a:lnTo>
                  <a:lnTo>
                    <a:pt x="246" y="344"/>
                  </a:lnTo>
                  <a:lnTo>
                    <a:pt x="246" y="339"/>
                  </a:lnTo>
                  <a:moveTo>
                    <a:pt x="365" y="337"/>
                  </a:moveTo>
                  <a:lnTo>
                    <a:pt x="365" y="332"/>
                  </a:lnTo>
                  <a:lnTo>
                    <a:pt x="351" y="332"/>
                  </a:lnTo>
                  <a:lnTo>
                    <a:pt x="351" y="344"/>
                  </a:lnTo>
                  <a:lnTo>
                    <a:pt x="365" y="344"/>
                  </a:lnTo>
                  <a:lnTo>
                    <a:pt x="365" y="337"/>
                  </a:lnTo>
                  <a:moveTo>
                    <a:pt x="484" y="339"/>
                  </a:moveTo>
                  <a:lnTo>
                    <a:pt x="484" y="332"/>
                  </a:lnTo>
                  <a:lnTo>
                    <a:pt x="470" y="332"/>
                  </a:lnTo>
                  <a:lnTo>
                    <a:pt x="470" y="344"/>
                  </a:lnTo>
                  <a:lnTo>
                    <a:pt x="484" y="344"/>
                  </a:lnTo>
                  <a:lnTo>
                    <a:pt x="484" y="339"/>
                  </a:lnTo>
                  <a:moveTo>
                    <a:pt x="127" y="337"/>
                  </a:moveTo>
                  <a:lnTo>
                    <a:pt x="127" y="332"/>
                  </a:lnTo>
                  <a:lnTo>
                    <a:pt x="113" y="332"/>
                  </a:lnTo>
                  <a:lnTo>
                    <a:pt x="113" y="344"/>
                  </a:lnTo>
                  <a:lnTo>
                    <a:pt x="127" y="344"/>
                  </a:lnTo>
                  <a:lnTo>
                    <a:pt x="127" y="337"/>
                  </a:lnTo>
                  <a:moveTo>
                    <a:pt x="246" y="417"/>
                  </a:moveTo>
                  <a:lnTo>
                    <a:pt x="246" y="410"/>
                  </a:lnTo>
                  <a:lnTo>
                    <a:pt x="232" y="410"/>
                  </a:lnTo>
                  <a:lnTo>
                    <a:pt x="232" y="424"/>
                  </a:lnTo>
                  <a:lnTo>
                    <a:pt x="246" y="424"/>
                  </a:lnTo>
                  <a:lnTo>
                    <a:pt x="246" y="417"/>
                  </a:lnTo>
                  <a:moveTo>
                    <a:pt x="365" y="417"/>
                  </a:moveTo>
                  <a:lnTo>
                    <a:pt x="365" y="410"/>
                  </a:lnTo>
                  <a:lnTo>
                    <a:pt x="351" y="410"/>
                  </a:lnTo>
                  <a:lnTo>
                    <a:pt x="351" y="424"/>
                  </a:lnTo>
                  <a:lnTo>
                    <a:pt x="365" y="424"/>
                  </a:lnTo>
                  <a:lnTo>
                    <a:pt x="365" y="417"/>
                  </a:lnTo>
                  <a:moveTo>
                    <a:pt x="484" y="417"/>
                  </a:moveTo>
                  <a:lnTo>
                    <a:pt x="484" y="410"/>
                  </a:lnTo>
                  <a:lnTo>
                    <a:pt x="470" y="410"/>
                  </a:lnTo>
                  <a:lnTo>
                    <a:pt x="470" y="424"/>
                  </a:lnTo>
                  <a:lnTo>
                    <a:pt x="484" y="424"/>
                  </a:lnTo>
                  <a:lnTo>
                    <a:pt x="484" y="417"/>
                  </a:lnTo>
                  <a:moveTo>
                    <a:pt x="127" y="417"/>
                  </a:moveTo>
                  <a:lnTo>
                    <a:pt x="127" y="410"/>
                  </a:lnTo>
                  <a:lnTo>
                    <a:pt x="113" y="410"/>
                  </a:lnTo>
                  <a:lnTo>
                    <a:pt x="113" y="424"/>
                  </a:lnTo>
                  <a:lnTo>
                    <a:pt x="127" y="424"/>
                  </a:lnTo>
                  <a:lnTo>
                    <a:pt x="127" y="417"/>
                  </a:lnTo>
                  <a:moveTo>
                    <a:pt x="246" y="497"/>
                  </a:moveTo>
                  <a:lnTo>
                    <a:pt x="246" y="490"/>
                  </a:lnTo>
                  <a:lnTo>
                    <a:pt x="232" y="490"/>
                  </a:lnTo>
                  <a:lnTo>
                    <a:pt x="232" y="504"/>
                  </a:lnTo>
                  <a:lnTo>
                    <a:pt x="246" y="504"/>
                  </a:lnTo>
                  <a:lnTo>
                    <a:pt x="246" y="497"/>
                  </a:lnTo>
                  <a:moveTo>
                    <a:pt x="365" y="497"/>
                  </a:moveTo>
                  <a:lnTo>
                    <a:pt x="365" y="490"/>
                  </a:lnTo>
                  <a:lnTo>
                    <a:pt x="351" y="490"/>
                  </a:lnTo>
                  <a:lnTo>
                    <a:pt x="351" y="504"/>
                  </a:lnTo>
                  <a:lnTo>
                    <a:pt x="365" y="504"/>
                  </a:lnTo>
                  <a:lnTo>
                    <a:pt x="365" y="497"/>
                  </a:lnTo>
                  <a:moveTo>
                    <a:pt x="127" y="495"/>
                  </a:moveTo>
                  <a:lnTo>
                    <a:pt x="127" y="490"/>
                  </a:lnTo>
                  <a:lnTo>
                    <a:pt x="113" y="490"/>
                  </a:lnTo>
                  <a:lnTo>
                    <a:pt x="113" y="504"/>
                  </a:lnTo>
                  <a:lnTo>
                    <a:pt x="127" y="504"/>
                  </a:lnTo>
                  <a:lnTo>
                    <a:pt x="127" y="495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arrow_16" title="Icon of two arrows that crisscross">
              <a:extLst>
                <a:ext uri="{FF2B5EF4-FFF2-40B4-BE49-F238E27FC236}">
                  <a16:creationId xmlns:a16="http://schemas.microsoft.com/office/drawing/2014/main" id="{5F5AF01A-BB1D-46DB-84B5-D879F3A121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939180" y="2194563"/>
              <a:ext cx="381428" cy="281130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gear" title="Icon of a gear surrounded by a circle with lines of varying length">
              <a:extLst>
                <a:ext uri="{FF2B5EF4-FFF2-40B4-BE49-F238E27FC236}">
                  <a16:creationId xmlns:a16="http://schemas.microsoft.com/office/drawing/2014/main" id="{60FBB8B2-8EA7-4CC8-A5D4-BD087925927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1753" y="2149905"/>
              <a:ext cx="372054" cy="370444"/>
            </a:xfrm>
            <a:custGeom>
              <a:avLst/>
              <a:gdLst>
                <a:gd name="T0" fmla="*/ 72 w 318"/>
                <a:gd name="T1" fmla="*/ 159 h 318"/>
                <a:gd name="T2" fmla="*/ 159 w 318"/>
                <a:gd name="T3" fmla="*/ 72 h 318"/>
                <a:gd name="T4" fmla="*/ 246 w 318"/>
                <a:gd name="T5" fmla="*/ 159 h 318"/>
                <a:gd name="T6" fmla="*/ 159 w 318"/>
                <a:gd name="T7" fmla="*/ 246 h 318"/>
                <a:gd name="T8" fmla="*/ 72 w 318"/>
                <a:gd name="T9" fmla="*/ 159 h 318"/>
                <a:gd name="T10" fmla="*/ 212 w 318"/>
                <a:gd name="T11" fmla="*/ 9 h 318"/>
                <a:gd name="T12" fmla="*/ 159 w 318"/>
                <a:gd name="T13" fmla="*/ 0 h 318"/>
                <a:gd name="T14" fmla="*/ 0 w 318"/>
                <a:gd name="T15" fmla="*/ 159 h 318"/>
                <a:gd name="T16" fmla="*/ 91 w 318"/>
                <a:gd name="T17" fmla="*/ 303 h 318"/>
                <a:gd name="T18" fmla="*/ 106 w 318"/>
                <a:gd name="T19" fmla="*/ 309 h 318"/>
                <a:gd name="T20" fmla="*/ 159 w 318"/>
                <a:gd name="T21" fmla="*/ 318 h 318"/>
                <a:gd name="T22" fmla="*/ 318 w 318"/>
                <a:gd name="T23" fmla="*/ 159 h 318"/>
                <a:gd name="T24" fmla="*/ 310 w 318"/>
                <a:gd name="T25" fmla="*/ 110 h 318"/>
                <a:gd name="T26" fmla="*/ 304 w 318"/>
                <a:gd name="T27" fmla="*/ 93 h 318"/>
                <a:gd name="T28" fmla="*/ 230 w 318"/>
                <a:gd name="T29" fmla="*/ 17 h 318"/>
                <a:gd name="T30" fmla="*/ 202 w 318"/>
                <a:gd name="T31" fmla="*/ 56 h 318"/>
                <a:gd name="T32" fmla="*/ 194 w 318"/>
                <a:gd name="T33" fmla="*/ 79 h 318"/>
                <a:gd name="T34" fmla="*/ 268 w 318"/>
                <a:gd name="T35" fmla="*/ 118 h 318"/>
                <a:gd name="T36" fmla="*/ 240 w 318"/>
                <a:gd name="T37" fmla="*/ 127 h 318"/>
                <a:gd name="T38" fmla="*/ 239 w 318"/>
                <a:gd name="T39" fmla="*/ 192 h 318"/>
                <a:gd name="T40" fmla="*/ 267 w 318"/>
                <a:gd name="T41" fmla="*/ 203 h 318"/>
                <a:gd name="T42" fmla="*/ 206 w 318"/>
                <a:gd name="T43" fmla="*/ 265 h 318"/>
                <a:gd name="T44" fmla="*/ 193 w 318"/>
                <a:gd name="T45" fmla="*/ 239 h 318"/>
                <a:gd name="T46" fmla="*/ 117 w 318"/>
                <a:gd name="T47" fmla="*/ 266 h 318"/>
                <a:gd name="T48" fmla="*/ 128 w 318"/>
                <a:gd name="T49" fmla="*/ 240 h 318"/>
                <a:gd name="T50" fmla="*/ 54 w 318"/>
                <a:gd name="T51" fmla="*/ 203 h 318"/>
                <a:gd name="T52" fmla="*/ 79 w 318"/>
                <a:gd name="T53" fmla="*/ 193 h 318"/>
                <a:gd name="T54" fmla="*/ 54 w 318"/>
                <a:gd name="T55" fmla="*/ 118 h 318"/>
                <a:gd name="T56" fmla="*/ 78 w 318"/>
                <a:gd name="T57" fmla="*/ 127 h 318"/>
                <a:gd name="T58" fmla="*/ 127 w 318"/>
                <a:gd name="T59" fmla="*/ 78 h 318"/>
                <a:gd name="T60" fmla="*/ 116 w 318"/>
                <a:gd name="T61" fmla="*/ 5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8" h="318">
                  <a:moveTo>
                    <a:pt x="72" y="159"/>
                  </a:moveTo>
                  <a:cubicBezTo>
                    <a:pt x="72" y="111"/>
                    <a:pt x="111" y="72"/>
                    <a:pt x="159" y="72"/>
                  </a:cubicBezTo>
                  <a:cubicBezTo>
                    <a:pt x="207" y="72"/>
                    <a:pt x="246" y="111"/>
                    <a:pt x="246" y="159"/>
                  </a:cubicBezTo>
                  <a:cubicBezTo>
                    <a:pt x="246" y="207"/>
                    <a:pt x="207" y="246"/>
                    <a:pt x="159" y="246"/>
                  </a:cubicBezTo>
                  <a:cubicBezTo>
                    <a:pt x="111" y="246"/>
                    <a:pt x="72" y="207"/>
                    <a:pt x="72" y="159"/>
                  </a:cubicBezTo>
                  <a:close/>
                  <a:moveTo>
                    <a:pt x="212" y="9"/>
                  </a:moveTo>
                  <a:cubicBezTo>
                    <a:pt x="195" y="3"/>
                    <a:pt x="177" y="0"/>
                    <a:pt x="159" y="0"/>
                  </a:cubicBezTo>
                  <a:cubicBezTo>
                    <a:pt x="71" y="0"/>
                    <a:pt x="0" y="71"/>
                    <a:pt x="0" y="159"/>
                  </a:cubicBezTo>
                  <a:cubicBezTo>
                    <a:pt x="0" y="223"/>
                    <a:pt x="37" y="277"/>
                    <a:pt x="91" y="303"/>
                  </a:cubicBezTo>
                  <a:moveTo>
                    <a:pt x="106" y="309"/>
                  </a:moveTo>
                  <a:cubicBezTo>
                    <a:pt x="122" y="315"/>
                    <a:pt x="140" y="318"/>
                    <a:pt x="159" y="318"/>
                  </a:cubicBezTo>
                  <a:cubicBezTo>
                    <a:pt x="247" y="318"/>
                    <a:pt x="318" y="247"/>
                    <a:pt x="318" y="159"/>
                  </a:cubicBezTo>
                  <a:cubicBezTo>
                    <a:pt x="318" y="142"/>
                    <a:pt x="315" y="126"/>
                    <a:pt x="310" y="110"/>
                  </a:cubicBezTo>
                  <a:moveTo>
                    <a:pt x="304" y="93"/>
                  </a:moveTo>
                  <a:cubicBezTo>
                    <a:pt x="289" y="60"/>
                    <a:pt x="262" y="33"/>
                    <a:pt x="230" y="17"/>
                  </a:cubicBezTo>
                  <a:moveTo>
                    <a:pt x="202" y="56"/>
                  </a:moveTo>
                  <a:cubicBezTo>
                    <a:pt x="194" y="79"/>
                    <a:pt x="194" y="79"/>
                    <a:pt x="194" y="79"/>
                  </a:cubicBezTo>
                  <a:moveTo>
                    <a:pt x="268" y="118"/>
                  </a:moveTo>
                  <a:cubicBezTo>
                    <a:pt x="240" y="127"/>
                    <a:pt x="240" y="127"/>
                    <a:pt x="240" y="127"/>
                  </a:cubicBezTo>
                  <a:moveTo>
                    <a:pt x="239" y="192"/>
                  </a:moveTo>
                  <a:cubicBezTo>
                    <a:pt x="267" y="203"/>
                    <a:pt x="267" y="203"/>
                    <a:pt x="267" y="203"/>
                  </a:cubicBezTo>
                  <a:moveTo>
                    <a:pt x="206" y="265"/>
                  </a:moveTo>
                  <a:cubicBezTo>
                    <a:pt x="193" y="239"/>
                    <a:pt x="193" y="239"/>
                    <a:pt x="193" y="239"/>
                  </a:cubicBezTo>
                  <a:moveTo>
                    <a:pt x="117" y="266"/>
                  </a:moveTo>
                  <a:cubicBezTo>
                    <a:pt x="128" y="240"/>
                    <a:pt x="128" y="240"/>
                    <a:pt x="128" y="240"/>
                  </a:cubicBezTo>
                  <a:moveTo>
                    <a:pt x="54" y="203"/>
                  </a:moveTo>
                  <a:cubicBezTo>
                    <a:pt x="79" y="193"/>
                    <a:pt x="79" y="193"/>
                    <a:pt x="79" y="193"/>
                  </a:cubicBezTo>
                  <a:moveTo>
                    <a:pt x="54" y="118"/>
                  </a:moveTo>
                  <a:cubicBezTo>
                    <a:pt x="78" y="127"/>
                    <a:pt x="78" y="127"/>
                    <a:pt x="78" y="127"/>
                  </a:cubicBezTo>
                  <a:moveTo>
                    <a:pt x="127" y="78"/>
                  </a:moveTo>
                  <a:cubicBezTo>
                    <a:pt x="116" y="56"/>
                    <a:pt x="116" y="56"/>
                    <a:pt x="116" y="56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network_3" title="Icon of a server connected to a network">
              <a:extLst>
                <a:ext uri="{FF2B5EF4-FFF2-40B4-BE49-F238E27FC236}">
                  <a16:creationId xmlns:a16="http://schemas.microsoft.com/office/drawing/2014/main" id="{088E450F-93EC-405A-9138-44B0657C15D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1346" y="2141944"/>
              <a:ext cx="372320" cy="386366"/>
            </a:xfrm>
            <a:custGeom>
              <a:avLst/>
              <a:gdLst>
                <a:gd name="T0" fmla="*/ 136 w 270"/>
                <a:gd name="T1" fmla="*/ 281 h 281"/>
                <a:gd name="T2" fmla="*/ 71 w 270"/>
                <a:gd name="T3" fmla="*/ 281 h 281"/>
                <a:gd name="T4" fmla="*/ 71 w 270"/>
                <a:gd name="T5" fmla="*/ 240 h 281"/>
                <a:gd name="T6" fmla="*/ 115 w 270"/>
                <a:gd name="T7" fmla="*/ 240 h 281"/>
                <a:gd name="T8" fmla="*/ 115 w 270"/>
                <a:gd name="T9" fmla="*/ 218 h 281"/>
                <a:gd name="T10" fmla="*/ 157 w 270"/>
                <a:gd name="T11" fmla="*/ 218 h 281"/>
                <a:gd name="T12" fmla="*/ 157 w 270"/>
                <a:gd name="T13" fmla="*/ 240 h 281"/>
                <a:gd name="T14" fmla="*/ 198 w 270"/>
                <a:gd name="T15" fmla="*/ 240 h 281"/>
                <a:gd name="T16" fmla="*/ 198 w 270"/>
                <a:gd name="T17" fmla="*/ 281 h 281"/>
                <a:gd name="T18" fmla="*/ 136 w 270"/>
                <a:gd name="T19" fmla="*/ 281 h 281"/>
                <a:gd name="T20" fmla="*/ 71 w 270"/>
                <a:gd name="T21" fmla="*/ 260 h 281"/>
                <a:gd name="T22" fmla="*/ 0 w 270"/>
                <a:gd name="T23" fmla="*/ 260 h 281"/>
                <a:gd name="T24" fmla="*/ 198 w 270"/>
                <a:gd name="T25" fmla="*/ 260 h 281"/>
                <a:gd name="T26" fmla="*/ 270 w 270"/>
                <a:gd name="T27" fmla="*/ 260 h 281"/>
                <a:gd name="T28" fmla="*/ 135 w 270"/>
                <a:gd name="T29" fmla="*/ 218 h 281"/>
                <a:gd name="T30" fmla="*/ 135 w 270"/>
                <a:gd name="T31" fmla="*/ 190 h 281"/>
                <a:gd name="T32" fmla="*/ 191 w 270"/>
                <a:gd name="T33" fmla="*/ 189 h 281"/>
                <a:gd name="T34" fmla="*/ 191 w 270"/>
                <a:gd name="T35" fmla="*/ 14 h 281"/>
                <a:gd name="T36" fmla="*/ 177 w 270"/>
                <a:gd name="T37" fmla="*/ 0 h 281"/>
                <a:gd name="T38" fmla="*/ 93 w 270"/>
                <a:gd name="T39" fmla="*/ 0 h 281"/>
                <a:gd name="T40" fmla="*/ 79 w 270"/>
                <a:gd name="T41" fmla="*/ 14 h 281"/>
                <a:gd name="T42" fmla="*/ 79 w 270"/>
                <a:gd name="T43" fmla="*/ 189 h 281"/>
                <a:gd name="T44" fmla="*/ 191 w 270"/>
                <a:gd name="T45" fmla="*/ 189 h 281"/>
                <a:gd name="T46" fmla="*/ 110 w 270"/>
                <a:gd name="T47" fmla="*/ 37 h 281"/>
                <a:gd name="T48" fmla="*/ 160 w 270"/>
                <a:gd name="T49" fmla="*/ 37 h 281"/>
                <a:gd name="T50" fmla="*/ 110 w 270"/>
                <a:gd name="T51" fmla="*/ 113 h 281"/>
                <a:gd name="T52" fmla="*/ 160 w 270"/>
                <a:gd name="T53" fmla="*/ 113 h 281"/>
                <a:gd name="T54" fmla="*/ 110 w 270"/>
                <a:gd name="T55" fmla="*/ 150 h 281"/>
                <a:gd name="T56" fmla="*/ 160 w 270"/>
                <a:gd name="T57" fmla="*/ 15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81">
                  <a:moveTo>
                    <a:pt x="136" y="281"/>
                  </a:moveTo>
                  <a:cubicBezTo>
                    <a:pt x="71" y="281"/>
                    <a:pt x="71" y="281"/>
                    <a:pt x="71" y="281"/>
                  </a:cubicBezTo>
                  <a:cubicBezTo>
                    <a:pt x="71" y="240"/>
                    <a:pt x="71" y="240"/>
                    <a:pt x="71" y="240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5" y="218"/>
                    <a:pt x="115" y="218"/>
                    <a:pt x="115" y="218"/>
                  </a:cubicBezTo>
                  <a:cubicBezTo>
                    <a:pt x="157" y="218"/>
                    <a:pt x="157" y="218"/>
                    <a:pt x="157" y="218"/>
                  </a:cubicBezTo>
                  <a:cubicBezTo>
                    <a:pt x="157" y="240"/>
                    <a:pt x="157" y="240"/>
                    <a:pt x="157" y="240"/>
                  </a:cubicBezTo>
                  <a:cubicBezTo>
                    <a:pt x="198" y="240"/>
                    <a:pt x="198" y="240"/>
                    <a:pt x="198" y="240"/>
                  </a:cubicBezTo>
                  <a:cubicBezTo>
                    <a:pt x="198" y="281"/>
                    <a:pt x="198" y="281"/>
                    <a:pt x="198" y="281"/>
                  </a:cubicBezTo>
                  <a:lnTo>
                    <a:pt x="136" y="281"/>
                  </a:lnTo>
                  <a:close/>
                  <a:moveTo>
                    <a:pt x="71" y="260"/>
                  </a:moveTo>
                  <a:cubicBezTo>
                    <a:pt x="0" y="260"/>
                    <a:pt x="0" y="260"/>
                    <a:pt x="0" y="260"/>
                  </a:cubicBezTo>
                  <a:moveTo>
                    <a:pt x="198" y="260"/>
                  </a:moveTo>
                  <a:cubicBezTo>
                    <a:pt x="270" y="260"/>
                    <a:pt x="270" y="260"/>
                    <a:pt x="270" y="260"/>
                  </a:cubicBezTo>
                  <a:moveTo>
                    <a:pt x="135" y="218"/>
                  </a:moveTo>
                  <a:cubicBezTo>
                    <a:pt x="135" y="190"/>
                    <a:pt x="135" y="190"/>
                    <a:pt x="135" y="190"/>
                  </a:cubicBezTo>
                  <a:moveTo>
                    <a:pt x="191" y="189"/>
                  </a:moveTo>
                  <a:cubicBezTo>
                    <a:pt x="191" y="14"/>
                    <a:pt x="191" y="14"/>
                    <a:pt x="191" y="14"/>
                  </a:cubicBezTo>
                  <a:cubicBezTo>
                    <a:pt x="191" y="6"/>
                    <a:pt x="185" y="0"/>
                    <a:pt x="17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5" y="0"/>
                    <a:pt x="79" y="6"/>
                    <a:pt x="79" y="14"/>
                  </a:cubicBezTo>
                  <a:cubicBezTo>
                    <a:pt x="79" y="189"/>
                    <a:pt x="79" y="189"/>
                    <a:pt x="79" y="189"/>
                  </a:cubicBezTo>
                  <a:lnTo>
                    <a:pt x="191" y="189"/>
                  </a:lnTo>
                  <a:close/>
                  <a:moveTo>
                    <a:pt x="110" y="37"/>
                  </a:moveTo>
                  <a:cubicBezTo>
                    <a:pt x="160" y="37"/>
                    <a:pt x="160" y="37"/>
                    <a:pt x="160" y="37"/>
                  </a:cubicBezTo>
                  <a:moveTo>
                    <a:pt x="110" y="113"/>
                  </a:moveTo>
                  <a:cubicBezTo>
                    <a:pt x="160" y="113"/>
                    <a:pt x="160" y="113"/>
                    <a:pt x="160" y="113"/>
                  </a:cubicBezTo>
                  <a:moveTo>
                    <a:pt x="110" y="150"/>
                  </a:moveTo>
                  <a:cubicBezTo>
                    <a:pt x="160" y="150"/>
                    <a:pt x="160" y="150"/>
                    <a:pt x="160" y="15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Trackers_EADF_bidi" title="Icon of a clipboard with a checklist on it">
              <a:extLst>
                <a:ext uri="{FF2B5EF4-FFF2-40B4-BE49-F238E27FC236}">
                  <a16:creationId xmlns:a16="http://schemas.microsoft.com/office/drawing/2014/main" id="{9D9593FD-59D4-4E48-BBEA-23BB82AA581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365441" y="2133162"/>
              <a:ext cx="296240" cy="403932"/>
            </a:xfrm>
            <a:custGeom>
              <a:avLst/>
              <a:gdLst>
                <a:gd name="T0" fmla="*/ 1000 w 2750"/>
                <a:gd name="T1" fmla="*/ 375 h 3750"/>
                <a:gd name="T2" fmla="*/ 1375 w 2750"/>
                <a:gd name="T3" fmla="*/ 0 h 3750"/>
                <a:gd name="T4" fmla="*/ 1750 w 2750"/>
                <a:gd name="T5" fmla="*/ 375 h 3750"/>
                <a:gd name="T6" fmla="*/ 1750 w 2750"/>
                <a:gd name="T7" fmla="*/ 500 h 3750"/>
                <a:gd name="T8" fmla="*/ 2250 w 2750"/>
                <a:gd name="T9" fmla="*/ 500 h 3750"/>
                <a:gd name="T10" fmla="*/ 2250 w 2750"/>
                <a:gd name="T11" fmla="*/ 1000 h 3750"/>
                <a:gd name="T12" fmla="*/ 500 w 2750"/>
                <a:gd name="T13" fmla="*/ 1000 h 3750"/>
                <a:gd name="T14" fmla="*/ 500 w 2750"/>
                <a:gd name="T15" fmla="*/ 500 h 3750"/>
                <a:gd name="T16" fmla="*/ 1000 w 2750"/>
                <a:gd name="T17" fmla="*/ 500 h 3750"/>
                <a:gd name="T18" fmla="*/ 1000 w 2750"/>
                <a:gd name="T19" fmla="*/ 375 h 3750"/>
                <a:gd name="T20" fmla="*/ 500 w 2750"/>
                <a:gd name="T21" fmla="*/ 500 h 3750"/>
                <a:gd name="T22" fmla="*/ 0 w 2750"/>
                <a:gd name="T23" fmla="*/ 500 h 3750"/>
                <a:gd name="T24" fmla="*/ 0 w 2750"/>
                <a:gd name="T25" fmla="*/ 3750 h 3750"/>
                <a:gd name="T26" fmla="*/ 2750 w 2750"/>
                <a:gd name="T27" fmla="*/ 3750 h 3750"/>
                <a:gd name="T28" fmla="*/ 2750 w 2750"/>
                <a:gd name="T29" fmla="*/ 500 h 3750"/>
                <a:gd name="T30" fmla="*/ 2250 w 2750"/>
                <a:gd name="T31" fmla="*/ 500 h 3750"/>
                <a:gd name="T32" fmla="*/ 500 w 2750"/>
                <a:gd name="T33" fmla="*/ 1750 h 3750"/>
                <a:gd name="T34" fmla="*/ 1500 w 2750"/>
                <a:gd name="T35" fmla="*/ 1750 h 3750"/>
                <a:gd name="T36" fmla="*/ 1500 w 2750"/>
                <a:gd name="T37" fmla="*/ 2500 h 3750"/>
                <a:gd name="T38" fmla="*/ 500 w 2750"/>
                <a:gd name="T39" fmla="*/ 2500 h 3750"/>
                <a:gd name="T40" fmla="*/ 1500 w 2750"/>
                <a:gd name="T41" fmla="*/ 3250 h 3750"/>
                <a:gd name="T42" fmla="*/ 500 w 2750"/>
                <a:gd name="T43" fmla="*/ 3250 h 3750"/>
                <a:gd name="T44" fmla="*/ 1750 w 2750"/>
                <a:gd name="T45" fmla="*/ 1500 h 3750"/>
                <a:gd name="T46" fmla="*/ 2000 w 2750"/>
                <a:gd name="T47" fmla="*/ 1750 h 3750"/>
                <a:gd name="T48" fmla="*/ 2375 w 2750"/>
                <a:gd name="T49" fmla="*/ 1375 h 3750"/>
                <a:gd name="T50" fmla="*/ 1750 w 2750"/>
                <a:gd name="T51" fmla="*/ 2250 h 3750"/>
                <a:gd name="T52" fmla="*/ 2000 w 2750"/>
                <a:gd name="T53" fmla="*/ 2500 h 3750"/>
                <a:gd name="T54" fmla="*/ 2375 w 2750"/>
                <a:gd name="T55" fmla="*/ 2125 h 3750"/>
                <a:gd name="T56" fmla="*/ 1750 w 2750"/>
                <a:gd name="T57" fmla="*/ 3000 h 3750"/>
                <a:gd name="T58" fmla="*/ 2000 w 2750"/>
                <a:gd name="T59" fmla="*/ 3250 h 3750"/>
                <a:gd name="T60" fmla="*/ 2375 w 2750"/>
                <a:gd name="T61" fmla="*/ 2875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50" h="3750">
                  <a:moveTo>
                    <a:pt x="1000" y="375"/>
                  </a:moveTo>
                  <a:cubicBezTo>
                    <a:pt x="1000" y="168"/>
                    <a:pt x="1168" y="0"/>
                    <a:pt x="1375" y="0"/>
                  </a:cubicBezTo>
                  <a:cubicBezTo>
                    <a:pt x="1582" y="0"/>
                    <a:pt x="1750" y="168"/>
                    <a:pt x="1750" y="375"/>
                  </a:cubicBezTo>
                  <a:cubicBezTo>
                    <a:pt x="1750" y="500"/>
                    <a:pt x="1750" y="500"/>
                    <a:pt x="1750" y="500"/>
                  </a:cubicBezTo>
                  <a:cubicBezTo>
                    <a:pt x="2250" y="500"/>
                    <a:pt x="2250" y="500"/>
                    <a:pt x="2250" y="500"/>
                  </a:cubicBezTo>
                  <a:cubicBezTo>
                    <a:pt x="2250" y="1000"/>
                    <a:pt x="2250" y="1000"/>
                    <a:pt x="2250" y="1000"/>
                  </a:cubicBezTo>
                  <a:cubicBezTo>
                    <a:pt x="500" y="1000"/>
                    <a:pt x="500" y="1000"/>
                    <a:pt x="500" y="1000"/>
                  </a:cubicBezTo>
                  <a:cubicBezTo>
                    <a:pt x="500" y="500"/>
                    <a:pt x="500" y="500"/>
                    <a:pt x="500" y="500"/>
                  </a:cubicBezTo>
                  <a:cubicBezTo>
                    <a:pt x="1000" y="500"/>
                    <a:pt x="1000" y="500"/>
                    <a:pt x="1000" y="500"/>
                  </a:cubicBezTo>
                  <a:lnTo>
                    <a:pt x="1000" y="375"/>
                  </a:lnTo>
                  <a:close/>
                  <a:moveTo>
                    <a:pt x="500" y="500"/>
                  </a:moveTo>
                  <a:cubicBezTo>
                    <a:pt x="0" y="500"/>
                    <a:pt x="0" y="500"/>
                    <a:pt x="0" y="500"/>
                  </a:cubicBezTo>
                  <a:cubicBezTo>
                    <a:pt x="0" y="3750"/>
                    <a:pt x="0" y="3750"/>
                    <a:pt x="0" y="3750"/>
                  </a:cubicBezTo>
                  <a:cubicBezTo>
                    <a:pt x="2750" y="3750"/>
                    <a:pt x="2750" y="3750"/>
                    <a:pt x="2750" y="3750"/>
                  </a:cubicBezTo>
                  <a:cubicBezTo>
                    <a:pt x="2750" y="500"/>
                    <a:pt x="2750" y="500"/>
                    <a:pt x="2750" y="500"/>
                  </a:cubicBezTo>
                  <a:cubicBezTo>
                    <a:pt x="2250" y="500"/>
                    <a:pt x="2250" y="500"/>
                    <a:pt x="2250" y="500"/>
                  </a:cubicBezTo>
                  <a:moveTo>
                    <a:pt x="500" y="1750"/>
                  </a:moveTo>
                  <a:cubicBezTo>
                    <a:pt x="1500" y="1750"/>
                    <a:pt x="1500" y="1750"/>
                    <a:pt x="1500" y="1750"/>
                  </a:cubicBezTo>
                  <a:moveTo>
                    <a:pt x="1500" y="2500"/>
                  </a:moveTo>
                  <a:cubicBezTo>
                    <a:pt x="500" y="2500"/>
                    <a:pt x="500" y="2500"/>
                    <a:pt x="500" y="2500"/>
                  </a:cubicBezTo>
                  <a:moveTo>
                    <a:pt x="1500" y="3250"/>
                  </a:moveTo>
                  <a:cubicBezTo>
                    <a:pt x="500" y="3250"/>
                    <a:pt x="500" y="3250"/>
                    <a:pt x="500" y="3250"/>
                  </a:cubicBezTo>
                  <a:moveTo>
                    <a:pt x="1750" y="1500"/>
                  </a:moveTo>
                  <a:cubicBezTo>
                    <a:pt x="2000" y="1750"/>
                    <a:pt x="2000" y="1750"/>
                    <a:pt x="2000" y="1750"/>
                  </a:cubicBezTo>
                  <a:cubicBezTo>
                    <a:pt x="2375" y="1375"/>
                    <a:pt x="2375" y="1375"/>
                    <a:pt x="2375" y="1375"/>
                  </a:cubicBezTo>
                  <a:moveTo>
                    <a:pt x="1750" y="2250"/>
                  </a:moveTo>
                  <a:cubicBezTo>
                    <a:pt x="2000" y="2500"/>
                    <a:pt x="2000" y="2500"/>
                    <a:pt x="2000" y="2500"/>
                  </a:cubicBezTo>
                  <a:cubicBezTo>
                    <a:pt x="2375" y="2125"/>
                    <a:pt x="2375" y="2125"/>
                    <a:pt x="2375" y="2125"/>
                  </a:cubicBezTo>
                  <a:moveTo>
                    <a:pt x="1750" y="3000"/>
                  </a:moveTo>
                  <a:cubicBezTo>
                    <a:pt x="2000" y="3250"/>
                    <a:pt x="2000" y="3250"/>
                    <a:pt x="2000" y="3250"/>
                  </a:cubicBezTo>
                  <a:cubicBezTo>
                    <a:pt x="2375" y="2875"/>
                    <a:pt x="2375" y="2875"/>
                    <a:pt x="2375" y="2875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check" title="Icon of a checkmark">
              <a:extLst>
                <a:ext uri="{FF2B5EF4-FFF2-40B4-BE49-F238E27FC236}">
                  <a16:creationId xmlns:a16="http://schemas.microsoft.com/office/drawing/2014/main" id="{25122256-04CC-4497-8D19-3EA79EAB04C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6074" y="2212588"/>
              <a:ext cx="347084" cy="245080"/>
            </a:xfrm>
            <a:custGeom>
              <a:avLst/>
              <a:gdLst>
                <a:gd name="T0" fmla="*/ 245 w 245"/>
                <a:gd name="T1" fmla="*/ 0 h 173"/>
                <a:gd name="T2" fmla="*/ 73 w 245"/>
                <a:gd name="T3" fmla="*/ 173 h 173"/>
                <a:gd name="T4" fmla="*/ 0 w 245"/>
                <a:gd name="T5" fmla="*/ 10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5" h="173">
                  <a:moveTo>
                    <a:pt x="245" y="0"/>
                  </a:moveTo>
                  <a:lnTo>
                    <a:pt x="73" y="173"/>
                  </a:lnTo>
                  <a:lnTo>
                    <a:pt x="0" y="101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5F2FB9A-3A67-43E1-A262-DDBEC67C87CD}"/>
                </a:ext>
              </a:extLst>
            </p:cNvPr>
            <p:cNvSpPr txBox="1"/>
            <p:nvPr/>
          </p:nvSpPr>
          <p:spPr>
            <a:xfrm>
              <a:off x="7630740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Business </a:t>
              </a:r>
              <a:br>
                <a:rPr lang="en-US" sz="1400"/>
              </a:br>
              <a:r>
                <a:rPr lang="en-US" sz="1400"/>
                <a:t>continuity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9D774EB-B790-467F-AA32-BFF29F3C569E}"/>
                </a:ext>
              </a:extLst>
            </p:cNvPr>
            <p:cNvSpPr txBox="1"/>
            <p:nvPr/>
          </p:nvSpPr>
          <p:spPr>
            <a:xfrm>
              <a:off x="6194684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Security and privacy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7685702B-F5C4-4E65-BF41-16F965F10CFB}"/>
                </a:ext>
              </a:extLst>
            </p:cNvPr>
            <p:cNvSpPr txBox="1"/>
            <p:nvPr/>
          </p:nvSpPr>
          <p:spPr>
            <a:xfrm>
              <a:off x="3322575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Validation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9077E17-0E2E-4FDC-935D-9BEADD70AE61}"/>
                </a:ext>
              </a:extLst>
            </p:cNvPr>
            <p:cNvSpPr txBox="1"/>
            <p:nvPr/>
          </p:nvSpPr>
          <p:spPr>
            <a:xfrm>
              <a:off x="1886520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Deployment, configuration, provisioning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D737DA3-6180-463D-843A-539347E8199C}"/>
                </a:ext>
              </a:extLst>
            </p:cNvPr>
            <p:cNvSpPr txBox="1"/>
            <p:nvPr/>
          </p:nvSpPr>
          <p:spPr>
            <a:xfrm>
              <a:off x="450465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Architecture, hardware, and topology 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89CE55CD-794A-482F-9756-4E6AF7FF538D}"/>
                </a:ext>
              </a:extLst>
            </p:cNvPr>
            <p:cNvSpPr txBox="1"/>
            <p:nvPr/>
          </p:nvSpPr>
          <p:spPr>
            <a:xfrm>
              <a:off x="4758629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Monitoring, diagnostic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74711BC-1D11-4827-AC38-D1EC070FC3A3}"/>
                </a:ext>
              </a:extLst>
            </p:cNvPr>
            <p:cNvSpPr txBox="1"/>
            <p:nvPr/>
          </p:nvSpPr>
          <p:spPr>
            <a:xfrm>
              <a:off x="9066797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Patching and updates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2C39781-8D1E-4DCE-8950-9A127466E5C2}"/>
                </a:ext>
              </a:extLst>
            </p:cNvPr>
            <p:cNvSpPr txBox="1"/>
            <p:nvPr/>
          </p:nvSpPr>
          <p:spPr>
            <a:xfrm>
              <a:off x="10502853" y="2830409"/>
              <a:ext cx="1254081" cy="640080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noAutofit/>
            </a:bodyPr>
            <a:lstStyle/>
            <a:p>
              <a:pPr lvl="0" algn="ctr"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400"/>
                <a:t>Field replacement of par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06343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6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>
            <a:extLst>
              <a:ext uri="{FF2B5EF4-FFF2-40B4-BE49-F238E27FC236}">
                <a16:creationId xmlns:a16="http://schemas.microsoft.com/office/drawing/2014/main" id="{EF256258-A3AE-4E86-B1C6-3171BD05D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552563"/>
            <a:ext cx="11306469" cy="616379"/>
          </a:xfrm>
        </p:spPr>
        <p:txBody>
          <a:bodyPr/>
          <a:lstStyle/>
          <a:p>
            <a:r>
              <a:rPr lang="en-US"/>
              <a:t>Azure Stack Hub</a:t>
            </a:r>
            <a:endParaRPr lang="en-US" sz="2000" spc="0">
              <a:solidFill>
                <a:schemeClr val="tx2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4851044-18C5-42CF-8BCC-908364AB0C4C}"/>
              </a:ext>
            </a:extLst>
          </p:cNvPr>
          <p:cNvSpPr/>
          <p:nvPr/>
        </p:nvSpPr>
        <p:spPr>
          <a:xfrm>
            <a:off x="725012" y="1622016"/>
            <a:ext cx="5937044" cy="378071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1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gnitive Services Public Preview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7049FB6-93AC-458E-A75C-A18F8F903D7E}"/>
              </a:ext>
            </a:extLst>
          </p:cNvPr>
          <p:cNvSpPr/>
          <p:nvPr/>
        </p:nvSpPr>
        <p:spPr>
          <a:xfrm>
            <a:off x="725012" y="2114104"/>
            <a:ext cx="5937044" cy="378071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1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ubernetes on Azure Stack with AKS engin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DA2F326-13F2-4B34-A722-8669D2477BC2}"/>
              </a:ext>
            </a:extLst>
          </p:cNvPr>
          <p:cNvSpPr/>
          <p:nvPr/>
        </p:nvSpPr>
        <p:spPr>
          <a:xfrm>
            <a:off x="725012" y="2606192"/>
            <a:ext cx="5937044" cy="378071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1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Stack and DBE Hybrid Patterns (retail &amp; auto labeling)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FEB9DEF-1312-4D40-99A0-A4C880DB3206}"/>
              </a:ext>
            </a:extLst>
          </p:cNvPr>
          <p:cNvSpPr/>
          <p:nvPr/>
        </p:nvSpPr>
        <p:spPr>
          <a:xfrm>
            <a:off x="725012" y="3098280"/>
            <a:ext cx="5937044" cy="378071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1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PU Support – Private Preview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67F8764-9064-4F5F-8E8D-C4ECD95C406A}"/>
              </a:ext>
            </a:extLst>
          </p:cNvPr>
          <p:cNvSpPr/>
          <p:nvPr/>
        </p:nvSpPr>
        <p:spPr>
          <a:xfrm>
            <a:off x="725012" y="3590368"/>
            <a:ext cx="5937044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leet Management Private Preview 2020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68BF8BD-ABE4-4120-A3A7-2CADAAA9E6EB}"/>
              </a:ext>
            </a:extLst>
          </p:cNvPr>
          <p:cNvSpPr/>
          <p:nvPr/>
        </p:nvSpPr>
        <p:spPr>
          <a:xfrm>
            <a:off x="725012" y="4082455"/>
            <a:ext cx="5937044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vent Hubs Public Preview 2020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F73F345-BE0E-45E0-A841-EC465A054EF3}"/>
              </a:ext>
            </a:extLst>
          </p:cNvPr>
          <p:cNvSpPr/>
          <p:nvPr/>
        </p:nvSpPr>
        <p:spPr>
          <a:xfrm>
            <a:off x="725012" y="4574542"/>
            <a:ext cx="5937044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VD Private Preview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54BBC24-753C-4B88-97C8-BF983E1052A2}"/>
              </a:ext>
            </a:extLst>
          </p:cNvPr>
          <p:cNvSpPr/>
          <p:nvPr/>
        </p:nvSpPr>
        <p:spPr>
          <a:xfrm>
            <a:off x="725012" y="5066629"/>
            <a:ext cx="5937044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Data Services Private Preview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6CD9C07-CE3A-4BDC-88D1-77D009B5D76A}"/>
              </a:ext>
            </a:extLst>
          </p:cNvPr>
          <p:cNvSpPr/>
          <p:nvPr/>
        </p:nvSpPr>
        <p:spPr>
          <a:xfrm>
            <a:off x="725012" y="5558716"/>
            <a:ext cx="5937044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6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Stream Analytics Public Preview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57EF5D7-377B-4473-9AE8-83746CC9C9A4}"/>
              </a:ext>
            </a:extLst>
          </p:cNvPr>
          <p:cNvSpPr/>
          <p:nvPr/>
        </p:nvSpPr>
        <p:spPr>
          <a:xfrm>
            <a:off x="725011" y="6050802"/>
            <a:ext cx="5937045" cy="378070"/>
          </a:xfrm>
          <a:custGeom>
            <a:avLst/>
            <a:gdLst>
              <a:gd name="connsiteX0" fmla="*/ 0 w 5097915"/>
              <a:gd name="connsiteY0" fmla="*/ 0 h 378070"/>
              <a:gd name="connsiteX1" fmla="*/ 4908880 w 5097915"/>
              <a:gd name="connsiteY1" fmla="*/ 0 h 378070"/>
              <a:gd name="connsiteX2" fmla="*/ 5097915 w 5097915"/>
              <a:gd name="connsiteY2" fmla="*/ 189035 h 378070"/>
              <a:gd name="connsiteX3" fmla="*/ 4908880 w 5097915"/>
              <a:gd name="connsiteY3" fmla="*/ 378070 h 378070"/>
              <a:gd name="connsiteX4" fmla="*/ 0 w 5097915"/>
              <a:gd name="connsiteY4" fmla="*/ 378070 h 378070"/>
              <a:gd name="connsiteX5" fmla="*/ 0 w 5097915"/>
              <a:gd name="connsiteY5" fmla="*/ 0 h 378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97915" h="378070">
                <a:moveTo>
                  <a:pt x="5097915" y="378069"/>
                </a:moveTo>
                <a:lnTo>
                  <a:pt x="189035" y="378069"/>
                </a:lnTo>
                <a:lnTo>
                  <a:pt x="0" y="189035"/>
                </a:lnTo>
                <a:lnTo>
                  <a:pt x="189035" y="1"/>
                </a:lnTo>
                <a:lnTo>
                  <a:pt x="5097915" y="1"/>
                </a:lnTo>
                <a:lnTo>
                  <a:pt x="5097915" y="37806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1236" tIns="68581" rIns="128017" bIns="68580" numCol="1" spcCol="1270" anchor="ctr" anchorCtr="0">
            <a:noAutofit/>
          </a:bodyPr>
          <a:lstStyle/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CD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undation Patter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C832E12-9539-450E-868B-20EA0C41B05A}"/>
              </a:ext>
            </a:extLst>
          </p:cNvPr>
          <p:cNvSpPr/>
          <p:nvPr/>
        </p:nvSpPr>
        <p:spPr bwMode="auto">
          <a:xfrm>
            <a:off x="8069263" y="0"/>
            <a:ext cx="4122737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13" descr="A screen shot of a computer&#10;&#10;Description generated with high confidence">
            <a:extLst>
              <a:ext uri="{FF2B5EF4-FFF2-40B4-BE49-F238E27FC236}">
                <a16:creationId xmlns:a16="http://schemas.microsoft.com/office/drawing/2014/main" id="{118C215D-BCF0-4A3C-9948-16C10E464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8505" y="1709905"/>
            <a:ext cx="4584252" cy="343819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F066513-5E69-4E10-B831-E5BCACAAF01C}"/>
              </a:ext>
            </a:extLst>
          </p:cNvPr>
          <p:cNvSpPr/>
          <p:nvPr/>
        </p:nvSpPr>
        <p:spPr>
          <a:xfrm>
            <a:off x="418644" y="1110671"/>
            <a:ext cx="3239798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>
                <a:ln w="3175">
                  <a:noFill/>
                </a:ln>
                <a:solidFill>
                  <a:srgbClr val="0078D3"/>
                </a:solidFill>
                <a:latin typeface="Segoe UI Semibold"/>
                <a:cs typeface="Segoe UI" pitchFamily="34" charset="0"/>
              </a:rPr>
              <a:t>Ignite 2019 Announcements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1AECDE-27B2-4E10-8A8E-FB949DB2428D}"/>
              </a:ext>
            </a:extLst>
          </p:cNvPr>
          <p:cNvSpPr txBox="1"/>
          <p:nvPr/>
        </p:nvSpPr>
        <p:spPr>
          <a:xfrm>
            <a:off x="8772038" y="5427337"/>
            <a:ext cx="27171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PU-optimized form factor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ivate Preview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9EF86EA-77FF-42E1-9285-624514122F4C}"/>
              </a:ext>
            </a:extLst>
          </p:cNvPr>
          <p:cNvGrpSpPr/>
          <p:nvPr/>
        </p:nvGrpSpPr>
        <p:grpSpPr>
          <a:xfrm>
            <a:off x="438912" y="1671279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32" name="Freeform 37">
              <a:extLst>
                <a:ext uri="{FF2B5EF4-FFF2-40B4-BE49-F238E27FC236}">
                  <a16:creationId xmlns:a16="http://schemas.microsoft.com/office/drawing/2014/main" id="{45AB2490-DC19-4B82-8C58-FE97DA323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5913CD9F-1B07-4559-87C3-A1F651BDB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97F23B2-2B47-4EBD-93D2-4E4516B98642}"/>
              </a:ext>
            </a:extLst>
          </p:cNvPr>
          <p:cNvGrpSpPr/>
          <p:nvPr/>
        </p:nvGrpSpPr>
        <p:grpSpPr>
          <a:xfrm>
            <a:off x="438912" y="2163366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35" name="Freeform 37">
              <a:extLst>
                <a:ext uri="{FF2B5EF4-FFF2-40B4-BE49-F238E27FC236}">
                  <a16:creationId xmlns:a16="http://schemas.microsoft.com/office/drawing/2014/main" id="{537660C6-1C9D-468D-8883-949AEB371B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id="{96601957-7D96-4154-AAC4-D631875F9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AFF4B1D-B5DF-4E52-B4EE-B0C0358E0471}"/>
              </a:ext>
            </a:extLst>
          </p:cNvPr>
          <p:cNvGrpSpPr/>
          <p:nvPr/>
        </p:nvGrpSpPr>
        <p:grpSpPr>
          <a:xfrm>
            <a:off x="438912" y="2655453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D283ED51-B3F8-4CDC-B45E-414293AB16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4636A397-E931-49D5-B86D-2499B8DEF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F08431E-88A4-4E09-9C72-EA832148998C}"/>
              </a:ext>
            </a:extLst>
          </p:cNvPr>
          <p:cNvGrpSpPr/>
          <p:nvPr/>
        </p:nvGrpSpPr>
        <p:grpSpPr>
          <a:xfrm>
            <a:off x="438912" y="3147540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07AF375D-B035-418E-B19D-4C0C49613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C92D1785-07A1-40FC-90F0-CE2EFAAC1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D2552C6-EA14-41D6-AA5D-8DD1415D9344}"/>
              </a:ext>
            </a:extLst>
          </p:cNvPr>
          <p:cNvGrpSpPr/>
          <p:nvPr/>
        </p:nvGrpSpPr>
        <p:grpSpPr>
          <a:xfrm>
            <a:off x="438912" y="3639627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AD096292-6FD0-4152-BE1D-55E11946BA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B6718D21-D49C-4233-B895-BE3EFBD59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928DD61-95E6-4BC4-A8CB-783CE3A90A6A}"/>
              </a:ext>
            </a:extLst>
          </p:cNvPr>
          <p:cNvGrpSpPr/>
          <p:nvPr/>
        </p:nvGrpSpPr>
        <p:grpSpPr>
          <a:xfrm>
            <a:off x="438912" y="4131714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7438159D-298B-4C23-9937-0CEA62357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FCA52BE0-EBAB-4C8D-B1D7-B99B79ACF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0597253-3781-464D-A97C-0B6C7EF339C8}"/>
              </a:ext>
            </a:extLst>
          </p:cNvPr>
          <p:cNvGrpSpPr/>
          <p:nvPr/>
        </p:nvGrpSpPr>
        <p:grpSpPr>
          <a:xfrm>
            <a:off x="438912" y="4623801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71AA7665-4571-4F64-A70E-8E9BD4EEC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38">
              <a:extLst>
                <a:ext uri="{FF2B5EF4-FFF2-40B4-BE49-F238E27FC236}">
                  <a16:creationId xmlns:a16="http://schemas.microsoft.com/office/drawing/2014/main" id="{2FFF3E8D-0DD6-4ECB-AB74-073515E35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247CBEE-A517-4170-8D0F-D3F4BCB179E2}"/>
              </a:ext>
            </a:extLst>
          </p:cNvPr>
          <p:cNvGrpSpPr/>
          <p:nvPr/>
        </p:nvGrpSpPr>
        <p:grpSpPr>
          <a:xfrm>
            <a:off x="438912" y="5607975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53" name="Freeform 37">
              <a:extLst>
                <a:ext uri="{FF2B5EF4-FFF2-40B4-BE49-F238E27FC236}">
                  <a16:creationId xmlns:a16="http://schemas.microsoft.com/office/drawing/2014/main" id="{E224F337-F30C-4DED-BDF0-6F1E7F133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8">
              <a:extLst>
                <a:ext uri="{FF2B5EF4-FFF2-40B4-BE49-F238E27FC236}">
                  <a16:creationId xmlns:a16="http://schemas.microsoft.com/office/drawing/2014/main" id="{E3AAB5E5-2A14-4BE5-AEB7-76A143AEA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09CE5ED-E057-4B3A-9E63-75A1BF4B546C}"/>
              </a:ext>
            </a:extLst>
          </p:cNvPr>
          <p:cNvGrpSpPr/>
          <p:nvPr/>
        </p:nvGrpSpPr>
        <p:grpSpPr>
          <a:xfrm>
            <a:off x="438912" y="6100065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FE1205B9-20F0-41C6-B2B7-D8337AE5C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6F7C5815-C62B-4359-B134-FAFC9774D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8BA38DA-9262-4C1F-B8CE-5E34BC8F357D}"/>
              </a:ext>
            </a:extLst>
          </p:cNvPr>
          <p:cNvGrpSpPr/>
          <p:nvPr/>
        </p:nvGrpSpPr>
        <p:grpSpPr>
          <a:xfrm>
            <a:off x="438912" y="5115888"/>
            <a:ext cx="279545" cy="279545"/>
            <a:chOff x="2454275" y="4329113"/>
            <a:chExt cx="419100" cy="419100"/>
          </a:xfrm>
          <a:solidFill>
            <a:schemeClr val="accent2"/>
          </a:solidFill>
        </p:grpSpPr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C95CFEFB-7DFC-4265-A967-35B5F5A263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4329113"/>
              <a:ext cx="419100" cy="419100"/>
            </a:xfrm>
            <a:custGeom>
              <a:avLst/>
              <a:gdLst>
                <a:gd name="T0" fmla="*/ 173 w 426"/>
                <a:gd name="T1" fmla="*/ 298 h 426"/>
                <a:gd name="T2" fmla="*/ 173 w 426"/>
                <a:gd name="T3" fmla="*/ 298 h 426"/>
                <a:gd name="T4" fmla="*/ 97 w 426"/>
                <a:gd name="T5" fmla="*/ 222 h 426"/>
                <a:gd name="T6" fmla="*/ 116 w 426"/>
                <a:gd name="T7" fmla="*/ 203 h 426"/>
                <a:gd name="T8" fmla="*/ 173 w 426"/>
                <a:gd name="T9" fmla="*/ 260 h 426"/>
                <a:gd name="T10" fmla="*/ 310 w 426"/>
                <a:gd name="T11" fmla="*/ 123 h 426"/>
                <a:gd name="T12" fmla="*/ 329 w 426"/>
                <a:gd name="T13" fmla="*/ 142 h 426"/>
                <a:gd name="T14" fmla="*/ 173 w 426"/>
                <a:gd name="T15" fmla="*/ 298 h 426"/>
                <a:gd name="T16" fmla="*/ 397 w 426"/>
                <a:gd name="T17" fmla="*/ 104 h 426"/>
                <a:gd name="T18" fmla="*/ 397 w 426"/>
                <a:gd name="T19" fmla="*/ 104 h 426"/>
                <a:gd name="T20" fmla="*/ 364 w 426"/>
                <a:gd name="T21" fmla="*/ 61 h 426"/>
                <a:gd name="T22" fmla="*/ 321 w 426"/>
                <a:gd name="T23" fmla="*/ 28 h 426"/>
                <a:gd name="T24" fmla="*/ 269 w 426"/>
                <a:gd name="T25" fmla="*/ 6 h 426"/>
                <a:gd name="T26" fmla="*/ 213 w 426"/>
                <a:gd name="T27" fmla="*/ 0 h 426"/>
                <a:gd name="T28" fmla="*/ 156 w 426"/>
                <a:gd name="T29" fmla="*/ 6 h 426"/>
                <a:gd name="T30" fmla="*/ 105 w 426"/>
                <a:gd name="T31" fmla="*/ 28 h 426"/>
                <a:gd name="T32" fmla="*/ 62 w 426"/>
                <a:gd name="T33" fmla="*/ 61 h 426"/>
                <a:gd name="T34" fmla="*/ 29 w 426"/>
                <a:gd name="T35" fmla="*/ 104 h 426"/>
                <a:gd name="T36" fmla="*/ 7 w 426"/>
                <a:gd name="T37" fmla="*/ 156 h 426"/>
                <a:gd name="T38" fmla="*/ 0 w 426"/>
                <a:gd name="T39" fmla="*/ 212 h 426"/>
                <a:gd name="T40" fmla="*/ 7 w 426"/>
                <a:gd name="T41" fmla="*/ 269 h 426"/>
                <a:gd name="T42" fmla="*/ 29 w 426"/>
                <a:gd name="T43" fmla="*/ 320 h 426"/>
                <a:gd name="T44" fmla="*/ 62 w 426"/>
                <a:gd name="T45" fmla="*/ 363 h 426"/>
                <a:gd name="T46" fmla="*/ 105 w 426"/>
                <a:gd name="T47" fmla="*/ 396 h 426"/>
                <a:gd name="T48" fmla="*/ 156 w 426"/>
                <a:gd name="T49" fmla="*/ 418 h 426"/>
                <a:gd name="T50" fmla="*/ 213 w 426"/>
                <a:gd name="T51" fmla="*/ 426 h 426"/>
                <a:gd name="T52" fmla="*/ 269 w 426"/>
                <a:gd name="T53" fmla="*/ 418 h 426"/>
                <a:gd name="T54" fmla="*/ 321 w 426"/>
                <a:gd name="T55" fmla="*/ 396 h 426"/>
                <a:gd name="T56" fmla="*/ 364 w 426"/>
                <a:gd name="T57" fmla="*/ 363 h 426"/>
                <a:gd name="T58" fmla="*/ 397 w 426"/>
                <a:gd name="T59" fmla="*/ 320 h 426"/>
                <a:gd name="T60" fmla="*/ 419 w 426"/>
                <a:gd name="T61" fmla="*/ 269 h 426"/>
                <a:gd name="T62" fmla="*/ 426 w 426"/>
                <a:gd name="T63" fmla="*/ 212 h 426"/>
                <a:gd name="T64" fmla="*/ 419 w 426"/>
                <a:gd name="T65" fmla="*/ 156 h 426"/>
                <a:gd name="T66" fmla="*/ 397 w 426"/>
                <a:gd name="T67" fmla="*/ 104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6" h="426">
                  <a:moveTo>
                    <a:pt x="173" y="298"/>
                  </a:moveTo>
                  <a:lnTo>
                    <a:pt x="173" y="298"/>
                  </a:lnTo>
                  <a:lnTo>
                    <a:pt x="97" y="222"/>
                  </a:lnTo>
                  <a:lnTo>
                    <a:pt x="116" y="203"/>
                  </a:lnTo>
                  <a:lnTo>
                    <a:pt x="173" y="260"/>
                  </a:lnTo>
                  <a:lnTo>
                    <a:pt x="310" y="123"/>
                  </a:lnTo>
                  <a:lnTo>
                    <a:pt x="329" y="142"/>
                  </a:lnTo>
                  <a:lnTo>
                    <a:pt x="173" y="298"/>
                  </a:lnTo>
                  <a:close/>
                  <a:moveTo>
                    <a:pt x="397" y="104"/>
                  </a:moveTo>
                  <a:lnTo>
                    <a:pt x="397" y="104"/>
                  </a:lnTo>
                  <a:cubicBezTo>
                    <a:pt x="388" y="89"/>
                    <a:pt x="377" y="74"/>
                    <a:pt x="364" y="61"/>
                  </a:cubicBezTo>
                  <a:cubicBezTo>
                    <a:pt x="351" y="48"/>
                    <a:pt x="336" y="37"/>
                    <a:pt x="321" y="28"/>
                  </a:cubicBezTo>
                  <a:cubicBezTo>
                    <a:pt x="305" y="19"/>
                    <a:pt x="288" y="12"/>
                    <a:pt x="269" y="6"/>
                  </a:cubicBezTo>
                  <a:cubicBezTo>
                    <a:pt x="251" y="2"/>
                    <a:pt x="232" y="0"/>
                    <a:pt x="213" y="0"/>
                  </a:cubicBezTo>
                  <a:cubicBezTo>
                    <a:pt x="193" y="0"/>
                    <a:pt x="174" y="2"/>
                    <a:pt x="156" y="6"/>
                  </a:cubicBezTo>
                  <a:cubicBezTo>
                    <a:pt x="138" y="12"/>
                    <a:pt x="121" y="19"/>
                    <a:pt x="105" y="28"/>
                  </a:cubicBezTo>
                  <a:cubicBezTo>
                    <a:pt x="89" y="37"/>
                    <a:pt x="75" y="48"/>
                    <a:pt x="62" y="61"/>
                  </a:cubicBezTo>
                  <a:cubicBezTo>
                    <a:pt x="49" y="74"/>
                    <a:pt x="38" y="89"/>
                    <a:pt x="29" y="104"/>
                  </a:cubicBezTo>
                  <a:cubicBezTo>
                    <a:pt x="19" y="120"/>
                    <a:pt x="12" y="137"/>
                    <a:pt x="7" y="156"/>
                  </a:cubicBezTo>
                  <a:cubicBezTo>
                    <a:pt x="2" y="174"/>
                    <a:pt x="0" y="193"/>
                    <a:pt x="0" y="212"/>
                  </a:cubicBezTo>
                  <a:cubicBezTo>
                    <a:pt x="0" y="232"/>
                    <a:pt x="2" y="251"/>
                    <a:pt x="7" y="269"/>
                  </a:cubicBezTo>
                  <a:cubicBezTo>
                    <a:pt x="12" y="287"/>
                    <a:pt x="19" y="304"/>
                    <a:pt x="29" y="320"/>
                  </a:cubicBezTo>
                  <a:cubicBezTo>
                    <a:pt x="38" y="336"/>
                    <a:pt x="49" y="350"/>
                    <a:pt x="62" y="363"/>
                  </a:cubicBezTo>
                  <a:cubicBezTo>
                    <a:pt x="75" y="376"/>
                    <a:pt x="89" y="387"/>
                    <a:pt x="105" y="396"/>
                  </a:cubicBezTo>
                  <a:cubicBezTo>
                    <a:pt x="121" y="406"/>
                    <a:pt x="138" y="413"/>
                    <a:pt x="156" y="418"/>
                  </a:cubicBezTo>
                  <a:cubicBezTo>
                    <a:pt x="174" y="423"/>
                    <a:pt x="193" y="426"/>
                    <a:pt x="213" y="426"/>
                  </a:cubicBezTo>
                  <a:cubicBezTo>
                    <a:pt x="232" y="426"/>
                    <a:pt x="251" y="423"/>
                    <a:pt x="269" y="418"/>
                  </a:cubicBezTo>
                  <a:cubicBezTo>
                    <a:pt x="288" y="413"/>
                    <a:pt x="305" y="406"/>
                    <a:pt x="321" y="396"/>
                  </a:cubicBezTo>
                  <a:cubicBezTo>
                    <a:pt x="336" y="387"/>
                    <a:pt x="351" y="376"/>
                    <a:pt x="364" y="363"/>
                  </a:cubicBezTo>
                  <a:cubicBezTo>
                    <a:pt x="377" y="350"/>
                    <a:pt x="388" y="336"/>
                    <a:pt x="397" y="320"/>
                  </a:cubicBezTo>
                  <a:cubicBezTo>
                    <a:pt x="406" y="304"/>
                    <a:pt x="413" y="287"/>
                    <a:pt x="419" y="269"/>
                  </a:cubicBezTo>
                  <a:cubicBezTo>
                    <a:pt x="424" y="251"/>
                    <a:pt x="426" y="232"/>
                    <a:pt x="426" y="212"/>
                  </a:cubicBezTo>
                  <a:cubicBezTo>
                    <a:pt x="426" y="193"/>
                    <a:pt x="424" y="174"/>
                    <a:pt x="419" y="156"/>
                  </a:cubicBezTo>
                  <a:cubicBezTo>
                    <a:pt x="413" y="137"/>
                    <a:pt x="406" y="120"/>
                    <a:pt x="397" y="1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F2EAFD89-4D23-4C13-BDB4-CC8FA0D1D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525" y="4449763"/>
              <a:ext cx="228600" cy="173038"/>
            </a:xfrm>
            <a:custGeom>
              <a:avLst/>
              <a:gdLst>
                <a:gd name="T0" fmla="*/ 76 w 232"/>
                <a:gd name="T1" fmla="*/ 137 h 175"/>
                <a:gd name="T2" fmla="*/ 76 w 232"/>
                <a:gd name="T3" fmla="*/ 137 h 175"/>
                <a:gd name="T4" fmla="*/ 19 w 232"/>
                <a:gd name="T5" fmla="*/ 80 h 175"/>
                <a:gd name="T6" fmla="*/ 0 w 232"/>
                <a:gd name="T7" fmla="*/ 99 h 175"/>
                <a:gd name="T8" fmla="*/ 76 w 232"/>
                <a:gd name="T9" fmla="*/ 175 h 175"/>
                <a:gd name="T10" fmla="*/ 232 w 232"/>
                <a:gd name="T11" fmla="*/ 19 h 175"/>
                <a:gd name="T12" fmla="*/ 213 w 232"/>
                <a:gd name="T13" fmla="*/ 0 h 175"/>
                <a:gd name="T14" fmla="*/ 76 w 232"/>
                <a:gd name="T15" fmla="*/ 13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75">
                  <a:moveTo>
                    <a:pt x="76" y="137"/>
                  </a:moveTo>
                  <a:lnTo>
                    <a:pt x="76" y="137"/>
                  </a:lnTo>
                  <a:lnTo>
                    <a:pt x="19" y="80"/>
                  </a:lnTo>
                  <a:lnTo>
                    <a:pt x="0" y="99"/>
                  </a:lnTo>
                  <a:lnTo>
                    <a:pt x="76" y="175"/>
                  </a:lnTo>
                  <a:lnTo>
                    <a:pt x="232" y="19"/>
                  </a:lnTo>
                  <a:lnTo>
                    <a:pt x="213" y="0"/>
                  </a:lnTo>
                  <a:lnTo>
                    <a:pt x="76" y="137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231292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951C9F-1B00-42B3-8E95-5FBBD3E47307}"/>
              </a:ext>
            </a:extLst>
          </p:cNvPr>
          <p:cNvSpPr/>
          <p:nvPr/>
        </p:nvSpPr>
        <p:spPr bwMode="auto">
          <a:xfrm>
            <a:off x="427038" y="425450"/>
            <a:ext cx="3733799" cy="60039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>
            <a:outerShdw blurRad="190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B287DA-69A1-40E0-884E-F0F0E9E0B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3118102"/>
            <a:ext cx="3726465" cy="618621"/>
          </a:xfrm>
        </p:spPr>
        <p:txBody>
          <a:bodyPr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8901E4D-286C-4076-B0F3-4EA33C9623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3879" y="1643896"/>
            <a:ext cx="5435576" cy="3570208"/>
          </a:xfrm>
        </p:spPr>
        <p:txBody>
          <a:bodyPr anchor="ctr"/>
          <a:lstStyle/>
          <a:p>
            <a:pPr marL="0" indent="0">
              <a:spcAft>
                <a:spcPts val="3000"/>
              </a:spcAft>
              <a:buNone/>
            </a:pPr>
            <a:r>
              <a:rPr lang="en-US" sz="2400">
                <a:latin typeface="+mj-lt"/>
              </a:rPr>
              <a:t>Introduction </a:t>
            </a:r>
          </a:p>
          <a:p>
            <a:pPr marL="0" indent="0">
              <a:spcAft>
                <a:spcPts val="3000"/>
              </a:spcAft>
              <a:buNone/>
            </a:pPr>
            <a:r>
              <a:rPr lang="en-US" sz="2400">
                <a:latin typeface="+mj-lt"/>
              </a:rPr>
              <a:t>Retail Overview</a:t>
            </a:r>
            <a:endParaRPr lang="en-US" sz="1800">
              <a:latin typeface="+mj-lt"/>
            </a:endParaRPr>
          </a:p>
          <a:p>
            <a:pPr marL="0" indent="0">
              <a:spcAft>
                <a:spcPts val="3000"/>
              </a:spcAft>
              <a:buNone/>
            </a:pPr>
            <a:r>
              <a:rPr lang="en-US" sz="2400">
                <a:latin typeface="+mj-lt"/>
              </a:rPr>
              <a:t>Accelerating Retail Insights </a:t>
            </a:r>
          </a:p>
          <a:p>
            <a:pPr marL="0" indent="0">
              <a:spcAft>
                <a:spcPts val="3000"/>
              </a:spcAft>
              <a:buNone/>
            </a:pPr>
            <a:r>
              <a:rPr lang="en-US" sz="2400">
                <a:latin typeface="+mj-lt"/>
              </a:rPr>
              <a:t>Azure Stack Edge + Hub Overview</a:t>
            </a:r>
            <a:endParaRPr lang="en-US" sz="1800">
              <a:latin typeface="+mj-lt"/>
            </a:endParaRPr>
          </a:p>
          <a:p>
            <a:pPr marL="0" indent="0">
              <a:spcAft>
                <a:spcPts val="3000"/>
              </a:spcAft>
              <a:buNone/>
            </a:pPr>
            <a:r>
              <a:rPr lang="en-US" sz="2400">
                <a:latin typeface="+mj-lt"/>
              </a:rPr>
              <a:t>Intelligent Retail Blueprint Overview</a:t>
            </a:r>
            <a:endParaRPr lang="en-US" sz="1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362034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093CA8B-CE7D-4B34-9C3A-18D2916C4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7039" y="5361390"/>
            <a:ext cx="6448546" cy="10679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ivate Preview Available Now!</a:t>
            </a:r>
          </a:p>
          <a:p>
            <a:pPr lvl="0" defTabSz="914367">
              <a:lnSpc>
                <a:spcPct val="90000"/>
              </a:lnSpc>
              <a:spcAft>
                <a:spcPts val="588"/>
              </a:spcAft>
              <a:buSzPct val="90000"/>
              <a:defRPr/>
            </a:pPr>
            <a:r>
              <a:rPr lang="en-US" sz="1600"/>
              <a:t>Signup at: </a:t>
            </a:r>
            <a:r>
              <a:rPr lang="en-US" sz="1600">
                <a:hlinkClick r:id="rId2"/>
              </a:rPr>
              <a:t>https://aka.ms/azurestackhubgpupreview</a:t>
            </a:r>
            <a:endParaRPr lang="en-US" sz="1600"/>
          </a:p>
          <a:p>
            <a:pPr lvl="0" defTabSz="914367">
              <a:lnSpc>
                <a:spcPct val="90000"/>
              </a:lnSpc>
              <a:spcAft>
                <a:spcPts val="588"/>
              </a:spcAft>
              <a:buSzPct val="90000"/>
              <a:defRPr/>
            </a:pPr>
            <a:r>
              <a:rPr lang="en-US" sz="1600"/>
              <a:t>Participation in the preview is limited to customers that already have GPU equipped stamp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689A51-E07E-4E20-AAB9-083F73F15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pc="0">
                <a:solidFill>
                  <a:schemeClr val="tx2"/>
                </a:solidFill>
              </a:rPr>
              <a:t>Coming Soon</a:t>
            </a:r>
            <a:br>
              <a:rPr lang="en-US"/>
            </a:br>
            <a:r>
              <a:rPr lang="en-US"/>
              <a:t>Azure Stack Hub GPU Suppor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104F857-7979-4263-B49C-3AEEBB0329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643" y="1959370"/>
            <a:ext cx="3660401" cy="444609"/>
          </a:xfrm>
        </p:spPr>
        <p:txBody>
          <a:bodyPr anchor="b"/>
          <a:lstStyle/>
          <a:p>
            <a:r>
              <a:rPr lang="en-US" sz="1800"/>
              <a:t>Visualization</a:t>
            </a:r>
            <a:br>
              <a:rPr lang="en-US" sz="1800"/>
            </a:br>
            <a:r>
              <a:rPr lang="en-US">
                <a:solidFill>
                  <a:schemeClr val="tx1"/>
                </a:solidFill>
              </a:rPr>
              <a:t>Entry level desktops, graphics workload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4C3DF3D-3560-439C-AB19-27B1AB3FC2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3152" y="1959370"/>
            <a:ext cx="3607487" cy="444609"/>
          </a:xfrm>
        </p:spPr>
        <p:txBody>
          <a:bodyPr anchor="b"/>
          <a:lstStyle/>
          <a:p>
            <a:pPr lvl="0"/>
            <a:r>
              <a:rPr lang="en-US" sz="1800">
                <a:solidFill>
                  <a:srgbClr val="0078D3"/>
                </a:solidFill>
              </a:rPr>
              <a:t>Machine Learning</a:t>
            </a:r>
            <a:br>
              <a:rPr lang="en-US" sz="1800">
                <a:solidFill>
                  <a:srgbClr val="0078D3"/>
                </a:solidFill>
              </a:rPr>
            </a:br>
            <a:r>
              <a:rPr lang="en-US">
                <a:solidFill>
                  <a:srgbClr val="000000"/>
                </a:solidFill>
              </a:rPr>
              <a:t>Training and Inferencing on the Edg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7E712EDE-066A-46C5-AE06-AE361A6CAB2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8643" y="2593749"/>
            <a:ext cx="3660401" cy="2060436"/>
          </a:xfrm>
        </p:spPr>
        <p:txBody>
          <a:bodyPr>
            <a:noAutofit/>
          </a:bodyPr>
          <a:lstStyle/>
          <a:p>
            <a:r>
              <a:rPr lang="en-US" spc="200">
                <a:latin typeface="+mj-lt"/>
              </a:rPr>
              <a:t>OPTIONS:</a:t>
            </a:r>
          </a:p>
          <a:p>
            <a:endParaRPr lang="en-US">
              <a:latin typeface="+mj-lt"/>
            </a:endParaRPr>
          </a:p>
          <a:p>
            <a:r>
              <a:rPr lang="en-US"/>
              <a:t>Partitioned (GPU-P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>
                <a:solidFill>
                  <a:schemeClr val="tx2"/>
                </a:solidFill>
                <a:latin typeface="+mj-lt"/>
              </a:rPr>
              <a:t>NVv4 series </a:t>
            </a:r>
            <a:r>
              <a:rPr lang="en-US" err="1">
                <a:solidFill>
                  <a:schemeClr val="tx2"/>
                </a:solidFill>
                <a:latin typeface="+mj-lt"/>
              </a:rPr>
              <a:t>VMs</a:t>
            </a:r>
            <a:endParaRPr lang="en-US">
              <a:solidFill>
                <a:schemeClr val="tx2"/>
              </a:solidFill>
              <a:latin typeface="+mj-lt"/>
            </a:endParaRP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AMD MI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r>
              <a:rPr lang="en-US"/>
              <a:t>Passthrough (</a:t>
            </a:r>
            <a:r>
              <a:rPr lang="en-US" err="1"/>
              <a:t>DDA</a:t>
            </a:r>
            <a:r>
              <a:rPr lang="en-US"/>
              <a:t>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err="1">
                <a:solidFill>
                  <a:schemeClr val="tx2"/>
                </a:solidFill>
                <a:latin typeface="+mj-lt"/>
              </a:rPr>
              <a:t>VM</a:t>
            </a:r>
            <a:r>
              <a:rPr lang="en-US">
                <a:solidFill>
                  <a:schemeClr val="tx2"/>
                </a:solidFill>
                <a:latin typeface="+mj-lt"/>
              </a:rPr>
              <a:t> Sizes TBD</a:t>
            </a: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NVIDIA T4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BB2771C-5E3B-4655-9D32-19615FE1AE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03152" y="2593749"/>
            <a:ext cx="3607487" cy="2060436"/>
          </a:xfrm>
        </p:spPr>
        <p:txBody>
          <a:bodyPr>
            <a:noAutofit/>
          </a:bodyPr>
          <a:lstStyle/>
          <a:p>
            <a:r>
              <a:rPr lang="en-US" spc="200">
                <a:latin typeface="+mj-lt"/>
              </a:rPr>
              <a:t>OPTIONS:</a:t>
            </a:r>
          </a:p>
          <a:p>
            <a:endParaRPr lang="en-US"/>
          </a:p>
          <a:p>
            <a:r>
              <a:rPr lang="en-US"/>
              <a:t>Passthrough only (</a:t>
            </a:r>
            <a:r>
              <a:rPr lang="en-US" err="1"/>
              <a:t>DDA</a:t>
            </a:r>
            <a:r>
              <a:rPr lang="en-US"/>
              <a:t>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>
                <a:solidFill>
                  <a:schemeClr val="tx2"/>
                </a:solidFill>
                <a:latin typeface="+mj-lt"/>
              </a:rPr>
              <a:t>NCv3 </a:t>
            </a:r>
            <a:r>
              <a:rPr lang="en-US" err="1">
                <a:solidFill>
                  <a:schemeClr val="tx2"/>
                </a:solidFill>
                <a:latin typeface="+mj-lt"/>
              </a:rPr>
              <a:t>VMs</a:t>
            </a:r>
            <a:endParaRPr lang="en-US">
              <a:solidFill>
                <a:schemeClr val="tx2"/>
              </a:solidFill>
              <a:latin typeface="+mj-lt"/>
            </a:endParaRP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NVIDIA V100</a:t>
            </a: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Learning, inference) 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err="1">
                <a:solidFill>
                  <a:schemeClr val="tx2"/>
                </a:solidFill>
                <a:latin typeface="+mj-lt"/>
              </a:rPr>
              <a:t>VM</a:t>
            </a:r>
            <a:r>
              <a:rPr lang="en-US">
                <a:solidFill>
                  <a:schemeClr val="tx2"/>
                </a:solidFill>
                <a:latin typeface="+mj-lt"/>
              </a:rPr>
              <a:t> Sizes TBD</a:t>
            </a: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NVIDIA T4 </a:t>
            </a:r>
          </a:p>
          <a:p>
            <a:pPr marL="457200" lvl="2" indent="-18288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+mn-lt"/>
              </a:rPr>
              <a:t>Light learning, inference, visualization</a:t>
            </a:r>
          </a:p>
        </p:txBody>
      </p:sp>
      <p:pic>
        <p:nvPicPr>
          <p:cNvPr id="30" name="Picture 29" descr="A picture containing light&#10;&#10;Description automatically generated">
            <a:extLst>
              <a:ext uri="{FF2B5EF4-FFF2-40B4-BE49-F238E27FC236}">
                <a16:creationId xmlns:a16="http://schemas.microsoft.com/office/drawing/2014/main" id="{0F327537-8C07-4894-805E-3925C56CD16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69262" y="0"/>
            <a:ext cx="41227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05822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: Pentagon 61">
            <a:extLst>
              <a:ext uri="{FF2B5EF4-FFF2-40B4-BE49-F238E27FC236}">
                <a16:creationId xmlns:a16="http://schemas.microsoft.com/office/drawing/2014/main" id="{2FB46480-2EE2-4652-AF39-942D6291CCDF}"/>
              </a:ext>
            </a:extLst>
          </p:cNvPr>
          <p:cNvSpPr/>
          <p:nvPr/>
        </p:nvSpPr>
        <p:spPr bwMode="auto">
          <a:xfrm>
            <a:off x="0" y="1600199"/>
            <a:ext cx="12190272" cy="48291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813A1EDF-A7B0-4FD8-8878-412C34363128}"/>
              </a:ext>
            </a:extLst>
          </p:cNvPr>
          <p:cNvSpPr txBox="1">
            <a:spLocks/>
          </p:cNvSpPr>
          <p:nvPr/>
        </p:nvSpPr>
        <p:spPr>
          <a:xfrm>
            <a:off x="7554678" y="3876287"/>
            <a:ext cx="4206240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spcAft>
                <a:spcPts val="600"/>
              </a:spcAft>
              <a:buNone/>
              <a:defRPr/>
            </a:pPr>
            <a:r>
              <a:rPr lang="en-US" sz="1800">
                <a:gradFill>
                  <a:gsLst>
                    <a:gs pos="23466">
                      <a:srgbClr val="1A1A1A"/>
                    </a:gs>
                    <a:gs pos="56000">
                      <a:srgbClr val="1A1A1A"/>
                    </a:gs>
                  </a:gsLst>
                  <a:lin ang="5400000" scaled="0"/>
                </a:gradFill>
                <a:latin typeface="+mj-lt"/>
              </a:rPr>
              <a:t>Edge compute and IoT solution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3FE8F13-EF13-4DDD-AE28-2E7D6F6322A3}"/>
              </a:ext>
            </a:extLst>
          </p:cNvPr>
          <p:cNvSpPr/>
          <p:nvPr/>
        </p:nvSpPr>
        <p:spPr>
          <a:xfrm>
            <a:off x="7554678" y="5077066"/>
            <a:ext cx="4206240" cy="27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32205">
              <a:spcBef>
                <a:spcPct val="20000"/>
              </a:spcBef>
              <a:spcAft>
                <a:spcPts val="600"/>
              </a:spcAft>
              <a:buSzPct val="90000"/>
              <a:defRPr/>
            </a:pPr>
            <a:r>
              <a:rPr lang="en-US" spc="-50">
                <a:gradFill>
                  <a:gsLst>
                    <a:gs pos="23466">
                      <a:srgbClr val="1A1A1A"/>
                    </a:gs>
                    <a:gs pos="56000">
                      <a:srgbClr val="1A1A1A"/>
                    </a:gs>
                  </a:gsLst>
                  <a:lin ang="5400000" scaled="0"/>
                </a:gradFill>
                <a:latin typeface="+mj-lt"/>
              </a:rPr>
              <a:t>Network data transfer from edge to cloud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17EB9E95-0139-4EB7-B1B3-A8D67EB00EB2}"/>
              </a:ext>
            </a:extLst>
          </p:cNvPr>
          <p:cNvSpPr txBox="1">
            <a:spLocks/>
          </p:cNvSpPr>
          <p:nvPr/>
        </p:nvSpPr>
        <p:spPr>
          <a:xfrm>
            <a:off x="7554678" y="2675508"/>
            <a:ext cx="4206240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spcAft>
                <a:spcPts val="600"/>
              </a:spcAft>
              <a:buNone/>
              <a:defRPr/>
            </a:pPr>
            <a:r>
              <a:rPr lang="en-US" sz="180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+mj-lt"/>
                <a:cs typeface="Segoe UI"/>
              </a:rPr>
              <a:t>Machine learning at the edge</a:t>
            </a:r>
          </a:p>
        </p:txBody>
      </p:sp>
      <p:sp>
        <p:nvSpPr>
          <p:cNvPr id="66" name="Arrow: Pentagon 65">
            <a:extLst>
              <a:ext uri="{FF2B5EF4-FFF2-40B4-BE49-F238E27FC236}">
                <a16:creationId xmlns:a16="http://schemas.microsoft.com/office/drawing/2014/main" id="{B1EEDA80-555C-4168-BB02-AE20ACE48885}"/>
              </a:ext>
            </a:extLst>
          </p:cNvPr>
          <p:cNvSpPr/>
          <p:nvPr/>
        </p:nvSpPr>
        <p:spPr bwMode="auto">
          <a:xfrm>
            <a:off x="1729" y="1600199"/>
            <a:ext cx="6353034" cy="4829175"/>
          </a:xfrm>
          <a:prstGeom prst="homePlate">
            <a:avLst>
              <a:gd name="adj" fmla="val 11179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  <a:effectLst>
            <a:outerShdw blurRad="254000" dist="38100" dir="2700000" sx="101000" sy="101000" algn="tl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A94A4B4-FD4A-4A69-B981-9A12E44E6123}"/>
              </a:ext>
            </a:extLst>
          </p:cNvPr>
          <p:cNvSpPr/>
          <p:nvPr/>
        </p:nvSpPr>
        <p:spPr>
          <a:xfrm>
            <a:off x="1203703" y="5374170"/>
            <a:ext cx="3749040" cy="6806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defTabSz="932205">
              <a:lnSpc>
                <a:spcPct val="90000"/>
              </a:lnSpc>
              <a:spcAft>
                <a:spcPts val="674"/>
              </a:spcAft>
              <a:buSzPct val="90000"/>
              <a:defRPr/>
            </a:pPr>
            <a:r>
              <a:rPr lang="en-US" sz="1600">
                <a:latin typeface="Segoe UI Semibold"/>
                <a:ea typeface="MS PGothic" panose="020B0600070205080204" pitchFamily="34" charset="-128"/>
                <a:cs typeface="Segoe UI Semilight" panose="020B0402040204020203" pitchFamily="34" charset="0"/>
              </a:rPr>
              <a:t>Cloud storage gateway</a:t>
            </a:r>
          </a:p>
          <a:p>
            <a:pPr defTabSz="932205">
              <a:spcAft>
                <a:spcPts val="600"/>
              </a:spcAft>
              <a:buSzPct val="90000"/>
              <a:defRPr/>
            </a:pPr>
            <a:r>
              <a:rPr lang="en-US" sz="1200"/>
              <a:t>Transfer data to Azure over the network while retaining local access to blobs and files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7B98F31C-DED4-4DBF-B15E-3D1426583E52}"/>
              </a:ext>
            </a:extLst>
          </p:cNvPr>
          <p:cNvSpPr txBox="1">
            <a:spLocks/>
          </p:cNvSpPr>
          <p:nvPr/>
        </p:nvSpPr>
        <p:spPr>
          <a:xfrm>
            <a:off x="1203703" y="1974704"/>
            <a:ext cx="3749040" cy="6806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lnSpc>
                <a:spcPct val="90000"/>
              </a:lnSpc>
              <a:spcBef>
                <a:spcPts val="0"/>
              </a:spcBef>
              <a:spcAft>
                <a:spcPts val="674"/>
              </a:spcAft>
              <a:buNone/>
              <a:defRPr/>
            </a:pPr>
            <a: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  <a:t>Hardware-accelerated machine learning</a:t>
            </a:r>
          </a:p>
          <a:p>
            <a:pPr marL="0" indent="0" defTabSz="932205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200">
                <a:solidFill>
                  <a:schemeClr val="tx1"/>
                </a:solidFill>
                <a:latin typeface="Segoe UI"/>
              </a:rPr>
              <a:t>Accelerate ML inferencing using on-board FPGA or GPU to get results close to the data source 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301D2A83-25BC-4B14-B989-E29F1DA873F5}"/>
              </a:ext>
            </a:extLst>
          </p:cNvPr>
          <p:cNvSpPr txBox="1">
            <a:spLocks/>
          </p:cNvSpPr>
          <p:nvPr/>
        </p:nvSpPr>
        <p:spPr>
          <a:xfrm>
            <a:off x="1203703" y="3107859"/>
            <a:ext cx="3185735" cy="6806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205">
              <a:lnSpc>
                <a:spcPct val="90000"/>
              </a:lnSpc>
              <a:spcBef>
                <a:spcPts val="0"/>
              </a:spcBef>
              <a:spcAft>
                <a:spcPts val="674"/>
              </a:spcAft>
              <a:buNone/>
              <a:defRPr/>
            </a:pPr>
            <a:r>
              <a:rPr lang="en-US" sz="1600">
                <a:solidFill>
                  <a:schemeClr val="tx1"/>
                </a:solidFill>
                <a:latin typeface="Segoe UI Semibold"/>
                <a:ea typeface="MS PGothic" panose="020B0600070205080204" pitchFamily="34" charset="-128"/>
              </a:rPr>
              <a:t>Edge compute</a:t>
            </a:r>
          </a:p>
          <a:p>
            <a:pPr marL="0" indent="0" defTabSz="932205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200">
                <a:solidFill>
                  <a:schemeClr val="tx1"/>
                </a:solidFill>
                <a:latin typeface="Segoe UI"/>
              </a:rPr>
              <a:t>Run </a:t>
            </a:r>
            <a:r>
              <a:rPr lang="en-US" sz="1200" err="1">
                <a:solidFill>
                  <a:schemeClr val="tx1"/>
                </a:solidFill>
                <a:latin typeface="Segoe UI"/>
              </a:rPr>
              <a:t>VMs</a:t>
            </a:r>
            <a:r>
              <a:rPr lang="en-US" sz="1200">
                <a:solidFill>
                  <a:schemeClr val="tx1"/>
                </a:solidFill>
                <a:latin typeface="Segoe UI"/>
              </a:rPr>
              <a:t>, containers, and Azure services at the edge location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A938E91-20C8-46D5-96CC-7A078E725135}"/>
              </a:ext>
            </a:extLst>
          </p:cNvPr>
          <p:cNvSpPr/>
          <p:nvPr/>
        </p:nvSpPr>
        <p:spPr>
          <a:xfrm>
            <a:off x="1203703" y="4241014"/>
            <a:ext cx="3749040" cy="6806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32205">
              <a:lnSpc>
                <a:spcPct val="90000"/>
              </a:lnSpc>
              <a:spcAft>
                <a:spcPts val="674"/>
              </a:spcAft>
              <a:buSzPct val="90000"/>
              <a:defRPr/>
            </a:pPr>
            <a:r>
              <a:rPr lang="en-US" sz="1600">
                <a:latin typeface="Segoe UI Semibold"/>
                <a:ea typeface="MS PGothic" panose="020B0600070205080204" pitchFamily="34" charset="-128"/>
                <a:cs typeface="Segoe UI Semilight" panose="020B0402040204020203" pitchFamily="34" charset="0"/>
              </a:rPr>
              <a:t>Azure managed appliance</a:t>
            </a:r>
          </a:p>
          <a:p>
            <a:pPr defTabSz="932205">
              <a:spcAft>
                <a:spcPts val="600"/>
              </a:spcAft>
              <a:defRPr/>
            </a:pPr>
            <a:r>
              <a:rPr lang="en-US" sz="1200"/>
              <a:t>Order and manage your appliance and workloads through the Azure portal</a:t>
            </a:r>
          </a:p>
        </p:txBody>
      </p:sp>
      <p:grpSp>
        <p:nvGrpSpPr>
          <p:cNvPr id="194" name="automated 1" descr="automated">
            <a:extLst>
              <a:ext uri="{FF2B5EF4-FFF2-40B4-BE49-F238E27FC236}">
                <a16:creationId xmlns:a16="http://schemas.microsoft.com/office/drawing/2014/main" id="{5BDAAA69-3F95-4EBA-8161-BDD79098A9D6}"/>
              </a:ext>
            </a:extLst>
          </p:cNvPr>
          <p:cNvGrpSpPr/>
          <p:nvPr/>
        </p:nvGrpSpPr>
        <p:grpSpPr>
          <a:xfrm>
            <a:off x="6846861" y="3786219"/>
            <a:ext cx="457135" cy="457135"/>
            <a:chOff x="8223343" y="4865935"/>
            <a:chExt cx="406193" cy="404636"/>
          </a:xfrm>
        </p:grpSpPr>
        <p:sp>
          <p:nvSpPr>
            <p:cNvPr id="195" name="Freeform 499">
              <a:extLst>
                <a:ext uri="{FF2B5EF4-FFF2-40B4-BE49-F238E27FC236}">
                  <a16:creationId xmlns:a16="http://schemas.microsoft.com/office/drawing/2014/main" id="{202A8FAF-B65F-411D-B3D3-D854FD933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3343" y="5068253"/>
              <a:ext cx="406193" cy="202318"/>
            </a:xfrm>
            <a:custGeom>
              <a:avLst/>
              <a:gdLst>
                <a:gd name="T0" fmla="*/ 342 w 565"/>
                <a:gd name="T1" fmla="*/ 0 h 282"/>
                <a:gd name="T2" fmla="*/ 342 w 565"/>
                <a:gd name="T3" fmla="*/ 2 h 282"/>
                <a:gd name="T4" fmla="*/ 283 w 565"/>
                <a:gd name="T5" fmla="*/ 61 h 282"/>
                <a:gd name="T6" fmla="*/ 223 w 565"/>
                <a:gd name="T7" fmla="*/ 2 h 282"/>
                <a:gd name="T8" fmla="*/ 223 w 565"/>
                <a:gd name="T9" fmla="*/ 0 h 282"/>
                <a:gd name="T10" fmla="*/ 0 w 565"/>
                <a:gd name="T11" fmla="*/ 0 h 282"/>
                <a:gd name="T12" fmla="*/ 282 w 565"/>
                <a:gd name="T13" fmla="*/ 282 h 282"/>
                <a:gd name="T14" fmla="*/ 565 w 565"/>
                <a:gd name="T15" fmla="*/ 0 h 282"/>
                <a:gd name="T16" fmla="*/ 342 w 565"/>
                <a:gd name="T17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5" h="282">
                  <a:moveTo>
                    <a:pt x="342" y="0"/>
                  </a:moveTo>
                  <a:cubicBezTo>
                    <a:pt x="342" y="1"/>
                    <a:pt x="342" y="1"/>
                    <a:pt x="342" y="2"/>
                  </a:cubicBezTo>
                  <a:cubicBezTo>
                    <a:pt x="342" y="34"/>
                    <a:pt x="316" y="61"/>
                    <a:pt x="283" y="61"/>
                  </a:cubicBezTo>
                  <a:cubicBezTo>
                    <a:pt x="250" y="61"/>
                    <a:pt x="223" y="34"/>
                    <a:pt x="223" y="2"/>
                  </a:cubicBezTo>
                  <a:cubicBezTo>
                    <a:pt x="223" y="1"/>
                    <a:pt x="223" y="1"/>
                    <a:pt x="2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"/>
                    <a:pt x="126" y="282"/>
                    <a:pt x="282" y="282"/>
                  </a:cubicBezTo>
                  <a:cubicBezTo>
                    <a:pt x="438" y="282"/>
                    <a:pt x="565" y="156"/>
                    <a:pt x="565" y="0"/>
                  </a:cubicBezTo>
                  <a:lnTo>
                    <a:pt x="342" y="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96" name="Freeform 500">
              <a:extLst>
                <a:ext uri="{FF2B5EF4-FFF2-40B4-BE49-F238E27FC236}">
                  <a16:creationId xmlns:a16="http://schemas.microsoft.com/office/drawing/2014/main" id="{D97B1C36-8891-445E-95F3-B40A16ECA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495" y="4953087"/>
              <a:ext cx="231888" cy="231888"/>
            </a:xfrm>
            <a:custGeom>
              <a:avLst/>
              <a:gdLst>
                <a:gd name="T0" fmla="*/ 323 w 323"/>
                <a:gd name="T1" fmla="*/ 194 h 323"/>
                <a:gd name="T2" fmla="*/ 323 w 323"/>
                <a:gd name="T3" fmla="*/ 129 h 323"/>
                <a:gd name="T4" fmla="*/ 287 w 323"/>
                <a:gd name="T5" fmla="*/ 129 h 323"/>
                <a:gd name="T6" fmla="*/ 272 w 323"/>
                <a:gd name="T7" fmla="*/ 97 h 323"/>
                <a:gd name="T8" fmla="*/ 299 w 323"/>
                <a:gd name="T9" fmla="*/ 70 h 323"/>
                <a:gd name="T10" fmla="*/ 253 w 323"/>
                <a:gd name="T11" fmla="*/ 25 h 323"/>
                <a:gd name="T12" fmla="*/ 226 w 323"/>
                <a:gd name="T13" fmla="*/ 52 h 323"/>
                <a:gd name="T14" fmla="*/ 194 w 323"/>
                <a:gd name="T15" fmla="*/ 40 h 323"/>
                <a:gd name="T16" fmla="*/ 194 w 323"/>
                <a:gd name="T17" fmla="*/ 0 h 323"/>
                <a:gd name="T18" fmla="*/ 129 w 323"/>
                <a:gd name="T19" fmla="*/ 0 h 323"/>
                <a:gd name="T20" fmla="*/ 129 w 323"/>
                <a:gd name="T21" fmla="*/ 40 h 323"/>
                <a:gd name="T22" fmla="*/ 99 w 323"/>
                <a:gd name="T23" fmla="*/ 53 h 323"/>
                <a:gd name="T24" fmla="*/ 70 w 323"/>
                <a:gd name="T25" fmla="*/ 25 h 323"/>
                <a:gd name="T26" fmla="*/ 25 w 323"/>
                <a:gd name="T27" fmla="*/ 70 h 323"/>
                <a:gd name="T28" fmla="*/ 52 w 323"/>
                <a:gd name="T29" fmla="*/ 98 h 323"/>
                <a:gd name="T30" fmla="*/ 39 w 323"/>
                <a:gd name="T31" fmla="*/ 129 h 323"/>
                <a:gd name="T32" fmla="*/ 0 w 323"/>
                <a:gd name="T33" fmla="*/ 129 h 323"/>
                <a:gd name="T34" fmla="*/ 0 w 323"/>
                <a:gd name="T35" fmla="*/ 194 h 323"/>
                <a:gd name="T36" fmla="*/ 37 w 323"/>
                <a:gd name="T37" fmla="*/ 194 h 323"/>
                <a:gd name="T38" fmla="*/ 50 w 323"/>
                <a:gd name="T39" fmla="*/ 228 h 323"/>
                <a:gd name="T40" fmla="*/ 25 w 323"/>
                <a:gd name="T41" fmla="*/ 253 h 323"/>
                <a:gd name="T42" fmla="*/ 70 w 323"/>
                <a:gd name="T43" fmla="*/ 299 h 323"/>
                <a:gd name="T44" fmla="*/ 94 w 323"/>
                <a:gd name="T45" fmla="*/ 275 h 323"/>
                <a:gd name="T46" fmla="*/ 129 w 323"/>
                <a:gd name="T47" fmla="*/ 290 h 323"/>
                <a:gd name="T48" fmla="*/ 129 w 323"/>
                <a:gd name="T49" fmla="*/ 323 h 323"/>
                <a:gd name="T50" fmla="*/ 194 w 323"/>
                <a:gd name="T51" fmla="*/ 323 h 323"/>
                <a:gd name="T52" fmla="*/ 194 w 323"/>
                <a:gd name="T53" fmla="*/ 290 h 323"/>
                <a:gd name="T54" fmla="*/ 230 w 323"/>
                <a:gd name="T55" fmla="*/ 275 h 323"/>
                <a:gd name="T56" fmla="*/ 253 w 323"/>
                <a:gd name="T57" fmla="*/ 299 h 323"/>
                <a:gd name="T58" fmla="*/ 299 w 323"/>
                <a:gd name="T59" fmla="*/ 253 h 323"/>
                <a:gd name="T60" fmla="*/ 275 w 323"/>
                <a:gd name="T61" fmla="*/ 229 h 323"/>
                <a:gd name="T62" fmla="*/ 289 w 323"/>
                <a:gd name="T63" fmla="*/ 194 h 323"/>
                <a:gd name="T64" fmla="*/ 323 w 323"/>
                <a:gd name="T65" fmla="*/ 194 h 323"/>
                <a:gd name="T66" fmla="*/ 162 w 323"/>
                <a:gd name="T67" fmla="*/ 221 h 323"/>
                <a:gd name="T68" fmla="*/ 102 w 323"/>
                <a:gd name="T69" fmla="*/ 162 h 323"/>
                <a:gd name="T70" fmla="*/ 162 w 323"/>
                <a:gd name="T71" fmla="*/ 102 h 323"/>
                <a:gd name="T72" fmla="*/ 221 w 323"/>
                <a:gd name="T73" fmla="*/ 162 h 323"/>
                <a:gd name="T74" fmla="*/ 162 w 323"/>
                <a:gd name="T75" fmla="*/ 22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3" h="323">
                  <a:moveTo>
                    <a:pt x="323" y="194"/>
                  </a:moveTo>
                  <a:cubicBezTo>
                    <a:pt x="323" y="129"/>
                    <a:pt x="323" y="129"/>
                    <a:pt x="323" y="129"/>
                  </a:cubicBezTo>
                  <a:cubicBezTo>
                    <a:pt x="287" y="129"/>
                    <a:pt x="287" y="129"/>
                    <a:pt x="287" y="129"/>
                  </a:cubicBezTo>
                  <a:cubicBezTo>
                    <a:pt x="284" y="118"/>
                    <a:pt x="279" y="107"/>
                    <a:pt x="272" y="97"/>
                  </a:cubicBezTo>
                  <a:cubicBezTo>
                    <a:pt x="299" y="70"/>
                    <a:pt x="299" y="70"/>
                    <a:pt x="299" y="70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16" y="47"/>
                    <a:pt x="205" y="42"/>
                    <a:pt x="194" y="4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19" y="43"/>
                    <a:pt x="108" y="47"/>
                    <a:pt x="99" y="53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47" y="108"/>
                    <a:pt x="42" y="118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40" y="206"/>
                    <a:pt x="44" y="217"/>
                    <a:pt x="50" y="228"/>
                  </a:cubicBezTo>
                  <a:cubicBezTo>
                    <a:pt x="25" y="253"/>
                    <a:pt x="25" y="253"/>
                    <a:pt x="25" y="253"/>
                  </a:cubicBezTo>
                  <a:cubicBezTo>
                    <a:pt x="70" y="299"/>
                    <a:pt x="70" y="299"/>
                    <a:pt x="70" y="299"/>
                  </a:cubicBezTo>
                  <a:cubicBezTo>
                    <a:pt x="94" y="275"/>
                    <a:pt x="94" y="275"/>
                    <a:pt x="94" y="275"/>
                  </a:cubicBezTo>
                  <a:cubicBezTo>
                    <a:pt x="105" y="281"/>
                    <a:pt x="117" y="286"/>
                    <a:pt x="129" y="290"/>
                  </a:cubicBezTo>
                  <a:cubicBezTo>
                    <a:pt x="129" y="323"/>
                    <a:pt x="129" y="323"/>
                    <a:pt x="129" y="323"/>
                  </a:cubicBezTo>
                  <a:cubicBezTo>
                    <a:pt x="194" y="323"/>
                    <a:pt x="194" y="323"/>
                    <a:pt x="194" y="323"/>
                  </a:cubicBezTo>
                  <a:cubicBezTo>
                    <a:pt x="194" y="290"/>
                    <a:pt x="194" y="290"/>
                    <a:pt x="194" y="290"/>
                  </a:cubicBezTo>
                  <a:cubicBezTo>
                    <a:pt x="207" y="287"/>
                    <a:pt x="219" y="282"/>
                    <a:pt x="230" y="275"/>
                  </a:cubicBezTo>
                  <a:cubicBezTo>
                    <a:pt x="253" y="299"/>
                    <a:pt x="253" y="299"/>
                    <a:pt x="253" y="299"/>
                  </a:cubicBezTo>
                  <a:cubicBezTo>
                    <a:pt x="299" y="253"/>
                    <a:pt x="299" y="253"/>
                    <a:pt x="299" y="253"/>
                  </a:cubicBezTo>
                  <a:cubicBezTo>
                    <a:pt x="275" y="229"/>
                    <a:pt x="275" y="229"/>
                    <a:pt x="275" y="229"/>
                  </a:cubicBezTo>
                  <a:cubicBezTo>
                    <a:pt x="281" y="218"/>
                    <a:pt x="286" y="206"/>
                    <a:pt x="289" y="194"/>
                  </a:cubicBezTo>
                  <a:lnTo>
                    <a:pt x="323" y="194"/>
                  </a:lnTo>
                  <a:close/>
                  <a:moveTo>
                    <a:pt x="162" y="221"/>
                  </a:moveTo>
                  <a:cubicBezTo>
                    <a:pt x="129" y="221"/>
                    <a:pt x="102" y="194"/>
                    <a:pt x="102" y="162"/>
                  </a:cubicBezTo>
                  <a:cubicBezTo>
                    <a:pt x="102" y="129"/>
                    <a:pt x="129" y="102"/>
                    <a:pt x="162" y="102"/>
                  </a:cubicBezTo>
                  <a:cubicBezTo>
                    <a:pt x="195" y="102"/>
                    <a:pt x="221" y="129"/>
                    <a:pt x="221" y="162"/>
                  </a:cubicBezTo>
                  <a:cubicBezTo>
                    <a:pt x="221" y="194"/>
                    <a:pt x="195" y="221"/>
                    <a:pt x="162" y="221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97" name="Oval 501">
              <a:extLst>
                <a:ext uri="{FF2B5EF4-FFF2-40B4-BE49-F238E27FC236}">
                  <a16:creationId xmlns:a16="http://schemas.microsoft.com/office/drawing/2014/main" id="{3F94561C-BCBD-4A04-8110-4256C7027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5430" y="4865935"/>
              <a:ext cx="42020" cy="420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98" name="Oval 502">
              <a:extLst>
                <a:ext uri="{FF2B5EF4-FFF2-40B4-BE49-F238E27FC236}">
                  <a16:creationId xmlns:a16="http://schemas.microsoft.com/office/drawing/2014/main" id="{2A3A2805-0FEB-412B-A505-BA35A8852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84039" y="4925074"/>
              <a:ext cx="42020" cy="4357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99" name="Oval 503">
              <a:extLst>
                <a:ext uri="{FF2B5EF4-FFF2-40B4-BE49-F238E27FC236}">
                  <a16:creationId xmlns:a16="http://schemas.microsoft.com/office/drawing/2014/main" id="{EBB06A14-2C81-45F5-B012-3CBBDA99D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6821" y="4925074"/>
              <a:ext cx="42020" cy="4357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0" name="Oval 504">
              <a:extLst>
                <a:ext uri="{FF2B5EF4-FFF2-40B4-BE49-F238E27FC236}">
                  <a16:creationId xmlns:a16="http://schemas.microsoft.com/office/drawing/2014/main" id="{0E87F71B-3C6E-449A-B4C1-135F22D9E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343" y="4865935"/>
              <a:ext cx="42020" cy="420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1" name="Oval 505">
              <a:extLst>
                <a:ext uri="{FF2B5EF4-FFF2-40B4-BE49-F238E27FC236}">
                  <a16:creationId xmlns:a16="http://schemas.microsoft.com/office/drawing/2014/main" id="{F2714DD7-CC4C-4744-B39A-6680B3C3B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7516" y="4865935"/>
              <a:ext cx="42020" cy="420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2" name="Oval 506">
              <a:extLst>
                <a:ext uri="{FF2B5EF4-FFF2-40B4-BE49-F238E27FC236}">
                  <a16:creationId xmlns:a16="http://schemas.microsoft.com/office/drawing/2014/main" id="{215E6573-C4E2-4B96-B84E-CDD5D8D017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343" y="4985769"/>
              <a:ext cx="42020" cy="4357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3" name="Oval 507">
              <a:extLst>
                <a:ext uri="{FF2B5EF4-FFF2-40B4-BE49-F238E27FC236}">
                  <a16:creationId xmlns:a16="http://schemas.microsoft.com/office/drawing/2014/main" id="{69053BBC-CEC0-41D7-AD55-F2FB63A62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7516" y="4985769"/>
              <a:ext cx="42020" cy="4357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4" name="Oval 508">
              <a:extLst>
                <a:ext uri="{FF2B5EF4-FFF2-40B4-BE49-F238E27FC236}">
                  <a16:creationId xmlns:a16="http://schemas.microsoft.com/office/drawing/2014/main" id="{2E1CA0CB-017B-4402-A17D-52A33A3302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5430" y="5046465"/>
              <a:ext cx="42020" cy="43576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163" name="data" descr="data, cloud, scale">
            <a:extLst>
              <a:ext uri="{FF2B5EF4-FFF2-40B4-BE49-F238E27FC236}">
                <a16:creationId xmlns:a16="http://schemas.microsoft.com/office/drawing/2014/main" id="{5102DBC2-4157-4E1F-A319-CB8498585C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2651" y="4382997"/>
            <a:ext cx="396734" cy="396732"/>
            <a:chOff x="6956" y="798"/>
            <a:chExt cx="266" cy="266"/>
          </a:xfrm>
        </p:grpSpPr>
        <p:sp>
          <p:nvSpPr>
            <p:cNvPr id="164" name="AutoShape 37">
              <a:extLst>
                <a:ext uri="{FF2B5EF4-FFF2-40B4-BE49-F238E27FC236}">
                  <a16:creationId xmlns:a16="http://schemas.microsoft.com/office/drawing/2014/main" id="{5D184C16-D955-4E7E-9C7A-30A1D5544D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56" y="798"/>
              <a:ext cx="266" cy="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65" name="Freeform 39">
              <a:extLst>
                <a:ext uri="{FF2B5EF4-FFF2-40B4-BE49-F238E27FC236}">
                  <a16:creationId xmlns:a16="http://schemas.microsoft.com/office/drawing/2014/main" id="{3B812483-1A36-45AD-BAEB-906316A9B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" y="938"/>
              <a:ext cx="52" cy="82"/>
            </a:xfrm>
            <a:custGeom>
              <a:avLst/>
              <a:gdLst>
                <a:gd name="T0" fmla="*/ 28 w 76"/>
                <a:gd name="T1" fmla="*/ 118 h 118"/>
                <a:gd name="T2" fmla="*/ 76 w 76"/>
                <a:gd name="T3" fmla="*/ 0 h 118"/>
                <a:gd name="T4" fmla="*/ 37 w 76"/>
                <a:gd name="T5" fmla="*/ 0 h 118"/>
                <a:gd name="T6" fmla="*/ 0 w 76"/>
                <a:gd name="T7" fmla="*/ 90 h 118"/>
                <a:gd name="T8" fmla="*/ 28 w 76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8">
                  <a:moveTo>
                    <a:pt x="28" y="118"/>
                  </a:moveTo>
                  <a:cubicBezTo>
                    <a:pt x="56" y="86"/>
                    <a:pt x="74" y="45"/>
                    <a:pt x="7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5" y="34"/>
                    <a:pt x="21" y="65"/>
                    <a:pt x="0" y="90"/>
                  </a:cubicBezTo>
                  <a:lnTo>
                    <a:pt x="28" y="11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66" name="Freeform 40">
              <a:extLst>
                <a:ext uri="{FF2B5EF4-FFF2-40B4-BE49-F238E27FC236}">
                  <a16:creationId xmlns:a16="http://schemas.microsoft.com/office/drawing/2014/main" id="{6ECDED7E-A54B-4169-8B10-22279CE76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6" y="842"/>
              <a:ext cx="54" cy="82"/>
            </a:xfrm>
            <a:custGeom>
              <a:avLst/>
              <a:gdLst>
                <a:gd name="T0" fmla="*/ 49 w 78"/>
                <a:gd name="T1" fmla="*/ 0 h 119"/>
                <a:gd name="T2" fmla="*/ 0 w 78"/>
                <a:gd name="T3" fmla="*/ 119 h 119"/>
                <a:gd name="T4" fmla="*/ 41 w 78"/>
                <a:gd name="T5" fmla="*/ 119 h 119"/>
                <a:gd name="T6" fmla="*/ 78 w 78"/>
                <a:gd name="T7" fmla="*/ 29 h 119"/>
                <a:gd name="T8" fmla="*/ 49 w 78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19">
                  <a:moveTo>
                    <a:pt x="49" y="0"/>
                  </a:moveTo>
                  <a:cubicBezTo>
                    <a:pt x="21" y="32"/>
                    <a:pt x="2" y="73"/>
                    <a:pt x="0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3" y="84"/>
                    <a:pt x="57" y="53"/>
                    <a:pt x="78" y="29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67" name="Freeform 41">
              <a:extLst>
                <a:ext uri="{FF2B5EF4-FFF2-40B4-BE49-F238E27FC236}">
                  <a16:creationId xmlns:a16="http://schemas.microsoft.com/office/drawing/2014/main" id="{A0022552-040B-4B89-A1B9-A391800C9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0" y="1010"/>
              <a:ext cx="82" cy="54"/>
            </a:xfrm>
            <a:custGeom>
              <a:avLst/>
              <a:gdLst>
                <a:gd name="T0" fmla="*/ 0 w 118"/>
                <a:gd name="T1" fmla="*/ 29 h 78"/>
                <a:gd name="T2" fmla="*/ 118 w 118"/>
                <a:gd name="T3" fmla="*/ 78 h 78"/>
                <a:gd name="T4" fmla="*/ 118 w 118"/>
                <a:gd name="T5" fmla="*/ 37 h 78"/>
                <a:gd name="T6" fmla="*/ 29 w 118"/>
                <a:gd name="T7" fmla="*/ 0 h 78"/>
                <a:gd name="T8" fmla="*/ 0 w 118"/>
                <a:gd name="T9" fmla="*/ 2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78">
                  <a:moveTo>
                    <a:pt x="0" y="29"/>
                  </a:moveTo>
                  <a:cubicBezTo>
                    <a:pt x="32" y="57"/>
                    <a:pt x="73" y="76"/>
                    <a:pt x="118" y="7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84" y="35"/>
                    <a:pt x="53" y="21"/>
                    <a:pt x="29" y="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1D304F92-2844-461C-A8A7-394635D9C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6" y="938"/>
              <a:ext cx="54" cy="82"/>
            </a:xfrm>
            <a:custGeom>
              <a:avLst/>
              <a:gdLst>
                <a:gd name="T0" fmla="*/ 0 w 78"/>
                <a:gd name="T1" fmla="*/ 0 h 118"/>
                <a:gd name="T2" fmla="*/ 49 w 78"/>
                <a:gd name="T3" fmla="*/ 118 h 118"/>
                <a:gd name="T4" fmla="*/ 78 w 78"/>
                <a:gd name="T5" fmla="*/ 90 h 118"/>
                <a:gd name="T6" fmla="*/ 41 w 78"/>
                <a:gd name="T7" fmla="*/ 0 h 118"/>
                <a:gd name="T8" fmla="*/ 0 w 78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18">
                  <a:moveTo>
                    <a:pt x="0" y="0"/>
                  </a:moveTo>
                  <a:cubicBezTo>
                    <a:pt x="2" y="45"/>
                    <a:pt x="21" y="87"/>
                    <a:pt x="49" y="118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57" y="65"/>
                    <a:pt x="43" y="34"/>
                    <a:pt x="4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69" name="Freeform 43">
              <a:extLst>
                <a:ext uri="{FF2B5EF4-FFF2-40B4-BE49-F238E27FC236}">
                  <a16:creationId xmlns:a16="http://schemas.microsoft.com/office/drawing/2014/main" id="{E5702DC4-2845-47B6-A5AA-18B9CE77D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" y="842"/>
              <a:ext cx="52" cy="82"/>
            </a:xfrm>
            <a:custGeom>
              <a:avLst/>
              <a:gdLst>
                <a:gd name="T0" fmla="*/ 28 w 76"/>
                <a:gd name="T1" fmla="*/ 0 h 118"/>
                <a:gd name="T2" fmla="*/ 0 w 76"/>
                <a:gd name="T3" fmla="*/ 28 h 118"/>
                <a:gd name="T4" fmla="*/ 37 w 76"/>
                <a:gd name="T5" fmla="*/ 118 h 118"/>
                <a:gd name="T6" fmla="*/ 76 w 76"/>
                <a:gd name="T7" fmla="*/ 118 h 118"/>
                <a:gd name="T8" fmla="*/ 28 w 76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8">
                  <a:moveTo>
                    <a:pt x="28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1" y="52"/>
                    <a:pt x="35" y="83"/>
                    <a:pt x="37" y="118"/>
                  </a:cubicBezTo>
                  <a:cubicBezTo>
                    <a:pt x="76" y="118"/>
                    <a:pt x="76" y="118"/>
                    <a:pt x="76" y="118"/>
                  </a:cubicBezTo>
                  <a:cubicBezTo>
                    <a:pt x="74" y="72"/>
                    <a:pt x="56" y="31"/>
                    <a:pt x="28" y="0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70" name="Freeform 44">
              <a:extLst>
                <a:ext uri="{FF2B5EF4-FFF2-40B4-BE49-F238E27FC236}">
                  <a16:creationId xmlns:a16="http://schemas.microsoft.com/office/drawing/2014/main" id="{9B5E49F9-14F3-4D59-A04C-502FDA126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" y="1010"/>
              <a:ext cx="82" cy="54"/>
            </a:xfrm>
            <a:custGeom>
              <a:avLst/>
              <a:gdLst>
                <a:gd name="T0" fmla="*/ 1 w 118"/>
                <a:gd name="T1" fmla="*/ 78 h 78"/>
                <a:gd name="T2" fmla="*/ 118 w 118"/>
                <a:gd name="T3" fmla="*/ 28 h 78"/>
                <a:gd name="T4" fmla="*/ 90 w 118"/>
                <a:gd name="T5" fmla="*/ 0 h 78"/>
                <a:gd name="T6" fmla="*/ 0 w 118"/>
                <a:gd name="T7" fmla="*/ 37 h 78"/>
                <a:gd name="T8" fmla="*/ 0 w 118"/>
                <a:gd name="T9" fmla="*/ 78 h 78"/>
                <a:gd name="T10" fmla="*/ 1 w 118"/>
                <a:gd name="T11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78">
                  <a:moveTo>
                    <a:pt x="1" y="78"/>
                  </a:moveTo>
                  <a:cubicBezTo>
                    <a:pt x="46" y="75"/>
                    <a:pt x="87" y="57"/>
                    <a:pt x="118" y="28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6" y="22"/>
                    <a:pt x="35" y="35"/>
                    <a:pt x="0" y="37"/>
                  </a:cubicBezTo>
                  <a:cubicBezTo>
                    <a:pt x="0" y="78"/>
                    <a:pt x="0" y="78"/>
                    <a:pt x="0" y="78"/>
                  </a:cubicBezTo>
                  <a:lnTo>
                    <a:pt x="1" y="7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756C0C18-CAB1-401A-823B-A24F97155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7" y="798"/>
              <a:ext cx="81" cy="53"/>
            </a:xfrm>
            <a:custGeom>
              <a:avLst/>
              <a:gdLst>
                <a:gd name="T0" fmla="*/ 0 w 117"/>
                <a:gd name="T1" fmla="*/ 0 h 77"/>
                <a:gd name="T2" fmla="*/ 0 w 117"/>
                <a:gd name="T3" fmla="*/ 40 h 77"/>
                <a:gd name="T4" fmla="*/ 89 w 117"/>
                <a:gd name="T5" fmla="*/ 77 h 77"/>
                <a:gd name="T6" fmla="*/ 117 w 117"/>
                <a:gd name="T7" fmla="*/ 49 h 77"/>
                <a:gd name="T8" fmla="*/ 0 w 117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77">
                  <a:moveTo>
                    <a:pt x="0" y="0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4" y="42"/>
                    <a:pt x="65" y="56"/>
                    <a:pt x="89" y="77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86" y="21"/>
                    <a:pt x="45" y="3"/>
                    <a:pt x="0" y="0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72" name="Freeform 46">
              <a:extLst>
                <a:ext uri="{FF2B5EF4-FFF2-40B4-BE49-F238E27FC236}">
                  <a16:creationId xmlns:a16="http://schemas.microsoft.com/office/drawing/2014/main" id="{F11E14B6-8AC5-4D84-A00B-F0300C70E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0" y="798"/>
              <a:ext cx="82" cy="53"/>
            </a:xfrm>
            <a:custGeom>
              <a:avLst/>
              <a:gdLst>
                <a:gd name="T0" fmla="*/ 118 w 118"/>
                <a:gd name="T1" fmla="*/ 0 h 77"/>
                <a:gd name="T2" fmla="*/ 0 w 118"/>
                <a:gd name="T3" fmla="*/ 49 h 77"/>
                <a:gd name="T4" fmla="*/ 29 w 118"/>
                <a:gd name="T5" fmla="*/ 77 h 77"/>
                <a:gd name="T6" fmla="*/ 118 w 118"/>
                <a:gd name="T7" fmla="*/ 40 h 77"/>
                <a:gd name="T8" fmla="*/ 118 w 118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77">
                  <a:moveTo>
                    <a:pt x="118" y="0"/>
                  </a:moveTo>
                  <a:cubicBezTo>
                    <a:pt x="73" y="2"/>
                    <a:pt x="32" y="20"/>
                    <a:pt x="0" y="49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53" y="56"/>
                    <a:pt x="84" y="43"/>
                    <a:pt x="118" y="40"/>
                  </a:cubicBezTo>
                  <a:cubicBezTo>
                    <a:pt x="118" y="0"/>
                    <a:pt x="118" y="0"/>
                    <a:pt x="118" y="0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73" name="Freeform 47">
              <a:extLst>
                <a:ext uri="{FF2B5EF4-FFF2-40B4-BE49-F238E27FC236}">
                  <a16:creationId xmlns:a16="http://schemas.microsoft.com/office/drawing/2014/main" id="{77D03A6D-7A07-4B16-A892-27493EB83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" y="883"/>
              <a:ext cx="141" cy="83"/>
            </a:xfrm>
            <a:custGeom>
              <a:avLst/>
              <a:gdLst>
                <a:gd name="T0" fmla="*/ 203 w 204"/>
                <a:gd name="T1" fmla="*/ 83 h 119"/>
                <a:gd name="T2" fmla="*/ 204 w 204"/>
                <a:gd name="T3" fmla="*/ 81 h 119"/>
                <a:gd name="T4" fmla="*/ 204 w 204"/>
                <a:gd name="T5" fmla="*/ 73 h 119"/>
                <a:gd name="T6" fmla="*/ 158 w 204"/>
                <a:gd name="T7" fmla="*/ 26 h 119"/>
                <a:gd name="T8" fmla="*/ 148 w 204"/>
                <a:gd name="T9" fmla="*/ 28 h 119"/>
                <a:gd name="T10" fmla="*/ 98 w 204"/>
                <a:gd name="T11" fmla="*/ 0 h 119"/>
                <a:gd name="T12" fmla="*/ 38 w 204"/>
                <a:gd name="T13" fmla="*/ 59 h 119"/>
                <a:gd name="T14" fmla="*/ 38 w 204"/>
                <a:gd name="T15" fmla="*/ 62 h 119"/>
                <a:gd name="T16" fmla="*/ 29 w 204"/>
                <a:gd name="T17" fmla="*/ 60 h 119"/>
                <a:gd name="T18" fmla="*/ 0 w 204"/>
                <a:gd name="T19" fmla="*/ 90 h 119"/>
                <a:gd name="T20" fmla="*/ 26 w 204"/>
                <a:gd name="T21" fmla="*/ 119 h 119"/>
                <a:gd name="T22" fmla="*/ 158 w 204"/>
                <a:gd name="T23" fmla="*/ 119 h 119"/>
                <a:gd name="T24" fmla="*/ 199 w 204"/>
                <a:gd name="T25" fmla="*/ 95 h 119"/>
                <a:gd name="T26" fmla="*/ 199 w 204"/>
                <a:gd name="T27" fmla="*/ 94 h 119"/>
                <a:gd name="T28" fmla="*/ 203 w 204"/>
                <a:gd name="T29" fmla="*/ 8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" h="119">
                  <a:moveTo>
                    <a:pt x="203" y="83"/>
                  </a:moveTo>
                  <a:cubicBezTo>
                    <a:pt x="203" y="82"/>
                    <a:pt x="204" y="82"/>
                    <a:pt x="204" y="81"/>
                  </a:cubicBezTo>
                  <a:cubicBezTo>
                    <a:pt x="204" y="79"/>
                    <a:pt x="204" y="76"/>
                    <a:pt x="204" y="73"/>
                  </a:cubicBezTo>
                  <a:cubicBezTo>
                    <a:pt x="204" y="47"/>
                    <a:pt x="184" y="26"/>
                    <a:pt x="158" y="26"/>
                  </a:cubicBezTo>
                  <a:cubicBezTo>
                    <a:pt x="155" y="26"/>
                    <a:pt x="151" y="27"/>
                    <a:pt x="148" y="28"/>
                  </a:cubicBezTo>
                  <a:cubicBezTo>
                    <a:pt x="137" y="11"/>
                    <a:pt x="119" y="0"/>
                    <a:pt x="98" y="0"/>
                  </a:cubicBezTo>
                  <a:cubicBezTo>
                    <a:pt x="65" y="0"/>
                    <a:pt x="38" y="27"/>
                    <a:pt x="38" y="59"/>
                  </a:cubicBezTo>
                  <a:cubicBezTo>
                    <a:pt x="38" y="60"/>
                    <a:pt x="38" y="61"/>
                    <a:pt x="38" y="62"/>
                  </a:cubicBezTo>
                  <a:cubicBezTo>
                    <a:pt x="35" y="61"/>
                    <a:pt x="32" y="60"/>
                    <a:pt x="29" y="60"/>
                  </a:cubicBezTo>
                  <a:cubicBezTo>
                    <a:pt x="13" y="60"/>
                    <a:pt x="0" y="73"/>
                    <a:pt x="0" y="90"/>
                  </a:cubicBezTo>
                  <a:cubicBezTo>
                    <a:pt x="0" y="105"/>
                    <a:pt x="11" y="117"/>
                    <a:pt x="26" y="119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76" y="119"/>
                    <a:pt x="191" y="109"/>
                    <a:pt x="199" y="95"/>
                  </a:cubicBezTo>
                  <a:cubicBezTo>
                    <a:pt x="199" y="95"/>
                    <a:pt x="199" y="94"/>
                    <a:pt x="199" y="94"/>
                  </a:cubicBezTo>
                  <a:cubicBezTo>
                    <a:pt x="200" y="91"/>
                    <a:pt x="202" y="88"/>
                    <a:pt x="203" y="83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</p:grpSp>
      <p:grpSp>
        <p:nvGrpSpPr>
          <p:cNvPr id="174" name="Group 173" descr="Digital brain icon">
            <a:extLst>
              <a:ext uri="{FF2B5EF4-FFF2-40B4-BE49-F238E27FC236}">
                <a16:creationId xmlns:a16="http://schemas.microsoft.com/office/drawing/2014/main" id="{5011E562-454B-4A8A-86FC-6A113E02C001}"/>
              </a:ext>
            </a:extLst>
          </p:cNvPr>
          <p:cNvGrpSpPr>
            <a:grpSpLocks noChangeAspect="1"/>
          </p:cNvGrpSpPr>
          <p:nvPr/>
        </p:nvGrpSpPr>
        <p:grpSpPr>
          <a:xfrm>
            <a:off x="421764" y="2167161"/>
            <a:ext cx="478509" cy="295784"/>
            <a:chOff x="3697161" y="1671456"/>
            <a:chExt cx="4797676" cy="2965641"/>
          </a:xfrm>
        </p:grpSpPr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2EE74FE9-F1A5-49D3-8848-6992F84B9011}"/>
                </a:ext>
              </a:extLst>
            </p:cNvPr>
            <p:cNvSpPr/>
            <p:nvPr/>
          </p:nvSpPr>
          <p:spPr bwMode="auto">
            <a:xfrm>
              <a:off x="3697161" y="1671456"/>
              <a:ext cx="4797676" cy="2965641"/>
            </a:xfrm>
            <a:custGeom>
              <a:avLst/>
              <a:gdLst>
                <a:gd name="connsiteX0" fmla="*/ 2158445 w 4797676"/>
                <a:gd name="connsiteY0" fmla="*/ 0 h 2965641"/>
                <a:gd name="connsiteX1" fmla="*/ 2413265 w 4797676"/>
                <a:gd name="connsiteY1" fmla="*/ 38525 h 2965641"/>
                <a:gd name="connsiteX2" fmla="*/ 2465284 w 4797676"/>
                <a:gd name="connsiteY2" fmla="*/ 57564 h 2965641"/>
                <a:gd name="connsiteX3" fmla="*/ 2517303 w 4797676"/>
                <a:gd name="connsiteY3" fmla="*/ 38525 h 2965641"/>
                <a:gd name="connsiteX4" fmla="*/ 2772122 w 4797676"/>
                <a:gd name="connsiteY4" fmla="*/ 0 h 2965641"/>
                <a:gd name="connsiteX5" fmla="*/ 3251230 w 4797676"/>
                <a:gd name="connsiteY5" fmla="*/ 146347 h 2965641"/>
                <a:gd name="connsiteX6" fmla="*/ 3321549 w 4797676"/>
                <a:gd name="connsiteY6" fmla="*/ 204366 h 2965641"/>
                <a:gd name="connsiteX7" fmla="*/ 3440317 w 4797676"/>
                <a:gd name="connsiteY7" fmla="*/ 213352 h 2965641"/>
                <a:gd name="connsiteX8" fmla="*/ 4175024 w 4797676"/>
                <a:gd name="connsiteY8" fmla="*/ 785768 h 2965641"/>
                <a:gd name="connsiteX9" fmla="*/ 4224046 w 4797676"/>
                <a:gd name="connsiteY9" fmla="*/ 943691 h 2965641"/>
                <a:gd name="connsiteX10" fmla="*/ 4294098 w 4797676"/>
                <a:gd name="connsiteY10" fmla="*/ 969331 h 2965641"/>
                <a:gd name="connsiteX11" fmla="*/ 4797676 w 4797676"/>
                <a:gd name="connsiteY11" fmla="*/ 1729053 h 2965641"/>
                <a:gd name="connsiteX12" fmla="*/ 3973159 w 4797676"/>
                <a:gd name="connsiteY12" fmla="*/ 2553570 h 2965641"/>
                <a:gd name="connsiteX13" fmla="*/ 3806990 w 4797676"/>
                <a:gd name="connsiteY13" fmla="*/ 2536819 h 2965641"/>
                <a:gd name="connsiteX14" fmla="*/ 3788954 w 4797676"/>
                <a:gd name="connsiteY14" fmla="*/ 2532181 h 2965641"/>
                <a:gd name="connsiteX15" fmla="*/ 3735039 w 4797676"/>
                <a:gd name="connsiteY15" fmla="*/ 2597527 h 2965641"/>
                <a:gd name="connsiteX16" fmla="*/ 3236319 w 4797676"/>
                <a:gd name="connsiteY16" fmla="*/ 2834765 h 2965641"/>
                <a:gd name="connsiteX17" fmla="*/ 3198663 w 4797676"/>
                <a:gd name="connsiteY17" fmla="*/ 2836667 h 2965641"/>
                <a:gd name="connsiteX18" fmla="*/ 3198663 w 4797676"/>
                <a:gd name="connsiteY18" fmla="*/ 2047719 h 2965641"/>
                <a:gd name="connsiteX19" fmla="*/ 3643486 w 4797676"/>
                <a:gd name="connsiteY19" fmla="*/ 2047719 h 2965641"/>
                <a:gd name="connsiteX20" fmla="*/ 3965953 w 4797676"/>
                <a:gd name="connsiteY20" fmla="*/ 1833974 h 2965641"/>
                <a:gd name="connsiteX21" fmla="*/ 3978158 w 4797676"/>
                <a:gd name="connsiteY21" fmla="*/ 1794656 h 2965641"/>
                <a:gd name="connsiteX22" fmla="*/ 4018763 w 4797676"/>
                <a:gd name="connsiteY22" fmla="*/ 1782051 h 2965641"/>
                <a:gd name="connsiteX23" fmla="*/ 4203895 w 4797676"/>
                <a:gd name="connsiteY23" fmla="*/ 1502751 h 2965641"/>
                <a:gd name="connsiteX24" fmla="*/ 3900774 w 4797676"/>
                <a:gd name="connsiteY24" fmla="*/ 1199630 h 2965641"/>
                <a:gd name="connsiteX25" fmla="*/ 3597653 w 4797676"/>
                <a:gd name="connsiteY25" fmla="*/ 1502751 h 2965641"/>
                <a:gd name="connsiteX26" fmla="*/ 3782786 w 4797676"/>
                <a:gd name="connsiteY26" fmla="*/ 1782051 h 2965641"/>
                <a:gd name="connsiteX27" fmla="*/ 3825697 w 4797676"/>
                <a:gd name="connsiteY27" fmla="*/ 1795372 h 2965641"/>
                <a:gd name="connsiteX28" fmla="*/ 3804431 w 4797676"/>
                <a:gd name="connsiteY28" fmla="*/ 1830422 h 2965641"/>
                <a:gd name="connsiteX29" fmla="*/ 3643486 w 4797676"/>
                <a:gd name="connsiteY29" fmla="*/ 1906323 h 2965641"/>
                <a:gd name="connsiteX30" fmla="*/ 3198663 w 4797676"/>
                <a:gd name="connsiteY30" fmla="*/ 1906323 h 2965641"/>
                <a:gd name="connsiteX31" fmla="*/ 3198663 w 4797676"/>
                <a:gd name="connsiteY31" fmla="*/ 1023472 h 2965641"/>
                <a:gd name="connsiteX32" fmla="*/ 2848694 w 4797676"/>
                <a:gd name="connsiteY32" fmla="*/ 673503 h 2965641"/>
                <a:gd name="connsiteX33" fmla="*/ 2693642 w 4797676"/>
                <a:gd name="connsiteY33" fmla="*/ 673503 h 2965641"/>
                <a:gd name="connsiteX34" fmla="*/ 2678138 w 4797676"/>
                <a:gd name="connsiteY34" fmla="*/ 623558 h 2965641"/>
                <a:gd name="connsiteX35" fmla="*/ 2398838 w 4797676"/>
                <a:gd name="connsiteY35" fmla="*/ 438425 h 2965641"/>
                <a:gd name="connsiteX36" fmla="*/ 2095717 w 4797676"/>
                <a:gd name="connsiteY36" fmla="*/ 741546 h 2965641"/>
                <a:gd name="connsiteX37" fmla="*/ 2398838 w 4797676"/>
                <a:gd name="connsiteY37" fmla="*/ 1044667 h 2965641"/>
                <a:gd name="connsiteX38" fmla="*/ 2678138 w 4797676"/>
                <a:gd name="connsiteY38" fmla="*/ 859535 h 2965641"/>
                <a:gd name="connsiteX39" fmla="*/ 2691994 w 4797676"/>
                <a:gd name="connsiteY39" fmla="*/ 814899 h 2965641"/>
                <a:gd name="connsiteX40" fmla="*/ 2848694 w 4797676"/>
                <a:gd name="connsiteY40" fmla="*/ 814899 h 2965641"/>
                <a:gd name="connsiteX41" fmla="*/ 3057267 w 4797676"/>
                <a:gd name="connsiteY41" fmla="*/ 1023472 h 2965641"/>
                <a:gd name="connsiteX42" fmla="*/ 3057267 w 4797676"/>
                <a:gd name="connsiteY42" fmla="*/ 2831854 h 2965641"/>
                <a:gd name="connsiteX43" fmla="*/ 3026452 w 4797676"/>
                <a:gd name="connsiteY43" fmla="*/ 2829522 h 2965641"/>
                <a:gd name="connsiteX44" fmla="*/ 2906831 w 4797676"/>
                <a:gd name="connsiteY44" fmla="*/ 2801954 h 2965641"/>
                <a:gd name="connsiteX45" fmla="*/ 2894804 w 4797676"/>
                <a:gd name="connsiteY45" fmla="*/ 2797552 h 2965641"/>
                <a:gd name="connsiteX46" fmla="*/ 2834874 w 4797676"/>
                <a:gd name="connsiteY46" fmla="*/ 2839082 h 2965641"/>
                <a:gd name="connsiteX47" fmla="*/ 2359391 w 4797676"/>
                <a:gd name="connsiteY47" fmla="*/ 2965641 h 2965641"/>
                <a:gd name="connsiteX48" fmla="*/ 1904062 w 4797676"/>
                <a:gd name="connsiteY48" fmla="*/ 2850348 h 2965641"/>
                <a:gd name="connsiteX49" fmla="*/ 1843222 w 4797676"/>
                <a:gd name="connsiteY49" fmla="*/ 2813386 h 2965641"/>
                <a:gd name="connsiteX50" fmla="*/ 1811225 w 4797676"/>
                <a:gd name="connsiteY50" fmla="*/ 2821614 h 2965641"/>
                <a:gd name="connsiteX51" fmla="*/ 1638527 w 4797676"/>
                <a:gd name="connsiteY51" fmla="*/ 2839023 h 2965641"/>
                <a:gd name="connsiteX52" fmla="*/ 1592372 w 4797676"/>
                <a:gd name="connsiteY52" fmla="*/ 2835531 h 2965641"/>
                <a:gd name="connsiteX53" fmla="*/ 1592372 w 4797676"/>
                <a:gd name="connsiteY53" fmla="*/ 2063792 h 2965641"/>
                <a:gd name="connsiteX54" fmla="*/ 1242403 w 4797676"/>
                <a:gd name="connsiteY54" fmla="*/ 1713823 h 2965641"/>
                <a:gd name="connsiteX55" fmla="*/ 1114965 w 4797676"/>
                <a:gd name="connsiteY55" fmla="*/ 1713823 h 2965641"/>
                <a:gd name="connsiteX56" fmla="*/ 1102478 w 4797676"/>
                <a:gd name="connsiteY56" fmla="*/ 1673596 h 2965641"/>
                <a:gd name="connsiteX57" fmla="*/ 823177 w 4797676"/>
                <a:gd name="connsiteY57" fmla="*/ 1488463 h 2965641"/>
                <a:gd name="connsiteX58" fmla="*/ 520056 w 4797676"/>
                <a:gd name="connsiteY58" fmla="*/ 1791584 h 2965641"/>
                <a:gd name="connsiteX59" fmla="*/ 823177 w 4797676"/>
                <a:gd name="connsiteY59" fmla="*/ 2094705 h 2965641"/>
                <a:gd name="connsiteX60" fmla="*/ 1102478 w 4797676"/>
                <a:gd name="connsiteY60" fmla="*/ 1909572 h 2965641"/>
                <a:gd name="connsiteX61" fmla="*/ 1119350 w 4797676"/>
                <a:gd name="connsiteY61" fmla="*/ 1855219 h 2965641"/>
                <a:gd name="connsiteX62" fmla="*/ 1242403 w 4797676"/>
                <a:gd name="connsiteY62" fmla="*/ 1855219 h 2965641"/>
                <a:gd name="connsiteX63" fmla="*/ 1450976 w 4797676"/>
                <a:gd name="connsiteY63" fmla="*/ 2063792 h 2965641"/>
                <a:gd name="connsiteX64" fmla="*/ 1450976 w 4797676"/>
                <a:gd name="connsiteY64" fmla="*/ 2816001 h 2965641"/>
                <a:gd name="connsiteX65" fmla="*/ 1383708 w 4797676"/>
                <a:gd name="connsiteY65" fmla="*/ 2800498 h 2965641"/>
                <a:gd name="connsiteX66" fmla="*/ 1159420 w 4797676"/>
                <a:gd name="connsiteY66" fmla="*/ 2692676 h 2965641"/>
                <a:gd name="connsiteX67" fmla="*/ 1043130 w 4797676"/>
                <a:gd name="connsiteY67" fmla="*/ 2596728 h 2965641"/>
                <a:gd name="connsiteX68" fmla="*/ 966051 w 4797676"/>
                <a:gd name="connsiteY68" fmla="*/ 2611476 h 2965641"/>
                <a:gd name="connsiteX69" fmla="*/ 856912 w 4797676"/>
                <a:gd name="connsiteY69" fmla="*/ 2618360 h 2965641"/>
                <a:gd name="connsiteX70" fmla="*/ 0 w 4797676"/>
                <a:gd name="connsiteY70" fmla="*/ 1761448 h 2965641"/>
                <a:gd name="connsiteX71" fmla="*/ 523363 w 4797676"/>
                <a:gd name="connsiteY71" fmla="*/ 971877 h 2965641"/>
                <a:gd name="connsiteX72" fmla="*/ 594344 w 4797676"/>
                <a:gd name="connsiteY72" fmla="*/ 945897 h 2965641"/>
                <a:gd name="connsiteX73" fmla="*/ 617903 w 4797676"/>
                <a:gd name="connsiteY73" fmla="*/ 854276 h 2965641"/>
                <a:gd name="connsiteX74" fmla="*/ 1389144 w 4797676"/>
                <a:gd name="connsiteY74" fmla="*/ 181814 h 2965641"/>
                <a:gd name="connsiteX75" fmla="*/ 1488675 w 4797676"/>
                <a:gd name="connsiteY75" fmla="*/ 173657 h 2965641"/>
                <a:gd name="connsiteX76" fmla="*/ 1488675 w 4797676"/>
                <a:gd name="connsiteY76" fmla="*/ 1075362 h 2965641"/>
                <a:gd name="connsiteX77" fmla="*/ 1838644 w 4797676"/>
                <a:gd name="connsiteY77" fmla="*/ 1425331 h 2965641"/>
                <a:gd name="connsiteX78" fmla="*/ 1932112 w 4797676"/>
                <a:gd name="connsiteY78" fmla="*/ 1425331 h 2965641"/>
                <a:gd name="connsiteX79" fmla="*/ 1932112 w 4797676"/>
                <a:gd name="connsiteY79" fmla="*/ 1423973 h 2965641"/>
                <a:gd name="connsiteX80" fmla="*/ 2048868 w 4797676"/>
                <a:gd name="connsiteY80" fmla="*/ 1423973 h 2965641"/>
                <a:gd name="connsiteX81" fmla="*/ 2257441 w 4797676"/>
                <a:gd name="connsiteY81" fmla="*/ 1632546 h 2965641"/>
                <a:gd name="connsiteX82" fmla="*/ 2257441 w 4797676"/>
                <a:gd name="connsiteY82" fmla="*/ 1815995 h 2965641"/>
                <a:gd name="connsiteX83" fmla="*/ 2213314 w 4797676"/>
                <a:gd name="connsiteY83" fmla="*/ 1829693 h 2965641"/>
                <a:gd name="connsiteX84" fmla="*/ 2028181 w 4797676"/>
                <a:gd name="connsiteY84" fmla="*/ 2108993 h 2965641"/>
                <a:gd name="connsiteX85" fmla="*/ 2331302 w 4797676"/>
                <a:gd name="connsiteY85" fmla="*/ 2412114 h 2965641"/>
                <a:gd name="connsiteX86" fmla="*/ 2634423 w 4797676"/>
                <a:gd name="connsiteY86" fmla="*/ 2108993 h 2965641"/>
                <a:gd name="connsiteX87" fmla="*/ 2449291 w 4797676"/>
                <a:gd name="connsiteY87" fmla="*/ 1829693 h 2965641"/>
                <a:gd name="connsiteX88" fmla="*/ 2398837 w 4797676"/>
                <a:gd name="connsiteY88" fmla="*/ 1814031 h 2965641"/>
                <a:gd name="connsiteX89" fmla="*/ 2398837 w 4797676"/>
                <a:gd name="connsiteY89" fmla="*/ 1632546 h 2965641"/>
                <a:gd name="connsiteX90" fmla="*/ 2048868 w 4797676"/>
                <a:gd name="connsiteY90" fmla="*/ 1282577 h 2965641"/>
                <a:gd name="connsiteX91" fmla="*/ 1932112 w 4797676"/>
                <a:gd name="connsiteY91" fmla="*/ 1282577 h 2965641"/>
                <a:gd name="connsiteX92" fmla="*/ 1932112 w 4797676"/>
                <a:gd name="connsiteY92" fmla="*/ 1283935 h 2965641"/>
                <a:gd name="connsiteX93" fmla="*/ 1838644 w 4797676"/>
                <a:gd name="connsiteY93" fmla="*/ 1283935 h 2965641"/>
                <a:gd name="connsiteX94" fmla="*/ 1630071 w 4797676"/>
                <a:gd name="connsiteY94" fmla="*/ 1075362 h 2965641"/>
                <a:gd name="connsiteX95" fmla="*/ 1630071 w 4797676"/>
                <a:gd name="connsiteY95" fmla="*/ 174337 h 2965641"/>
                <a:gd name="connsiteX96" fmla="*/ 1644199 w 4797676"/>
                <a:gd name="connsiteY96" fmla="*/ 175339 h 2965641"/>
                <a:gd name="connsiteX97" fmla="*/ 1679338 w 4797676"/>
                <a:gd name="connsiteY97" fmla="*/ 146347 h 2965641"/>
                <a:gd name="connsiteX98" fmla="*/ 2158445 w 4797676"/>
                <a:gd name="connsiteY98" fmla="*/ 0 h 2965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797676" h="2965641">
                  <a:moveTo>
                    <a:pt x="2158445" y="0"/>
                  </a:moveTo>
                  <a:cubicBezTo>
                    <a:pt x="2247181" y="0"/>
                    <a:pt x="2332767" y="13488"/>
                    <a:pt x="2413265" y="38525"/>
                  </a:cubicBezTo>
                  <a:lnTo>
                    <a:pt x="2465284" y="57564"/>
                  </a:lnTo>
                  <a:lnTo>
                    <a:pt x="2517303" y="38525"/>
                  </a:lnTo>
                  <a:cubicBezTo>
                    <a:pt x="2597800" y="13488"/>
                    <a:pt x="2683386" y="0"/>
                    <a:pt x="2772122" y="0"/>
                  </a:cubicBezTo>
                  <a:cubicBezTo>
                    <a:pt x="2949594" y="0"/>
                    <a:pt x="3114466" y="53951"/>
                    <a:pt x="3251230" y="146347"/>
                  </a:cubicBezTo>
                  <a:lnTo>
                    <a:pt x="3321549" y="204366"/>
                  </a:lnTo>
                  <a:lnTo>
                    <a:pt x="3440317" y="213352"/>
                  </a:lnTo>
                  <a:cubicBezTo>
                    <a:pt x="3772353" y="264086"/>
                    <a:pt x="4048136" y="485772"/>
                    <a:pt x="4175024" y="785768"/>
                  </a:cubicBezTo>
                  <a:lnTo>
                    <a:pt x="4224046" y="943691"/>
                  </a:lnTo>
                  <a:lnTo>
                    <a:pt x="4294098" y="969331"/>
                  </a:lnTo>
                  <a:cubicBezTo>
                    <a:pt x="4590030" y="1094499"/>
                    <a:pt x="4797676" y="1387527"/>
                    <a:pt x="4797676" y="1729053"/>
                  </a:cubicBezTo>
                  <a:cubicBezTo>
                    <a:pt x="4797676" y="2184421"/>
                    <a:pt x="4428527" y="2553570"/>
                    <a:pt x="3973159" y="2553570"/>
                  </a:cubicBezTo>
                  <a:cubicBezTo>
                    <a:pt x="3916238" y="2553570"/>
                    <a:pt x="3860664" y="2547802"/>
                    <a:pt x="3806990" y="2536819"/>
                  </a:cubicBezTo>
                  <a:lnTo>
                    <a:pt x="3788954" y="2532181"/>
                  </a:lnTo>
                  <a:lnTo>
                    <a:pt x="3735039" y="2597527"/>
                  </a:lnTo>
                  <a:cubicBezTo>
                    <a:pt x="3604481" y="2728084"/>
                    <a:pt x="3430344" y="2815061"/>
                    <a:pt x="3236319" y="2834765"/>
                  </a:cubicBezTo>
                  <a:lnTo>
                    <a:pt x="3198663" y="2836667"/>
                  </a:lnTo>
                  <a:lnTo>
                    <a:pt x="3198663" y="2047719"/>
                  </a:lnTo>
                  <a:lnTo>
                    <a:pt x="3643486" y="2047719"/>
                  </a:lnTo>
                  <a:cubicBezTo>
                    <a:pt x="3788448" y="2047719"/>
                    <a:pt x="3912824" y="1959583"/>
                    <a:pt x="3965953" y="1833974"/>
                  </a:cubicBezTo>
                  <a:lnTo>
                    <a:pt x="3978158" y="1794656"/>
                  </a:lnTo>
                  <a:lnTo>
                    <a:pt x="4018763" y="1782051"/>
                  </a:lnTo>
                  <a:cubicBezTo>
                    <a:pt x="4127557" y="1736035"/>
                    <a:pt x="4203895" y="1628308"/>
                    <a:pt x="4203895" y="1502751"/>
                  </a:cubicBezTo>
                  <a:cubicBezTo>
                    <a:pt x="4203895" y="1335342"/>
                    <a:pt x="4068183" y="1199630"/>
                    <a:pt x="3900774" y="1199630"/>
                  </a:cubicBezTo>
                  <a:cubicBezTo>
                    <a:pt x="3733365" y="1199630"/>
                    <a:pt x="3597653" y="1335342"/>
                    <a:pt x="3597653" y="1502751"/>
                  </a:cubicBezTo>
                  <a:cubicBezTo>
                    <a:pt x="3597653" y="1628308"/>
                    <a:pt x="3673991" y="1736035"/>
                    <a:pt x="3782786" y="1782051"/>
                  </a:cubicBezTo>
                  <a:lnTo>
                    <a:pt x="3825697" y="1795372"/>
                  </a:lnTo>
                  <a:lnTo>
                    <a:pt x="3804431" y="1830422"/>
                  </a:lnTo>
                  <a:cubicBezTo>
                    <a:pt x="3766176" y="1876777"/>
                    <a:pt x="3708282" y="1906323"/>
                    <a:pt x="3643486" y="1906323"/>
                  </a:cubicBezTo>
                  <a:lnTo>
                    <a:pt x="3198663" y="1906323"/>
                  </a:lnTo>
                  <a:lnTo>
                    <a:pt x="3198663" y="1023472"/>
                  </a:lnTo>
                  <a:cubicBezTo>
                    <a:pt x="3198663" y="830189"/>
                    <a:pt x="3041977" y="673503"/>
                    <a:pt x="2848694" y="673503"/>
                  </a:cubicBezTo>
                  <a:lnTo>
                    <a:pt x="2693642" y="673503"/>
                  </a:lnTo>
                  <a:lnTo>
                    <a:pt x="2678138" y="623558"/>
                  </a:lnTo>
                  <a:cubicBezTo>
                    <a:pt x="2632122" y="514763"/>
                    <a:pt x="2524395" y="438425"/>
                    <a:pt x="2398838" y="438425"/>
                  </a:cubicBezTo>
                  <a:cubicBezTo>
                    <a:pt x="2231429" y="438425"/>
                    <a:pt x="2095717" y="574137"/>
                    <a:pt x="2095717" y="741546"/>
                  </a:cubicBezTo>
                  <a:cubicBezTo>
                    <a:pt x="2095717" y="908955"/>
                    <a:pt x="2231429" y="1044667"/>
                    <a:pt x="2398838" y="1044667"/>
                  </a:cubicBezTo>
                  <a:cubicBezTo>
                    <a:pt x="2524395" y="1044667"/>
                    <a:pt x="2632122" y="968329"/>
                    <a:pt x="2678138" y="859535"/>
                  </a:cubicBezTo>
                  <a:lnTo>
                    <a:pt x="2691994" y="814899"/>
                  </a:lnTo>
                  <a:lnTo>
                    <a:pt x="2848694" y="814899"/>
                  </a:lnTo>
                  <a:cubicBezTo>
                    <a:pt x="2963886" y="814899"/>
                    <a:pt x="3057267" y="908280"/>
                    <a:pt x="3057267" y="1023472"/>
                  </a:cubicBezTo>
                  <a:lnTo>
                    <a:pt x="3057267" y="2831854"/>
                  </a:lnTo>
                  <a:lnTo>
                    <a:pt x="3026452" y="2829522"/>
                  </a:lnTo>
                  <a:cubicBezTo>
                    <a:pt x="2985509" y="2823266"/>
                    <a:pt x="2945558" y="2813999"/>
                    <a:pt x="2906831" y="2801954"/>
                  </a:cubicBezTo>
                  <a:lnTo>
                    <a:pt x="2894804" y="2797552"/>
                  </a:lnTo>
                  <a:lnTo>
                    <a:pt x="2834874" y="2839082"/>
                  </a:lnTo>
                  <a:cubicBezTo>
                    <a:pt x="2694854" y="2919595"/>
                    <a:pt x="2532500" y="2965641"/>
                    <a:pt x="2359391" y="2965641"/>
                  </a:cubicBezTo>
                  <a:cubicBezTo>
                    <a:pt x="2194526" y="2965641"/>
                    <a:pt x="2039415" y="2923876"/>
                    <a:pt x="1904062" y="2850348"/>
                  </a:cubicBezTo>
                  <a:lnTo>
                    <a:pt x="1843222" y="2813386"/>
                  </a:lnTo>
                  <a:lnTo>
                    <a:pt x="1811225" y="2821614"/>
                  </a:lnTo>
                  <a:cubicBezTo>
                    <a:pt x="1755442" y="2833029"/>
                    <a:pt x="1697685" y="2839023"/>
                    <a:pt x="1638527" y="2839023"/>
                  </a:cubicBezTo>
                  <a:lnTo>
                    <a:pt x="1592372" y="2835531"/>
                  </a:lnTo>
                  <a:lnTo>
                    <a:pt x="1592372" y="2063792"/>
                  </a:lnTo>
                  <a:cubicBezTo>
                    <a:pt x="1592372" y="1870509"/>
                    <a:pt x="1435686" y="1713823"/>
                    <a:pt x="1242403" y="1713823"/>
                  </a:cubicBezTo>
                  <a:lnTo>
                    <a:pt x="1114965" y="1713823"/>
                  </a:lnTo>
                  <a:lnTo>
                    <a:pt x="1102478" y="1673596"/>
                  </a:lnTo>
                  <a:cubicBezTo>
                    <a:pt x="1056461" y="1564801"/>
                    <a:pt x="948734" y="1488463"/>
                    <a:pt x="823177" y="1488463"/>
                  </a:cubicBezTo>
                  <a:cubicBezTo>
                    <a:pt x="655768" y="1488463"/>
                    <a:pt x="520056" y="1624175"/>
                    <a:pt x="520056" y="1791584"/>
                  </a:cubicBezTo>
                  <a:cubicBezTo>
                    <a:pt x="520056" y="1958993"/>
                    <a:pt x="655768" y="2094705"/>
                    <a:pt x="823177" y="2094705"/>
                  </a:cubicBezTo>
                  <a:cubicBezTo>
                    <a:pt x="948734" y="2094705"/>
                    <a:pt x="1056461" y="2018367"/>
                    <a:pt x="1102478" y="1909572"/>
                  </a:cubicBezTo>
                  <a:lnTo>
                    <a:pt x="1119350" y="1855219"/>
                  </a:lnTo>
                  <a:lnTo>
                    <a:pt x="1242403" y="1855219"/>
                  </a:lnTo>
                  <a:cubicBezTo>
                    <a:pt x="1357595" y="1855219"/>
                    <a:pt x="1450976" y="1948600"/>
                    <a:pt x="1450976" y="2063792"/>
                  </a:cubicBezTo>
                  <a:lnTo>
                    <a:pt x="1450976" y="2816001"/>
                  </a:lnTo>
                  <a:lnTo>
                    <a:pt x="1383708" y="2800498"/>
                  </a:lnTo>
                  <a:cubicBezTo>
                    <a:pt x="1303211" y="2775461"/>
                    <a:pt x="1227802" y="2738874"/>
                    <a:pt x="1159420" y="2692676"/>
                  </a:cubicBezTo>
                  <a:lnTo>
                    <a:pt x="1043130" y="2596728"/>
                  </a:lnTo>
                  <a:lnTo>
                    <a:pt x="966051" y="2611476"/>
                  </a:lnTo>
                  <a:cubicBezTo>
                    <a:pt x="930312" y="2616019"/>
                    <a:pt x="893886" y="2618360"/>
                    <a:pt x="856912" y="2618360"/>
                  </a:cubicBezTo>
                  <a:cubicBezTo>
                    <a:pt x="383653" y="2618360"/>
                    <a:pt x="0" y="2234707"/>
                    <a:pt x="0" y="1761448"/>
                  </a:cubicBezTo>
                  <a:cubicBezTo>
                    <a:pt x="0" y="1406504"/>
                    <a:pt x="215805" y="1101963"/>
                    <a:pt x="523363" y="971877"/>
                  </a:cubicBezTo>
                  <a:lnTo>
                    <a:pt x="594344" y="945897"/>
                  </a:lnTo>
                  <a:lnTo>
                    <a:pt x="617903" y="854276"/>
                  </a:lnTo>
                  <a:cubicBezTo>
                    <a:pt x="726008" y="506709"/>
                    <a:pt x="1023194" y="242448"/>
                    <a:pt x="1389144" y="181814"/>
                  </a:cubicBezTo>
                  <a:lnTo>
                    <a:pt x="1488675" y="173657"/>
                  </a:lnTo>
                  <a:lnTo>
                    <a:pt x="1488675" y="1075362"/>
                  </a:lnTo>
                  <a:cubicBezTo>
                    <a:pt x="1488675" y="1268645"/>
                    <a:pt x="1645361" y="1425331"/>
                    <a:pt x="1838644" y="1425331"/>
                  </a:cubicBezTo>
                  <a:lnTo>
                    <a:pt x="1932112" y="1425331"/>
                  </a:lnTo>
                  <a:lnTo>
                    <a:pt x="1932112" y="1423973"/>
                  </a:lnTo>
                  <a:lnTo>
                    <a:pt x="2048868" y="1423973"/>
                  </a:lnTo>
                  <a:cubicBezTo>
                    <a:pt x="2164060" y="1423973"/>
                    <a:pt x="2257441" y="1517354"/>
                    <a:pt x="2257441" y="1632546"/>
                  </a:cubicBezTo>
                  <a:lnTo>
                    <a:pt x="2257441" y="1815995"/>
                  </a:lnTo>
                  <a:lnTo>
                    <a:pt x="2213314" y="1829693"/>
                  </a:lnTo>
                  <a:cubicBezTo>
                    <a:pt x="2104519" y="1875709"/>
                    <a:pt x="2028181" y="1983436"/>
                    <a:pt x="2028181" y="2108993"/>
                  </a:cubicBezTo>
                  <a:cubicBezTo>
                    <a:pt x="2028181" y="2276402"/>
                    <a:pt x="2163893" y="2412114"/>
                    <a:pt x="2331302" y="2412114"/>
                  </a:cubicBezTo>
                  <a:cubicBezTo>
                    <a:pt x="2498711" y="2412114"/>
                    <a:pt x="2634423" y="2276402"/>
                    <a:pt x="2634423" y="2108993"/>
                  </a:cubicBezTo>
                  <a:cubicBezTo>
                    <a:pt x="2634423" y="1983436"/>
                    <a:pt x="2558085" y="1875709"/>
                    <a:pt x="2449291" y="1829693"/>
                  </a:cubicBezTo>
                  <a:lnTo>
                    <a:pt x="2398837" y="1814031"/>
                  </a:lnTo>
                  <a:lnTo>
                    <a:pt x="2398837" y="1632546"/>
                  </a:lnTo>
                  <a:cubicBezTo>
                    <a:pt x="2398837" y="1439263"/>
                    <a:pt x="2242151" y="1282577"/>
                    <a:pt x="2048868" y="1282577"/>
                  </a:cubicBezTo>
                  <a:lnTo>
                    <a:pt x="1932112" y="1282577"/>
                  </a:lnTo>
                  <a:lnTo>
                    <a:pt x="1932112" y="1283935"/>
                  </a:lnTo>
                  <a:lnTo>
                    <a:pt x="1838644" y="1283935"/>
                  </a:lnTo>
                  <a:cubicBezTo>
                    <a:pt x="1723452" y="1283935"/>
                    <a:pt x="1630071" y="1190554"/>
                    <a:pt x="1630071" y="1075362"/>
                  </a:cubicBezTo>
                  <a:lnTo>
                    <a:pt x="1630071" y="174337"/>
                  </a:lnTo>
                  <a:lnTo>
                    <a:pt x="1644199" y="175339"/>
                  </a:lnTo>
                  <a:lnTo>
                    <a:pt x="1679338" y="146347"/>
                  </a:lnTo>
                  <a:cubicBezTo>
                    <a:pt x="1816102" y="53951"/>
                    <a:pt x="1980973" y="0"/>
                    <a:pt x="2158445" y="0"/>
                  </a:cubicBez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A50D0A1-5908-4AA5-B4B7-9847E269FAB5}"/>
                </a:ext>
              </a:extLst>
            </p:cNvPr>
            <p:cNvSpPr/>
            <p:nvPr/>
          </p:nvSpPr>
          <p:spPr bwMode="auto">
            <a:xfrm>
              <a:off x="5916643" y="2233645"/>
              <a:ext cx="358714" cy="358714"/>
            </a:xfrm>
            <a:custGeom>
              <a:avLst/>
              <a:gdLst>
                <a:gd name="connsiteX0" fmla="*/ 179357 w 358714"/>
                <a:gd name="connsiteY0" fmla="*/ 0 h 358714"/>
                <a:gd name="connsiteX1" fmla="*/ 358714 w 358714"/>
                <a:gd name="connsiteY1" fmla="*/ 179357 h 358714"/>
                <a:gd name="connsiteX2" fmla="*/ 179357 w 358714"/>
                <a:gd name="connsiteY2" fmla="*/ 358714 h 358714"/>
                <a:gd name="connsiteX3" fmla="*/ 0 w 358714"/>
                <a:gd name="connsiteY3" fmla="*/ 179357 h 358714"/>
                <a:gd name="connsiteX4" fmla="*/ 179357 w 358714"/>
                <a:gd name="connsiteY4" fmla="*/ 0 h 35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714" h="358714">
                  <a:moveTo>
                    <a:pt x="179357" y="0"/>
                  </a:moveTo>
                  <a:cubicBezTo>
                    <a:pt x="278413" y="0"/>
                    <a:pt x="358714" y="80301"/>
                    <a:pt x="358714" y="179357"/>
                  </a:cubicBezTo>
                  <a:cubicBezTo>
                    <a:pt x="358714" y="278413"/>
                    <a:pt x="278413" y="358714"/>
                    <a:pt x="179357" y="358714"/>
                  </a:cubicBezTo>
                  <a:cubicBezTo>
                    <a:pt x="80301" y="358714"/>
                    <a:pt x="0" y="278413"/>
                    <a:pt x="0" y="179357"/>
                  </a:cubicBezTo>
                  <a:cubicBezTo>
                    <a:pt x="0" y="80301"/>
                    <a:pt x="80301" y="0"/>
                    <a:pt x="179357" y="0"/>
                  </a:cubicBezTo>
                  <a:close/>
                </a:path>
              </a:pathLst>
            </a:cu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F4B45C54-5771-4EBC-B810-298FC2549026}"/>
                </a:ext>
              </a:extLst>
            </p:cNvPr>
            <p:cNvSpPr/>
            <p:nvPr/>
          </p:nvSpPr>
          <p:spPr bwMode="auto">
            <a:xfrm>
              <a:off x="7418579" y="2994850"/>
              <a:ext cx="358714" cy="358714"/>
            </a:xfrm>
            <a:custGeom>
              <a:avLst/>
              <a:gdLst>
                <a:gd name="connsiteX0" fmla="*/ 179357 w 358714"/>
                <a:gd name="connsiteY0" fmla="*/ 0 h 358714"/>
                <a:gd name="connsiteX1" fmla="*/ 358714 w 358714"/>
                <a:gd name="connsiteY1" fmla="*/ 179357 h 358714"/>
                <a:gd name="connsiteX2" fmla="*/ 179357 w 358714"/>
                <a:gd name="connsiteY2" fmla="*/ 358714 h 358714"/>
                <a:gd name="connsiteX3" fmla="*/ 0 w 358714"/>
                <a:gd name="connsiteY3" fmla="*/ 179357 h 358714"/>
                <a:gd name="connsiteX4" fmla="*/ 179357 w 358714"/>
                <a:gd name="connsiteY4" fmla="*/ 0 h 35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714" h="358714">
                  <a:moveTo>
                    <a:pt x="179357" y="0"/>
                  </a:moveTo>
                  <a:cubicBezTo>
                    <a:pt x="278413" y="0"/>
                    <a:pt x="358714" y="80301"/>
                    <a:pt x="358714" y="179357"/>
                  </a:cubicBezTo>
                  <a:cubicBezTo>
                    <a:pt x="358714" y="278413"/>
                    <a:pt x="278413" y="358714"/>
                    <a:pt x="179357" y="358714"/>
                  </a:cubicBezTo>
                  <a:cubicBezTo>
                    <a:pt x="80301" y="358714"/>
                    <a:pt x="0" y="278413"/>
                    <a:pt x="0" y="179357"/>
                  </a:cubicBezTo>
                  <a:cubicBezTo>
                    <a:pt x="0" y="80301"/>
                    <a:pt x="80301" y="0"/>
                    <a:pt x="179357" y="0"/>
                  </a:cubicBezTo>
                  <a:close/>
                </a:path>
              </a:pathLst>
            </a:cu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0802DD4E-04C3-4D3A-BB04-AA0C5E8ECDDF}"/>
                </a:ext>
              </a:extLst>
            </p:cNvPr>
            <p:cNvSpPr/>
            <p:nvPr/>
          </p:nvSpPr>
          <p:spPr bwMode="auto">
            <a:xfrm>
              <a:off x="4340982" y="3283683"/>
              <a:ext cx="358714" cy="358714"/>
            </a:xfrm>
            <a:custGeom>
              <a:avLst/>
              <a:gdLst>
                <a:gd name="connsiteX0" fmla="*/ 179357 w 358714"/>
                <a:gd name="connsiteY0" fmla="*/ 0 h 358714"/>
                <a:gd name="connsiteX1" fmla="*/ 358714 w 358714"/>
                <a:gd name="connsiteY1" fmla="*/ 179357 h 358714"/>
                <a:gd name="connsiteX2" fmla="*/ 179357 w 358714"/>
                <a:gd name="connsiteY2" fmla="*/ 358714 h 358714"/>
                <a:gd name="connsiteX3" fmla="*/ 0 w 358714"/>
                <a:gd name="connsiteY3" fmla="*/ 179357 h 358714"/>
                <a:gd name="connsiteX4" fmla="*/ 179357 w 358714"/>
                <a:gd name="connsiteY4" fmla="*/ 0 h 35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714" h="358714">
                  <a:moveTo>
                    <a:pt x="179357" y="0"/>
                  </a:moveTo>
                  <a:cubicBezTo>
                    <a:pt x="278413" y="0"/>
                    <a:pt x="358714" y="80301"/>
                    <a:pt x="358714" y="179357"/>
                  </a:cubicBezTo>
                  <a:cubicBezTo>
                    <a:pt x="358714" y="278413"/>
                    <a:pt x="278413" y="358714"/>
                    <a:pt x="179357" y="358714"/>
                  </a:cubicBezTo>
                  <a:cubicBezTo>
                    <a:pt x="80301" y="358714"/>
                    <a:pt x="0" y="278413"/>
                    <a:pt x="0" y="179357"/>
                  </a:cubicBezTo>
                  <a:cubicBezTo>
                    <a:pt x="0" y="80301"/>
                    <a:pt x="80301" y="0"/>
                    <a:pt x="179357" y="0"/>
                  </a:cubicBezTo>
                  <a:close/>
                </a:path>
              </a:pathLst>
            </a:cu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FBDD5A01-3193-4CB7-A71B-3FC66B89586C}"/>
                </a:ext>
              </a:extLst>
            </p:cNvPr>
            <p:cNvSpPr/>
            <p:nvPr/>
          </p:nvSpPr>
          <p:spPr bwMode="auto">
            <a:xfrm>
              <a:off x="5849107" y="3601092"/>
              <a:ext cx="358714" cy="358714"/>
            </a:xfrm>
            <a:custGeom>
              <a:avLst/>
              <a:gdLst>
                <a:gd name="connsiteX0" fmla="*/ 179357 w 358714"/>
                <a:gd name="connsiteY0" fmla="*/ 0 h 358714"/>
                <a:gd name="connsiteX1" fmla="*/ 358714 w 358714"/>
                <a:gd name="connsiteY1" fmla="*/ 179357 h 358714"/>
                <a:gd name="connsiteX2" fmla="*/ 179357 w 358714"/>
                <a:gd name="connsiteY2" fmla="*/ 358714 h 358714"/>
                <a:gd name="connsiteX3" fmla="*/ 0 w 358714"/>
                <a:gd name="connsiteY3" fmla="*/ 179357 h 358714"/>
                <a:gd name="connsiteX4" fmla="*/ 179357 w 358714"/>
                <a:gd name="connsiteY4" fmla="*/ 0 h 35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714" h="358714">
                  <a:moveTo>
                    <a:pt x="179357" y="0"/>
                  </a:moveTo>
                  <a:cubicBezTo>
                    <a:pt x="278413" y="0"/>
                    <a:pt x="358714" y="80301"/>
                    <a:pt x="358714" y="179357"/>
                  </a:cubicBezTo>
                  <a:cubicBezTo>
                    <a:pt x="358714" y="278413"/>
                    <a:pt x="278413" y="358714"/>
                    <a:pt x="179357" y="358714"/>
                  </a:cubicBezTo>
                  <a:cubicBezTo>
                    <a:pt x="80301" y="358714"/>
                    <a:pt x="0" y="278413"/>
                    <a:pt x="0" y="179357"/>
                  </a:cubicBezTo>
                  <a:cubicBezTo>
                    <a:pt x="0" y="80301"/>
                    <a:pt x="80301" y="0"/>
                    <a:pt x="179357" y="0"/>
                  </a:cubicBezTo>
                  <a:close/>
                </a:path>
              </a:pathLst>
            </a:cu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0" name="storage 1" descr="storage">
            <a:extLst>
              <a:ext uri="{FF2B5EF4-FFF2-40B4-BE49-F238E27FC236}">
                <a16:creationId xmlns:a16="http://schemas.microsoft.com/office/drawing/2014/main" id="{F6157AA5-F2ED-42A0-AEDE-E904A722DF04}"/>
              </a:ext>
            </a:extLst>
          </p:cNvPr>
          <p:cNvGrpSpPr>
            <a:grpSpLocks noChangeAspect="1"/>
          </p:cNvGrpSpPr>
          <p:nvPr/>
        </p:nvGrpSpPr>
        <p:grpSpPr>
          <a:xfrm>
            <a:off x="496013" y="5535033"/>
            <a:ext cx="330010" cy="358972"/>
            <a:chOff x="4501240" y="2176494"/>
            <a:chExt cx="344605" cy="374856"/>
          </a:xfrm>
        </p:grpSpPr>
        <p:sp>
          <p:nvSpPr>
            <p:cNvPr id="181" name="Freeform 5">
              <a:extLst>
                <a:ext uri="{FF2B5EF4-FFF2-40B4-BE49-F238E27FC236}">
                  <a16:creationId xmlns:a16="http://schemas.microsoft.com/office/drawing/2014/main" id="{E54995C9-1BCB-47C6-BAA9-E742282C2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7816" y="2180440"/>
              <a:ext cx="328821" cy="118376"/>
            </a:xfrm>
            <a:custGeom>
              <a:avLst/>
              <a:gdLst>
                <a:gd name="T0" fmla="*/ 335 w 335"/>
                <a:gd name="T1" fmla="*/ 120 h 120"/>
                <a:gd name="T2" fmla="*/ 5 w 335"/>
                <a:gd name="T3" fmla="*/ 120 h 120"/>
                <a:gd name="T4" fmla="*/ 5 w 335"/>
                <a:gd name="T5" fmla="*/ 46 h 120"/>
                <a:gd name="T6" fmla="*/ 166 w 335"/>
                <a:gd name="T7" fmla="*/ 5 h 120"/>
                <a:gd name="T8" fmla="*/ 335 w 335"/>
                <a:gd name="T9" fmla="*/ 46 h 120"/>
                <a:gd name="T10" fmla="*/ 335 w 335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120">
                  <a:moveTo>
                    <a:pt x="335" y="120"/>
                  </a:moveTo>
                  <a:cubicBezTo>
                    <a:pt x="5" y="120"/>
                    <a:pt x="5" y="120"/>
                    <a:pt x="5" y="120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0" y="10"/>
                    <a:pt x="166" y="5"/>
                  </a:cubicBezTo>
                  <a:cubicBezTo>
                    <a:pt x="331" y="0"/>
                    <a:pt x="335" y="46"/>
                    <a:pt x="335" y="46"/>
                  </a:cubicBezTo>
                  <a:lnTo>
                    <a:pt x="335" y="12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82" name="Freeform 6">
              <a:extLst>
                <a:ext uri="{FF2B5EF4-FFF2-40B4-BE49-F238E27FC236}">
                  <a16:creationId xmlns:a16="http://schemas.microsoft.com/office/drawing/2014/main" id="{F5DEBC8D-4B35-4021-A374-C954D4415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1240" y="2176494"/>
              <a:ext cx="344605" cy="172302"/>
            </a:xfrm>
            <a:custGeom>
              <a:avLst/>
              <a:gdLst>
                <a:gd name="T0" fmla="*/ 176 w 351"/>
                <a:gd name="T1" fmla="*/ 176 h 176"/>
                <a:gd name="T2" fmla="*/ 308 w 351"/>
                <a:gd name="T3" fmla="*/ 162 h 176"/>
                <a:gd name="T4" fmla="*/ 338 w 351"/>
                <a:gd name="T5" fmla="*/ 151 h 176"/>
                <a:gd name="T6" fmla="*/ 350 w 351"/>
                <a:gd name="T7" fmla="*/ 142 h 176"/>
                <a:gd name="T8" fmla="*/ 350 w 351"/>
                <a:gd name="T9" fmla="*/ 140 h 176"/>
                <a:gd name="T10" fmla="*/ 350 w 351"/>
                <a:gd name="T11" fmla="*/ 50 h 176"/>
                <a:gd name="T12" fmla="*/ 350 w 351"/>
                <a:gd name="T13" fmla="*/ 48 h 176"/>
                <a:gd name="T14" fmla="*/ 175 w 351"/>
                <a:gd name="T15" fmla="*/ 0 h 176"/>
                <a:gd name="T16" fmla="*/ 0 w 351"/>
                <a:gd name="T17" fmla="*/ 49 h 176"/>
                <a:gd name="T18" fmla="*/ 0 w 351"/>
                <a:gd name="T19" fmla="*/ 51 h 176"/>
                <a:gd name="T20" fmla="*/ 0 w 351"/>
                <a:gd name="T21" fmla="*/ 140 h 176"/>
                <a:gd name="T22" fmla="*/ 2 w 351"/>
                <a:gd name="T23" fmla="*/ 144 h 176"/>
                <a:gd name="T24" fmla="*/ 176 w 351"/>
                <a:gd name="T25" fmla="*/ 176 h 176"/>
                <a:gd name="T26" fmla="*/ 175 w 351"/>
                <a:gd name="T27" fmla="*/ 17 h 176"/>
                <a:gd name="T28" fmla="*/ 334 w 351"/>
                <a:gd name="T29" fmla="*/ 49 h 176"/>
                <a:gd name="T30" fmla="*/ 175 w 351"/>
                <a:gd name="T31" fmla="*/ 81 h 176"/>
                <a:gd name="T32" fmla="*/ 16 w 351"/>
                <a:gd name="T33" fmla="*/ 49 h 176"/>
                <a:gd name="T34" fmla="*/ 175 w 351"/>
                <a:gd name="T35" fmla="*/ 1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1" h="176">
                  <a:moveTo>
                    <a:pt x="176" y="176"/>
                  </a:moveTo>
                  <a:cubicBezTo>
                    <a:pt x="235" y="176"/>
                    <a:pt x="280" y="170"/>
                    <a:pt x="308" y="162"/>
                  </a:cubicBezTo>
                  <a:cubicBezTo>
                    <a:pt x="325" y="157"/>
                    <a:pt x="330" y="155"/>
                    <a:pt x="338" y="151"/>
                  </a:cubicBezTo>
                  <a:cubicBezTo>
                    <a:pt x="343" y="148"/>
                    <a:pt x="347" y="146"/>
                    <a:pt x="350" y="142"/>
                  </a:cubicBezTo>
                  <a:cubicBezTo>
                    <a:pt x="350" y="142"/>
                    <a:pt x="350" y="141"/>
                    <a:pt x="350" y="140"/>
                  </a:cubicBezTo>
                  <a:cubicBezTo>
                    <a:pt x="350" y="50"/>
                    <a:pt x="350" y="50"/>
                    <a:pt x="350" y="50"/>
                  </a:cubicBezTo>
                  <a:cubicBezTo>
                    <a:pt x="350" y="50"/>
                    <a:pt x="350" y="49"/>
                    <a:pt x="350" y="48"/>
                  </a:cubicBezTo>
                  <a:cubicBezTo>
                    <a:pt x="351" y="15"/>
                    <a:pt x="260" y="0"/>
                    <a:pt x="175" y="0"/>
                  </a:cubicBezTo>
                  <a:cubicBezTo>
                    <a:pt x="91" y="0"/>
                    <a:pt x="0" y="15"/>
                    <a:pt x="0" y="49"/>
                  </a:cubicBezTo>
                  <a:cubicBezTo>
                    <a:pt x="0" y="50"/>
                    <a:pt x="0" y="50"/>
                    <a:pt x="0" y="5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2"/>
                    <a:pt x="1" y="143"/>
                    <a:pt x="2" y="144"/>
                  </a:cubicBezTo>
                  <a:cubicBezTo>
                    <a:pt x="18" y="157"/>
                    <a:pt x="82" y="176"/>
                    <a:pt x="176" y="176"/>
                  </a:cubicBezTo>
                  <a:close/>
                  <a:moveTo>
                    <a:pt x="175" y="17"/>
                  </a:moveTo>
                  <a:cubicBezTo>
                    <a:pt x="278" y="17"/>
                    <a:pt x="334" y="38"/>
                    <a:pt x="334" y="49"/>
                  </a:cubicBezTo>
                  <a:cubicBezTo>
                    <a:pt x="334" y="60"/>
                    <a:pt x="278" y="81"/>
                    <a:pt x="175" y="81"/>
                  </a:cubicBezTo>
                  <a:cubicBezTo>
                    <a:pt x="72" y="81"/>
                    <a:pt x="16" y="60"/>
                    <a:pt x="16" y="49"/>
                  </a:cubicBezTo>
                  <a:cubicBezTo>
                    <a:pt x="16" y="38"/>
                    <a:pt x="73" y="17"/>
                    <a:pt x="175" y="17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83" name="Freeform 7">
              <a:extLst>
                <a:ext uri="{FF2B5EF4-FFF2-40B4-BE49-F238E27FC236}">
                  <a16:creationId xmlns:a16="http://schemas.microsoft.com/office/drawing/2014/main" id="{4B34A64C-AAF6-4B06-9771-E6CA9D86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240" y="2329066"/>
              <a:ext cx="344605" cy="123637"/>
            </a:xfrm>
            <a:custGeom>
              <a:avLst/>
              <a:gdLst>
                <a:gd name="T0" fmla="*/ 176 w 350"/>
                <a:gd name="T1" fmla="*/ 126 h 126"/>
                <a:gd name="T2" fmla="*/ 309 w 350"/>
                <a:gd name="T3" fmla="*/ 111 h 126"/>
                <a:gd name="T4" fmla="*/ 339 w 350"/>
                <a:gd name="T5" fmla="*/ 99 h 126"/>
                <a:gd name="T6" fmla="*/ 350 w 350"/>
                <a:gd name="T7" fmla="*/ 90 h 126"/>
                <a:gd name="T8" fmla="*/ 350 w 350"/>
                <a:gd name="T9" fmla="*/ 0 h 126"/>
                <a:gd name="T10" fmla="*/ 341 w 350"/>
                <a:gd name="T11" fmla="*/ 5 h 126"/>
                <a:gd name="T12" fmla="*/ 176 w 350"/>
                <a:gd name="T13" fmla="*/ 31 h 126"/>
                <a:gd name="T14" fmla="*/ 4 w 350"/>
                <a:gd name="T15" fmla="*/ 3 h 126"/>
                <a:gd name="T16" fmla="*/ 0 w 350"/>
                <a:gd name="T17" fmla="*/ 0 h 126"/>
                <a:gd name="T18" fmla="*/ 0 w 350"/>
                <a:gd name="T19" fmla="*/ 91 h 126"/>
                <a:gd name="T20" fmla="*/ 176 w 350"/>
                <a:gd name="T21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0" h="126">
                  <a:moveTo>
                    <a:pt x="176" y="126"/>
                  </a:moveTo>
                  <a:cubicBezTo>
                    <a:pt x="236" y="126"/>
                    <a:pt x="280" y="119"/>
                    <a:pt x="309" y="111"/>
                  </a:cubicBezTo>
                  <a:cubicBezTo>
                    <a:pt x="325" y="107"/>
                    <a:pt x="332" y="104"/>
                    <a:pt x="339" y="99"/>
                  </a:cubicBezTo>
                  <a:cubicBezTo>
                    <a:pt x="344" y="96"/>
                    <a:pt x="348" y="94"/>
                    <a:pt x="350" y="9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48" y="2"/>
                    <a:pt x="344" y="3"/>
                    <a:pt x="341" y="5"/>
                  </a:cubicBezTo>
                  <a:cubicBezTo>
                    <a:pt x="308" y="24"/>
                    <a:pt x="240" y="31"/>
                    <a:pt x="176" y="31"/>
                  </a:cubicBezTo>
                  <a:cubicBezTo>
                    <a:pt x="110" y="31"/>
                    <a:pt x="36" y="22"/>
                    <a:pt x="4" y="3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1" y="104"/>
                    <a:pt x="77" y="126"/>
                    <a:pt x="176" y="126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84" name="Freeform 8">
              <a:extLst>
                <a:ext uri="{FF2B5EF4-FFF2-40B4-BE49-F238E27FC236}">
                  <a16:creationId xmlns:a16="http://schemas.microsoft.com/office/drawing/2014/main" id="{62153F5D-BFE3-461B-91F2-4B3B108DB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240" y="2432974"/>
              <a:ext cx="344605" cy="118376"/>
            </a:xfrm>
            <a:custGeom>
              <a:avLst/>
              <a:gdLst>
                <a:gd name="T0" fmla="*/ 176 w 351"/>
                <a:gd name="T1" fmla="*/ 31 h 121"/>
                <a:gd name="T2" fmla="*/ 4 w 351"/>
                <a:gd name="T3" fmla="*/ 3 h 121"/>
                <a:gd name="T4" fmla="*/ 0 w 351"/>
                <a:gd name="T5" fmla="*/ 0 h 121"/>
                <a:gd name="T6" fmla="*/ 0 w 351"/>
                <a:gd name="T7" fmla="*/ 71 h 121"/>
                <a:gd name="T8" fmla="*/ 0 w 351"/>
                <a:gd name="T9" fmla="*/ 73 h 121"/>
                <a:gd name="T10" fmla="*/ 175 w 351"/>
                <a:gd name="T11" fmla="*/ 121 h 121"/>
                <a:gd name="T12" fmla="*/ 351 w 351"/>
                <a:gd name="T13" fmla="*/ 73 h 121"/>
                <a:gd name="T14" fmla="*/ 351 w 351"/>
                <a:gd name="T15" fmla="*/ 72 h 121"/>
                <a:gd name="T16" fmla="*/ 351 w 351"/>
                <a:gd name="T17" fmla="*/ 0 h 121"/>
                <a:gd name="T18" fmla="*/ 342 w 351"/>
                <a:gd name="T19" fmla="*/ 6 h 121"/>
                <a:gd name="T20" fmla="*/ 318 w 351"/>
                <a:gd name="T21" fmla="*/ 15 h 121"/>
                <a:gd name="T22" fmla="*/ 176 w 351"/>
                <a:gd name="T23" fmla="*/ 3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1" h="121">
                  <a:moveTo>
                    <a:pt x="176" y="31"/>
                  </a:moveTo>
                  <a:cubicBezTo>
                    <a:pt x="110" y="31"/>
                    <a:pt x="36" y="22"/>
                    <a:pt x="4" y="3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2"/>
                    <a:pt x="0" y="72"/>
                    <a:pt x="0" y="73"/>
                  </a:cubicBezTo>
                  <a:cubicBezTo>
                    <a:pt x="0" y="106"/>
                    <a:pt x="91" y="121"/>
                    <a:pt x="175" y="121"/>
                  </a:cubicBezTo>
                  <a:cubicBezTo>
                    <a:pt x="260" y="121"/>
                    <a:pt x="351" y="106"/>
                    <a:pt x="351" y="73"/>
                  </a:cubicBezTo>
                  <a:cubicBezTo>
                    <a:pt x="351" y="72"/>
                    <a:pt x="351" y="72"/>
                    <a:pt x="351" y="72"/>
                  </a:cubicBezTo>
                  <a:cubicBezTo>
                    <a:pt x="351" y="0"/>
                    <a:pt x="351" y="0"/>
                    <a:pt x="351" y="0"/>
                  </a:cubicBezTo>
                  <a:cubicBezTo>
                    <a:pt x="348" y="2"/>
                    <a:pt x="346" y="3"/>
                    <a:pt x="342" y="6"/>
                  </a:cubicBezTo>
                  <a:cubicBezTo>
                    <a:pt x="335" y="9"/>
                    <a:pt x="327" y="12"/>
                    <a:pt x="318" y="15"/>
                  </a:cubicBezTo>
                  <a:cubicBezTo>
                    <a:pt x="281" y="26"/>
                    <a:pt x="227" y="31"/>
                    <a:pt x="176" y="31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 fontAlgn="base">
                <a:defRPr/>
              </a:pPr>
              <a:endParaRPr lang="en-US" sz="1667" kern="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185" name="connect modularity 4" descr="connect modularity">
            <a:extLst>
              <a:ext uri="{FF2B5EF4-FFF2-40B4-BE49-F238E27FC236}">
                <a16:creationId xmlns:a16="http://schemas.microsoft.com/office/drawing/2014/main" id="{44A5A071-677E-43F3-939F-BE62AE7AAB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2451" y="3219641"/>
            <a:ext cx="457135" cy="457135"/>
            <a:chOff x="4557" y="3028"/>
            <a:chExt cx="329" cy="329"/>
          </a:xfrm>
        </p:grpSpPr>
        <p:sp>
          <p:nvSpPr>
            <p:cNvPr id="186" name="AutoShape 174">
              <a:extLst>
                <a:ext uri="{FF2B5EF4-FFF2-40B4-BE49-F238E27FC236}">
                  <a16:creationId xmlns:a16="http://schemas.microsoft.com/office/drawing/2014/main" id="{B6710D56-05D4-4B3F-BEA3-C0897BA154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57" y="3028"/>
              <a:ext cx="329" cy="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87" name="Freeform 176">
              <a:extLst>
                <a:ext uri="{FF2B5EF4-FFF2-40B4-BE49-F238E27FC236}">
                  <a16:creationId xmlns:a16="http://schemas.microsoft.com/office/drawing/2014/main" id="{DB2CEC13-6003-4668-9CFF-783CDC2D1E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7" y="3028"/>
              <a:ext cx="329" cy="329"/>
            </a:xfrm>
            <a:custGeom>
              <a:avLst/>
              <a:gdLst>
                <a:gd name="T0" fmla="*/ 192 w 192"/>
                <a:gd name="T1" fmla="*/ 106 h 192"/>
                <a:gd name="T2" fmla="*/ 192 w 192"/>
                <a:gd name="T3" fmla="*/ 86 h 192"/>
                <a:gd name="T4" fmla="*/ 171 w 192"/>
                <a:gd name="T5" fmla="*/ 86 h 192"/>
                <a:gd name="T6" fmla="*/ 156 w 192"/>
                <a:gd name="T7" fmla="*/ 50 h 192"/>
                <a:gd name="T8" fmla="*/ 171 w 192"/>
                <a:gd name="T9" fmla="*/ 35 h 192"/>
                <a:gd name="T10" fmla="*/ 157 w 192"/>
                <a:gd name="T11" fmla="*/ 21 h 192"/>
                <a:gd name="T12" fmla="*/ 142 w 192"/>
                <a:gd name="T13" fmla="*/ 36 h 192"/>
                <a:gd name="T14" fmla="*/ 106 w 192"/>
                <a:gd name="T15" fmla="*/ 21 h 192"/>
                <a:gd name="T16" fmla="*/ 106 w 192"/>
                <a:gd name="T17" fmla="*/ 0 h 192"/>
                <a:gd name="T18" fmla="*/ 86 w 192"/>
                <a:gd name="T19" fmla="*/ 0 h 192"/>
                <a:gd name="T20" fmla="*/ 86 w 192"/>
                <a:gd name="T21" fmla="*/ 21 h 192"/>
                <a:gd name="T22" fmla="*/ 50 w 192"/>
                <a:gd name="T23" fmla="*/ 36 h 192"/>
                <a:gd name="T24" fmla="*/ 35 w 192"/>
                <a:gd name="T25" fmla="*/ 21 h 192"/>
                <a:gd name="T26" fmla="*/ 21 w 192"/>
                <a:gd name="T27" fmla="*/ 35 h 192"/>
                <a:gd name="T28" fmla="*/ 36 w 192"/>
                <a:gd name="T29" fmla="*/ 50 h 192"/>
                <a:gd name="T30" fmla="*/ 21 w 192"/>
                <a:gd name="T31" fmla="*/ 86 h 192"/>
                <a:gd name="T32" fmla="*/ 0 w 192"/>
                <a:gd name="T33" fmla="*/ 86 h 192"/>
                <a:gd name="T34" fmla="*/ 0 w 192"/>
                <a:gd name="T35" fmla="*/ 106 h 192"/>
                <a:gd name="T36" fmla="*/ 21 w 192"/>
                <a:gd name="T37" fmla="*/ 106 h 192"/>
                <a:gd name="T38" fmla="*/ 42 w 192"/>
                <a:gd name="T39" fmla="*/ 150 h 192"/>
                <a:gd name="T40" fmla="*/ 86 w 192"/>
                <a:gd name="T41" fmla="*/ 171 h 192"/>
                <a:gd name="T42" fmla="*/ 86 w 192"/>
                <a:gd name="T43" fmla="*/ 192 h 192"/>
                <a:gd name="T44" fmla="*/ 106 w 192"/>
                <a:gd name="T45" fmla="*/ 192 h 192"/>
                <a:gd name="T46" fmla="*/ 106 w 192"/>
                <a:gd name="T47" fmla="*/ 171 h 192"/>
                <a:gd name="T48" fmla="*/ 142 w 192"/>
                <a:gd name="T49" fmla="*/ 156 h 192"/>
                <a:gd name="T50" fmla="*/ 157 w 192"/>
                <a:gd name="T51" fmla="*/ 171 h 192"/>
                <a:gd name="T52" fmla="*/ 171 w 192"/>
                <a:gd name="T53" fmla="*/ 157 h 192"/>
                <a:gd name="T54" fmla="*/ 156 w 192"/>
                <a:gd name="T55" fmla="*/ 142 h 192"/>
                <a:gd name="T56" fmla="*/ 171 w 192"/>
                <a:gd name="T57" fmla="*/ 106 h 192"/>
                <a:gd name="T58" fmla="*/ 192 w 192"/>
                <a:gd name="T59" fmla="*/ 106 h 192"/>
                <a:gd name="T60" fmla="*/ 40 w 192"/>
                <a:gd name="T61" fmla="*/ 96 h 192"/>
                <a:gd name="T62" fmla="*/ 53 w 192"/>
                <a:gd name="T63" fmla="*/ 61 h 192"/>
                <a:gd name="T64" fmla="*/ 85 w 192"/>
                <a:gd name="T65" fmla="*/ 41 h 192"/>
                <a:gd name="T66" fmla="*/ 122 w 192"/>
                <a:gd name="T67" fmla="*/ 47 h 192"/>
                <a:gd name="T68" fmla="*/ 147 w 192"/>
                <a:gd name="T69" fmla="*/ 75 h 192"/>
                <a:gd name="T70" fmla="*/ 149 w 192"/>
                <a:gd name="T71" fmla="*/ 112 h 192"/>
                <a:gd name="T72" fmla="*/ 127 w 192"/>
                <a:gd name="T73" fmla="*/ 142 h 192"/>
                <a:gd name="T74" fmla="*/ 91 w 192"/>
                <a:gd name="T75" fmla="*/ 151 h 192"/>
                <a:gd name="T76" fmla="*/ 57 w 192"/>
                <a:gd name="T77" fmla="*/ 135 h 192"/>
                <a:gd name="T78" fmla="*/ 45 w 192"/>
                <a:gd name="T79" fmla="*/ 117 h 192"/>
                <a:gd name="T80" fmla="*/ 40 w 192"/>
                <a:gd name="T81" fmla="*/ 9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192">
                  <a:moveTo>
                    <a:pt x="192" y="106"/>
                  </a:moveTo>
                  <a:cubicBezTo>
                    <a:pt x="192" y="86"/>
                    <a:pt x="192" y="86"/>
                    <a:pt x="192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69" y="73"/>
                    <a:pt x="164" y="60"/>
                    <a:pt x="156" y="50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57" y="21"/>
                    <a:pt x="157" y="21"/>
                    <a:pt x="157" y="21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32" y="28"/>
                    <a:pt x="119" y="23"/>
                    <a:pt x="106" y="21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73" y="23"/>
                    <a:pt x="60" y="28"/>
                    <a:pt x="50" y="36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28" y="60"/>
                    <a:pt x="23" y="73"/>
                    <a:pt x="21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3" y="123"/>
                    <a:pt x="31" y="138"/>
                    <a:pt x="42" y="150"/>
                  </a:cubicBezTo>
                  <a:cubicBezTo>
                    <a:pt x="54" y="161"/>
                    <a:pt x="69" y="169"/>
                    <a:pt x="86" y="171"/>
                  </a:cubicBezTo>
                  <a:cubicBezTo>
                    <a:pt x="86" y="192"/>
                    <a:pt x="86" y="192"/>
                    <a:pt x="86" y="192"/>
                  </a:cubicBezTo>
                  <a:cubicBezTo>
                    <a:pt x="106" y="192"/>
                    <a:pt x="106" y="192"/>
                    <a:pt x="106" y="192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119" y="169"/>
                    <a:pt x="132" y="164"/>
                    <a:pt x="142" y="156"/>
                  </a:cubicBezTo>
                  <a:cubicBezTo>
                    <a:pt x="157" y="171"/>
                    <a:pt x="157" y="171"/>
                    <a:pt x="157" y="171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56" y="142"/>
                    <a:pt x="156" y="142"/>
                    <a:pt x="156" y="142"/>
                  </a:cubicBezTo>
                  <a:cubicBezTo>
                    <a:pt x="164" y="132"/>
                    <a:pt x="169" y="119"/>
                    <a:pt x="171" y="106"/>
                  </a:cubicBezTo>
                  <a:lnTo>
                    <a:pt x="192" y="106"/>
                  </a:lnTo>
                  <a:close/>
                  <a:moveTo>
                    <a:pt x="40" y="96"/>
                  </a:moveTo>
                  <a:cubicBezTo>
                    <a:pt x="40" y="83"/>
                    <a:pt x="45" y="71"/>
                    <a:pt x="53" y="61"/>
                  </a:cubicBezTo>
                  <a:cubicBezTo>
                    <a:pt x="61" y="51"/>
                    <a:pt x="73" y="44"/>
                    <a:pt x="85" y="41"/>
                  </a:cubicBezTo>
                  <a:cubicBezTo>
                    <a:pt x="98" y="39"/>
                    <a:pt x="111" y="41"/>
                    <a:pt x="122" y="47"/>
                  </a:cubicBezTo>
                  <a:cubicBezTo>
                    <a:pt x="134" y="53"/>
                    <a:pt x="142" y="63"/>
                    <a:pt x="147" y="75"/>
                  </a:cubicBezTo>
                  <a:cubicBezTo>
                    <a:pt x="152" y="87"/>
                    <a:pt x="153" y="100"/>
                    <a:pt x="149" y="112"/>
                  </a:cubicBezTo>
                  <a:cubicBezTo>
                    <a:pt x="145" y="124"/>
                    <a:pt x="138" y="135"/>
                    <a:pt x="127" y="142"/>
                  </a:cubicBezTo>
                  <a:cubicBezTo>
                    <a:pt x="116" y="149"/>
                    <a:pt x="103" y="153"/>
                    <a:pt x="91" y="151"/>
                  </a:cubicBezTo>
                  <a:cubicBezTo>
                    <a:pt x="78" y="150"/>
                    <a:pt x="66" y="144"/>
                    <a:pt x="57" y="135"/>
                  </a:cubicBezTo>
                  <a:cubicBezTo>
                    <a:pt x="52" y="130"/>
                    <a:pt x="47" y="124"/>
                    <a:pt x="45" y="117"/>
                  </a:cubicBezTo>
                  <a:cubicBezTo>
                    <a:pt x="42" y="111"/>
                    <a:pt x="40" y="103"/>
                    <a:pt x="40" y="96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  <p:sp>
          <p:nvSpPr>
            <p:cNvPr id="188" name="Freeform 177">
              <a:extLst>
                <a:ext uri="{FF2B5EF4-FFF2-40B4-BE49-F238E27FC236}">
                  <a16:creationId xmlns:a16="http://schemas.microsoft.com/office/drawing/2014/main" id="{FF2EFBD7-F524-4C06-8A34-B0A34EA7B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3" y="3136"/>
              <a:ext cx="185" cy="185"/>
            </a:xfrm>
            <a:custGeom>
              <a:avLst/>
              <a:gdLst>
                <a:gd name="T0" fmla="*/ 151 w 185"/>
                <a:gd name="T1" fmla="*/ 0 h 185"/>
                <a:gd name="T2" fmla="*/ 65 w 185"/>
                <a:gd name="T3" fmla="*/ 0 h 185"/>
                <a:gd name="T4" fmla="*/ 65 w 185"/>
                <a:gd name="T5" fmla="*/ 34 h 185"/>
                <a:gd name="T6" fmla="*/ 127 w 185"/>
                <a:gd name="T7" fmla="*/ 34 h 185"/>
                <a:gd name="T8" fmla="*/ 0 w 185"/>
                <a:gd name="T9" fmla="*/ 161 h 185"/>
                <a:gd name="T10" fmla="*/ 24 w 185"/>
                <a:gd name="T11" fmla="*/ 185 h 185"/>
                <a:gd name="T12" fmla="*/ 151 w 185"/>
                <a:gd name="T13" fmla="*/ 58 h 185"/>
                <a:gd name="T14" fmla="*/ 151 w 185"/>
                <a:gd name="T15" fmla="*/ 120 h 185"/>
                <a:gd name="T16" fmla="*/ 185 w 185"/>
                <a:gd name="T17" fmla="*/ 120 h 185"/>
                <a:gd name="T18" fmla="*/ 185 w 185"/>
                <a:gd name="T19" fmla="*/ 34 h 185"/>
                <a:gd name="T20" fmla="*/ 185 w 185"/>
                <a:gd name="T21" fmla="*/ 0 h 185"/>
                <a:gd name="T22" fmla="*/ 151 w 185"/>
                <a:gd name="T2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5" h="185">
                  <a:moveTo>
                    <a:pt x="151" y="0"/>
                  </a:moveTo>
                  <a:lnTo>
                    <a:pt x="65" y="0"/>
                  </a:lnTo>
                  <a:lnTo>
                    <a:pt x="65" y="34"/>
                  </a:lnTo>
                  <a:lnTo>
                    <a:pt x="127" y="34"/>
                  </a:lnTo>
                  <a:lnTo>
                    <a:pt x="0" y="161"/>
                  </a:lnTo>
                  <a:lnTo>
                    <a:pt x="24" y="185"/>
                  </a:lnTo>
                  <a:lnTo>
                    <a:pt x="151" y="58"/>
                  </a:lnTo>
                  <a:lnTo>
                    <a:pt x="151" y="120"/>
                  </a:lnTo>
                  <a:lnTo>
                    <a:pt x="185" y="120"/>
                  </a:lnTo>
                  <a:lnTo>
                    <a:pt x="185" y="34"/>
                  </a:lnTo>
                  <a:lnTo>
                    <a:pt x="185" y="0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C3C41"/>
                </a:solidFill>
                <a:latin typeface="Segoe UI"/>
              </a:endParaRPr>
            </a:p>
          </p:txBody>
        </p:sp>
      </p:grpSp>
      <p:sp>
        <p:nvSpPr>
          <p:cNvPr id="191" name="brain_2" title="Icon of a brain with circles and connection lines inside">
            <a:extLst>
              <a:ext uri="{FF2B5EF4-FFF2-40B4-BE49-F238E27FC236}">
                <a16:creationId xmlns:a16="http://schemas.microsoft.com/office/drawing/2014/main" id="{E507A28D-1C13-4EE5-A64D-B1009C35F6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24004" y="2667637"/>
            <a:ext cx="548562" cy="367829"/>
          </a:xfrm>
          <a:custGeom>
            <a:avLst/>
            <a:gdLst>
              <a:gd name="T0" fmla="*/ 379 w 440"/>
              <a:gd name="T1" fmla="*/ 133 h 295"/>
              <a:gd name="T2" fmla="*/ 379 w 440"/>
              <a:gd name="T3" fmla="*/ 169 h 295"/>
              <a:gd name="T4" fmla="*/ 259 w 440"/>
              <a:gd name="T5" fmla="*/ 181 h 295"/>
              <a:gd name="T6" fmla="*/ 295 w 440"/>
              <a:gd name="T7" fmla="*/ 181 h 295"/>
              <a:gd name="T8" fmla="*/ 259 w 440"/>
              <a:gd name="T9" fmla="*/ 181 h 295"/>
              <a:gd name="T10" fmla="*/ 114 w 440"/>
              <a:gd name="T11" fmla="*/ 179 h 295"/>
              <a:gd name="T12" fmla="*/ 78 w 440"/>
              <a:gd name="T13" fmla="*/ 169 h 295"/>
              <a:gd name="T14" fmla="*/ 235 w 440"/>
              <a:gd name="T15" fmla="*/ 88 h 295"/>
              <a:gd name="T16" fmla="*/ 192 w 440"/>
              <a:gd name="T17" fmla="*/ 79 h 295"/>
              <a:gd name="T18" fmla="*/ 174 w 440"/>
              <a:gd name="T19" fmla="*/ 97 h 295"/>
              <a:gd name="T20" fmla="*/ 174 w 440"/>
              <a:gd name="T21" fmla="*/ 61 h 295"/>
              <a:gd name="T22" fmla="*/ 277 w 440"/>
              <a:gd name="T23" fmla="*/ 85 h 295"/>
              <a:gd name="T24" fmla="*/ 313 w 440"/>
              <a:gd name="T25" fmla="*/ 85 h 295"/>
              <a:gd name="T26" fmla="*/ 277 w 440"/>
              <a:gd name="T27" fmla="*/ 85 h 295"/>
              <a:gd name="T28" fmla="*/ 168 w 440"/>
              <a:gd name="T29" fmla="*/ 205 h 295"/>
              <a:gd name="T30" fmla="*/ 168 w 440"/>
              <a:gd name="T31" fmla="*/ 169 h 295"/>
              <a:gd name="T32" fmla="*/ 42 w 440"/>
              <a:gd name="T33" fmla="*/ 169 h 295"/>
              <a:gd name="T34" fmla="*/ 78 w 440"/>
              <a:gd name="T35" fmla="*/ 169 h 295"/>
              <a:gd name="T36" fmla="*/ 42 w 440"/>
              <a:gd name="T37" fmla="*/ 169 h 295"/>
              <a:gd name="T38" fmla="*/ 284 w 440"/>
              <a:gd name="T39" fmla="*/ 121 h 295"/>
              <a:gd name="T40" fmla="*/ 295 w 440"/>
              <a:gd name="T41" fmla="*/ 103 h 295"/>
              <a:gd name="T42" fmla="*/ 114 w 440"/>
              <a:gd name="T43" fmla="*/ 125 h 295"/>
              <a:gd name="T44" fmla="*/ 143 w 440"/>
              <a:gd name="T45" fmla="*/ 133 h 295"/>
              <a:gd name="T46" fmla="*/ 168 w 440"/>
              <a:gd name="T47" fmla="*/ 144 h 295"/>
              <a:gd name="T48" fmla="*/ 361 w 440"/>
              <a:gd name="T49" fmla="*/ 151 h 295"/>
              <a:gd name="T50" fmla="*/ 331 w 440"/>
              <a:gd name="T51" fmla="*/ 160 h 295"/>
              <a:gd name="T52" fmla="*/ 331 w 440"/>
              <a:gd name="T53" fmla="*/ 243 h 295"/>
              <a:gd name="T54" fmla="*/ 321 w 440"/>
              <a:gd name="T55" fmla="*/ 181 h 295"/>
              <a:gd name="T56" fmla="*/ 358 w 440"/>
              <a:gd name="T57" fmla="*/ 206 h 295"/>
              <a:gd name="T58" fmla="*/ 440 w 440"/>
              <a:gd name="T59" fmla="*/ 163 h 295"/>
              <a:gd name="T60" fmla="*/ 388 w 440"/>
              <a:gd name="T61" fmla="*/ 110 h 295"/>
              <a:gd name="T62" fmla="*/ 227 w 440"/>
              <a:gd name="T63" fmla="*/ 30 h 295"/>
              <a:gd name="T64" fmla="*/ 68 w 440"/>
              <a:gd name="T65" fmla="*/ 103 h 295"/>
              <a:gd name="T66" fmla="*/ 4 w 440"/>
              <a:gd name="T67" fmla="*/ 165 h 295"/>
              <a:gd name="T68" fmla="*/ 164 w 440"/>
              <a:gd name="T69" fmla="*/ 237 h 295"/>
              <a:gd name="T70" fmla="*/ 358 w 440"/>
              <a:gd name="T71" fmla="*/ 206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40" h="295">
                <a:moveTo>
                  <a:pt x="361" y="151"/>
                </a:moveTo>
                <a:cubicBezTo>
                  <a:pt x="361" y="141"/>
                  <a:pt x="369" y="133"/>
                  <a:pt x="379" y="133"/>
                </a:cubicBezTo>
                <a:cubicBezTo>
                  <a:pt x="389" y="133"/>
                  <a:pt x="397" y="141"/>
                  <a:pt x="397" y="151"/>
                </a:cubicBezTo>
                <a:cubicBezTo>
                  <a:pt x="397" y="161"/>
                  <a:pt x="389" y="169"/>
                  <a:pt x="379" y="169"/>
                </a:cubicBezTo>
                <a:cubicBezTo>
                  <a:pt x="369" y="169"/>
                  <a:pt x="361" y="161"/>
                  <a:pt x="361" y="151"/>
                </a:cubicBezTo>
                <a:close/>
                <a:moveTo>
                  <a:pt x="259" y="181"/>
                </a:moveTo>
                <a:cubicBezTo>
                  <a:pt x="259" y="191"/>
                  <a:pt x="267" y="199"/>
                  <a:pt x="277" y="199"/>
                </a:cubicBezTo>
                <a:cubicBezTo>
                  <a:pt x="287" y="199"/>
                  <a:pt x="295" y="191"/>
                  <a:pt x="295" y="181"/>
                </a:cubicBezTo>
                <a:cubicBezTo>
                  <a:pt x="295" y="171"/>
                  <a:pt x="287" y="163"/>
                  <a:pt x="277" y="163"/>
                </a:cubicBezTo>
                <a:cubicBezTo>
                  <a:pt x="267" y="163"/>
                  <a:pt x="259" y="171"/>
                  <a:pt x="259" y="181"/>
                </a:cubicBezTo>
                <a:close/>
                <a:moveTo>
                  <a:pt x="114" y="239"/>
                </a:moveTo>
                <a:cubicBezTo>
                  <a:pt x="114" y="179"/>
                  <a:pt x="114" y="179"/>
                  <a:pt x="114" y="179"/>
                </a:cubicBezTo>
                <a:cubicBezTo>
                  <a:pt x="114" y="179"/>
                  <a:pt x="109" y="169"/>
                  <a:pt x="104" y="169"/>
                </a:cubicBezTo>
                <a:cubicBezTo>
                  <a:pt x="104" y="169"/>
                  <a:pt x="104" y="169"/>
                  <a:pt x="78" y="169"/>
                </a:cubicBezTo>
                <a:moveTo>
                  <a:pt x="235" y="260"/>
                </a:moveTo>
                <a:cubicBezTo>
                  <a:pt x="235" y="260"/>
                  <a:pt x="235" y="260"/>
                  <a:pt x="235" y="88"/>
                </a:cubicBezTo>
                <a:cubicBezTo>
                  <a:pt x="235" y="82"/>
                  <a:pt x="231" y="79"/>
                  <a:pt x="225" y="79"/>
                </a:cubicBezTo>
                <a:cubicBezTo>
                  <a:pt x="225" y="79"/>
                  <a:pt x="225" y="79"/>
                  <a:pt x="192" y="79"/>
                </a:cubicBezTo>
                <a:moveTo>
                  <a:pt x="156" y="79"/>
                </a:moveTo>
                <a:cubicBezTo>
                  <a:pt x="156" y="89"/>
                  <a:pt x="164" y="97"/>
                  <a:pt x="174" y="97"/>
                </a:cubicBezTo>
                <a:cubicBezTo>
                  <a:pt x="184" y="97"/>
                  <a:pt x="192" y="89"/>
                  <a:pt x="192" y="79"/>
                </a:cubicBezTo>
                <a:cubicBezTo>
                  <a:pt x="192" y="69"/>
                  <a:pt x="184" y="61"/>
                  <a:pt x="174" y="61"/>
                </a:cubicBezTo>
                <a:cubicBezTo>
                  <a:pt x="164" y="61"/>
                  <a:pt x="156" y="69"/>
                  <a:pt x="156" y="79"/>
                </a:cubicBezTo>
                <a:close/>
                <a:moveTo>
                  <a:pt x="277" y="85"/>
                </a:moveTo>
                <a:cubicBezTo>
                  <a:pt x="277" y="95"/>
                  <a:pt x="285" y="103"/>
                  <a:pt x="295" y="103"/>
                </a:cubicBezTo>
                <a:cubicBezTo>
                  <a:pt x="305" y="103"/>
                  <a:pt x="313" y="95"/>
                  <a:pt x="313" y="85"/>
                </a:cubicBezTo>
                <a:cubicBezTo>
                  <a:pt x="313" y="75"/>
                  <a:pt x="305" y="67"/>
                  <a:pt x="295" y="67"/>
                </a:cubicBezTo>
                <a:cubicBezTo>
                  <a:pt x="285" y="67"/>
                  <a:pt x="277" y="75"/>
                  <a:pt x="277" y="85"/>
                </a:cubicBezTo>
                <a:close/>
                <a:moveTo>
                  <a:pt x="150" y="187"/>
                </a:moveTo>
                <a:cubicBezTo>
                  <a:pt x="150" y="197"/>
                  <a:pt x="158" y="205"/>
                  <a:pt x="168" y="205"/>
                </a:cubicBezTo>
                <a:cubicBezTo>
                  <a:pt x="178" y="205"/>
                  <a:pt x="186" y="197"/>
                  <a:pt x="186" y="187"/>
                </a:cubicBezTo>
                <a:cubicBezTo>
                  <a:pt x="186" y="177"/>
                  <a:pt x="178" y="169"/>
                  <a:pt x="168" y="169"/>
                </a:cubicBezTo>
                <a:cubicBezTo>
                  <a:pt x="158" y="169"/>
                  <a:pt x="150" y="177"/>
                  <a:pt x="150" y="187"/>
                </a:cubicBezTo>
                <a:close/>
                <a:moveTo>
                  <a:pt x="42" y="169"/>
                </a:moveTo>
                <a:cubicBezTo>
                  <a:pt x="42" y="179"/>
                  <a:pt x="50" y="187"/>
                  <a:pt x="60" y="187"/>
                </a:cubicBezTo>
                <a:cubicBezTo>
                  <a:pt x="70" y="187"/>
                  <a:pt x="78" y="179"/>
                  <a:pt x="78" y="169"/>
                </a:cubicBezTo>
                <a:cubicBezTo>
                  <a:pt x="78" y="159"/>
                  <a:pt x="70" y="151"/>
                  <a:pt x="60" y="151"/>
                </a:cubicBezTo>
                <a:cubicBezTo>
                  <a:pt x="50" y="151"/>
                  <a:pt x="42" y="159"/>
                  <a:pt x="42" y="169"/>
                </a:cubicBezTo>
                <a:close/>
                <a:moveTo>
                  <a:pt x="235" y="121"/>
                </a:moveTo>
                <a:cubicBezTo>
                  <a:pt x="235" y="121"/>
                  <a:pt x="235" y="121"/>
                  <a:pt x="284" y="121"/>
                </a:cubicBezTo>
                <a:cubicBezTo>
                  <a:pt x="290" y="121"/>
                  <a:pt x="295" y="117"/>
                  <a:pt x="295" y="112"/>
                </a:cubicBezTo>
                <a:cubicBezTo>
                  <a:pt x="295" y="112"/>
                  <a:pt x="295" y="112"/>
                  <a:pt x="295" y="103"/>
                </a:cubicBezTo>
                <a:moveTo>
                  <a:pt x="114" y="49"/>
                </a:moveTo>
                <a:cubicBezTo>
                  <a:pt x="114" y="49"/>
                  <a:pt x="114" y="51"/>
                  <a:pt x="114" y="125"/>
                </a:cubicBezTo>
                <a:cubicBezTo>
                  <a:pt x="114" y="130"/>
                  <a:pt x="118" y="133"/>
                  <a:pt x="123" y="133"/>
                </a:cubicBezTo>
                <a:cubicBezTo>
                  <a:pt x="123" y="133"/>
                  <a:pt x="123" y="133"/>
                  <a:pt x="143" y="133"/>
                </a:cubicBezTo>
                <a:cubicBezTo>
                  <a:pt x="143" y="133"/>
                  <a:pt x="143" y="133"/>
                  <a:pt x="158" y="133"/>
                </a:cubicBezTo>
                <a:cubicBezTo>
                  <a:pt x="163" y="133"/>
                  <a:pt x="168" y="139"/>
                  <a:pt x="168" y="144"/>
                </a:cubicBezTo>
                <a:cubicBezTo>
                  <a:pt x="168" y="144"/>
                  <a:pt x="168" y="144"/>
                  <a:pt x="168" y="169"/>
                </a:cubicBezTo>
                <a:moveTo>
                  <a:pt x="361" y="151"/>
                </a:moveTo>
                <a:cubicBezTo>
                  <a:pt x="361" y="151"/>
                  <a:pt x="361" y="151"/>
                  <a:pt x="340" y="151"/>
                </a:cubicBezTo>
                <a:cubicBezTo>
                  <a:pt x="335" y="151"/>
                  <a:pt x="331" y="155"/>
                  <a:pt x="331" y="160"/>
                </a:cubicBezTo>
                <a:cubicBezTo>
                  <a:pt x="331" y="160"/>
                  <a:pt x="331" y="160"/>
                  <a:pt x="331" y="205"/>
                </a:cubicBezTo>
                <a:moveTo>
                  <a:pt x="331" y="243"/>
                </a:moveTo>
                <a:cubicBezTo>
                  <a:pt x="331" y="243"/>
                  <a:pt x="331" y="243"/>
                  <a:pt x="331" y="190"/>
                </a:cubicBezTo>
                <a:cubicBezTo>
                  <a:pt x="331" y="185"/>
                  <a:pt x="327" y="181"/>
                  <a:pt x="321" y="181"/>
                </a:cubicBezTo>
                <a:cubicBezTo>
                  <a:pt x="321" y="181"/>
                  <a:pt x="321" y="181"/>
                  <a:pt x="295" y="181"/>
                </a:cubicBezTo>
                <a:moveTo>
                  <a:pt x="358" y="206"/>
                </a:moveTo>
                <a:cubicBezTo>
                  <a:pt x="367" y="212"/>
                  <a:pt x="377" y="215"/>
                  <a:pt x="388" y="215"/>
                </a:cubicBezTo>
                <a:cubicBezTo>
                  <a:pt x="417" y="215"/>
                  <a:pt x="440" y="192"/>
                  <a:pt x="440" y="163"/>
                </a:cubicBezTo>
                <a:cubicBezTo>
                  <a:pt x="440" y="134"/>
                  <a:pt x="417" y="111"/>
                  <a:pt x="388" y="111"/>
                </a:cubicBezTo>
                <a:cubicBezTo>
                  <a:pt x="388" y="110"/>
                  <a:pt x="388" y="110"/>
                  <a:pt x="388" y="110"/>
                </a:cubicBezTo>
                <a:cubicBezTo>
                  <a:pt x="388" y="110"/>
                  <a:pt x="379" y="38"/>
                  <a:pt x="310" y="41"/>
                </a:cubicBezTo>
                <a:cubicBezTo>
                  <a:pt x="310" y="41"/>
                  <a:pt x="275" y="4"/>
                  <a:pt x="227" y="30"/>
                </a:cubicBezTo>
                <a:cubicBezTo>
                  <a:pt x="227" y="30"/>
                  <a:pt x="183" y="0"/>
                  <a:pt x="146" y="53"/>
                </a:cubicBezTo>
                <a:cubicBezTo>
                  <a:pt x="146" y="53"/>
                  <a:pt x="79" y="26"/>
                  <a:pt x="68" y="103"/>
                </a:cubicBezTo>
                <a:cubicBezTo>
                  <a:pt x="68" y="103"/>
                  <a:pt x="68" y="103"/>
                  <a:pt x="68" y="103"/>
                </a:cubicBezTo>
                <a:cubicBezTo>
                  <a:pt x="68" y="103"/>
                  <a:pt x="7" y="116"/>
                  <a:pt x="4" y="165"/>
                </a:cubicBezTo>
                <a:cubicBezTo>
                  <a:pt x="0" y="213"/>
                  <a:pt x="42" y="247"/>
                  <a:pt x="87" y="215"/>
                </a:cubicBezTo>
                <a:cubicBezTo>
                  <a:pt x="87" y="215"/>
                  <a:pt x="120" y="263"/>
                  <a:pt x="164" y="237"/>
                </a:cubicBezTo>
                <a:cubicBezTo>
                  <a:pt x="164" y="237"/>
                  <a:pt x="222" y="295"/>
                  <a:pt x="270" y="235"/>
                </a:cubicBezTo>
                <a:cubicBezTo>
                  <a:pt x="270" y="235"/>
                  <a:pt x="329" y="282"/>
                  <a:pt x="358" y="206"/>
                </a:cubicBezTo>
                <a:close/>
              </a:path>
            </a:pathLst>
          </a:custGeom>
          <a:noFill/>
          <a:ln w="15875" cap="flat">
            <a:solidFill>
              <a:srgbClr val="0078D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3C3C41"/>
              </a:solidFill>
              <a:latin typeface="Segoe UI"/>
            </a:endParaRPr>
          </a:p>
        </p:txBody>
      </p:sp>
      <p:sp>
        <p:nvSpPr>
          <p:cNvPr id="207" name="binary" title="Icon of binary code, ones and zeros">
            <a:extLst>
              <a:ext uri="{FF2B5EF4-FFF2-40B4-BE49-F238E27FC236}">
                <a16:creationId xmlns:a16="http://schemas.microsoft.com/office/drawing/2014/main" id="{7248DAD0-3113-41F7-AE77-B4E6C346B9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15431" y="5060919"/>
            <a:ext cx="365708" cy="315789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5875" cap="sq">
            <a:solidFill>
              <a:srgbClr val="0078D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>
              <a:defRPr/>
            </a:pPr>
            <a:endParaRPr lang="en-US" kern="0">
              <a:solidFill>
                <a:srgbClr val="3C3C41"/>
              </a:solidFill>
              <a:latin typeface="Segoe U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BC94B7-F5B2-4C61-90E0-8DCF8CDB2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Stack Edge</a:t>
            </a:r>
          </a:p>
        </p:txBody>
      </p:sp>
      <p:pic>
        <p:nvPicPr>
          <p:cNvPr id="61" name="Picture 2" descr="Data Box Edge">
            <a:extLst>
              <a:ext uri="{FF2B5EF4-FFF2-40B4-BE49-F238E27FC236}">
                <a16:creationId xmlns:a16="http://schemas.microsoft.com/office/drawing/2014/main" id="{5165CDA6-7E2B-4015-AB5C-80655EDE8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555669" y="133862"/>
            <a:ext cx="2335988" cy="13314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0818335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F2BEEC53-5A87-499A-928C-E9255D9DBA02}"/>
              </a:ext>
            </a:extLst>
          </p:cNvPr>
          <p:cNvGrpSpPr/>
          <p:nvPr/>
        </p:nvGrpSpPr>
        <p:grpSpPr>
          <a:xfrm>
            <a:off x="0" y="5523449"/>
            <a:ext cx="12192000" cy="1334551"/>
            <a:chOff x="0" y="5523449"/>
            <a:chExt cx="12192000" cy="133455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6F6E791-0160-4364-B418-AFE892D7F299}"/>
                </a:ext>
              </a:extLst>
            </p:cNvPr>
            <p:cNvSpPr/>
            <p:nvPr/>
          </p:nvSpPr>
          <p:spPr bwMode="auto">
            <a:xfrm>
              <a:off x="0" y="5523449"/>
              <a:ext cx="12192000" cy="1334551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EB11299-88A0-4D27-A55C-F9CDB3B1C5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33913" y="5870637"/>
              <a:ext cx="11324174" cy="6401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Or write your own:</a:t>
              </a:r>
            </a:p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ploy your own or 3rd party software in a Linux container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1594AFE-8952-48C2-967B-9E8512CDAA2D}"/>
              </a:ext>
            </a:extLst>
          </p:cNvPr>
          <p:cNvGrpSpPr/>
          <p:nvPr/>
        </p:nvGrpSpPr>
        <p:grpSpPr>
          <a:xfrm>
            <a:off x="433913" y="1599909"/>
            <a:ext cx="1554480" cy="3625112"/>
            <a:chOff x="433913" y="1599909"/>
            <a:chExt cx="1554480" cy="3625112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BD3EA47-290A-4F3E-A3C6-8AF71439BDFD}"/>
                </a:ext>
              </a:extLst>
            </p:cNvPr>
            <p:cNvSpPr/>
            <p:nvPr/>
          </p:nvSpPr>
          <p:spPr>
            <a:xfrm>
              <a:off x="433913" y="2972247"/>
              <a:ext cx="1554480" cy="74789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Cognitive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ervice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930813D-3342-4C19-B496-D2E131D6CA80}"/>
                </a:ext>
              </a:extLst>
            </p:cNvPr>
            <p:cNvSpPr txBox="1"/>
            <p:nvPr/>
          </p:nvSpPr>
          <p:spPr>
            <a:xfrm>
              <a:off x="433913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e, hear, speak,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arch, understand,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nd accelerate decision-making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to your app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3CE54C5-22BA-462A-AC73-82D78D16FFE2}"/>
                </a:ext>
              </a:extLst>
            </p:cNvPr>
            <p:cNvGrpSpPr/>
            <p:nvPr/>
          </p:nvGrpSpPr>
          <p:grpSpPr>
            <a:xfrm>
              <a:off x="637441" y="1599909"/>
              <a:ext cx="1147424" cy="1144282"/>
              <a:chOff x="655612" y="1796974"/>
              <a:chExt cx="1147424" cy="1144282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DFEFA7F-99CF-4C5A-BC86-CAAB6810DB9B}"/>
                  </a:ext>
                </a:extLst>
              </p:cNvPr>
              <p:cNvSpPr/>
              <p:nvPr/>
            </p:nvSpPr>
            <p:spPr bwMode="auto">
              <a:xfrm>
                <a:off x="655612" y="1796974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77" name="Group 76" descr="Digital brain icon">
                <a:extLst>
                  <a:ext uri="{FF2B5EF4-FFF2-40B4-BE49-F238E27FC236}">
                    <a16:creationId xmlns:a16="http://schemas.microsoft.com/office/drawing/2014/main" id="{1135F27D-15F2-324C-B20B-F45B6B9876A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98925" y="2164884"/>
                <a:ext cx="660799" cy="408463"/>
                <a:chOff x="3697161" y="1671456"/>
                <a:chExt cx="4797676" cy="2965641"/>
              </a:xfrm>
            </p:grpSpPr>
            <p:sp>
              <p:nvSpPr>
                <p:cNvPr id="78" name="Freeform: Shape 36">
                  <a:extLst>
                    <a:ext uri="{FF2B5EF4-FFF2-40B4-BE49-F238E27FC236}">
                      <a16:creationId xmlns:a16="http://schemas.microsoft.com/office/drawing/2014/main" id="{98F899D4-FD0B-294E-8CDE-6EEE99BBE662}"/>
                    </a:ext>
                  </a:extLst>
                </p:cNvPr>
                <p:cNvSpPr/>
                <p:nvPr/>
              </p:nvSpPr>
              <p:spPr bwMode="auto">
                <a:xfrm>
                  <a:off x="3697161" y="1671456"/>
                  <a:ext cx="4797676" cy="2965641"/>
                </a:xfrm>
                <a:custGeom>
                  <a:avLst/>
                  <a:gdLst>
                    <a:gd name="connsiteX0" fmla="*/ 2158445 w 4797676"/>
                    <a:gd name="connsiteY0" fmla="*/ 0 h 2965641"/>
                    <a:gd name="connsiteX1" fmla="*/ 2413265 w 4797676"/>
                    <a:gd name="connsiteY1" fmla="*/ 38525 h 2965641"/>
                    <a:gd name="connsiteX2" fmla="*/ 2465284 w 4797676"/>
                    <a:gd name="connsiteY2" fmla="*/ 57564 h 2965641"/>
                    <a:gd name="connsiteX3" fmla="*/ 2517303 w 4797676"/>
                    <a:gd name="connsiteY3" fmla="*/ 38525 h 2965641"/>
                    <a:gd name="connsiteX4" fmla="*/ 2772122 w 4797676"/>
                    <a:gd name="connsiteY4" fmla="*/ 0 h 2965641"/>
                    <a:gd name="connsiteX5" fmla="*/ 3251230 w 4797676"/>
                    <a:gd name="connsiteY5" fmla="*/ 146347 h 2965641"/>
                    <a:gd name="connsiteX6" fmla="*/ 3321549 w 4797676"/>
                    <a:gd name="connsiteY6" fmla="*/ 204366 h 2965641"/>
                    <a:gd name="connsiteX7" fmla="*/ 3440317 w 4797676"/>
                    <a:gd name="connsiteY7" fmla="*/ 213352 h 2965641"/>
                    <a:gd name="connsiteX8" fmla="*/ 4175024 w 4797676"/>
                    <a:gd name="connsiteY8" fmla="*/ 785768 h 2965641"/>
                    <a:gd name="connsiteX9" fmla="*/ 4224046 w 4797676"/>
                    <a:gd name="connsiteY9" fmla="*/ 943691 h 2965641"/>
                    <a:gd name="connsiteX10" fmla="*/ 4294098 w 4797676"/>
                    <a:gd name="connsiteY10" fmla="*/ 969331 h 2965641"/>
                    <a:gd name="connsiteX11" fmla="*/ 4797676 w 4797676"/>
                    <a:gd name="connsiteY11" fmla="*/ 1729053 h 2965641"/>
                    <a:gd name="connsiteX12" fmla="*/ 3973159 w 4797676"/>
                    <a:gd name="connsiteY12" fmla="*/ 2553570 h 2965641"/>
                    <a:gd name="connsiteX13" fmla="*/ 3806990 w 4797676"/>
                    <a:gd name="connsiteY13" fmla="*/ 2536819 h 2965641"/>
                    <a:gd name="connsiteX14" fmla="*/ 3788954 w 4797676"/>
                    <a:gd name="connsiteY14" fmla="*/ 2532181 h 2965641"/>
                    <a:gd name="connsiteX15" fmla="*/ 3735039 w 4797676"/>
                    <a:gd name="connsiteY15" fmla="*/ 2597527 h 2965641"/>
                    <a:gd name="connsiteX16" fmla="*/ 3236319 w 4797676"/>
                    <a:gd name="connsiteY16" fmla="*/ 2834765 h 2965641"/>
                    <a:gd name="connsiteX17" fmla="*/ 3198663 w 4797676"/>
                    <a:gd name="connsiteY17" fmla="*/ 2836667 h 2965641"/>
                    <a:gd name="connsiteX18" fmla="*/ 3198663 w 4797676"/>
                    <a:gd name="connsiteY18" fmla="*/ 2047719 h 2965641"/>
                    <a:gd name="connsiteX19" fmla="*/ 3643486 w 4797676"/>
                    <a:gd name="connsiteY19" fmla="*/ 2047719 h 2965641"/>
                    <a:gd name="connsiteX20" fmla="*/ 3965953 w 4797676"/>
                    <a:gd name="connsiteY20" fmla="*/ 1833974 h 2965641"/>
                    <a:gd name="connsiteX21" fmla="*/ 3978158 w 4797676"/>
                    <a:gd name="connsiteY21" fmla="*/ 1794656 h 2965641"/>
                    <a:gd name="connsiteX22" fmla="*/ 4018763 w 4797676"/>
                    <a:gd name="connsiteY22" fmla="*/ 1782051 h 2965641"/>
                    <a:gd name="connsiteX23" fmla="*/ 4203895 w 4797676"/>
                    <a:gd name="connsiteY23" fmla="*/ 1502751 h 2965641"/>
                    <a:gd name="connsiteX24" fmla="*/ 3900774 w 4797676"/>
                    <a:gd name="connsiteY24" fmla="*/ 1199630 h 2965641"/>
                    <a:gd name="connsiteX25" fmla="*/ 3597653 w 4797676"/>
                    <a:gd name="connsiteY25" fmla="*/ 1502751 h 2965641"/>
                    <a:gd name="connsiteX26" fmla="*/ 3782786 w 4797676"/>
                    <a:gd name="connsiteY26" fmla="*/ 1782051 h 2965641"/>
                    <a:gd name="connsiteX27" fmla="*/ 3825697 w 4797676"/>
                    <a:gd name="connsiteY27" fmla="*/ 1795372 h 2965641"/>
                    <a:gd name="connsiteX28" fmla="*/ 3804431 w 4797676"/>
                    <a:gd name="connsiteY28" fmla="*/ 1830422 h 2965641"/>
                    <a:gd name="connsiteX29" fmla="*/ 3643486 w 4797676"/>
                    <a:gd name="connsiteY29" fmla="*/ 1906323 h 2965641"/>
                    <a:gd name="connsiteX30" fmla="*/ 3198663 w 4797676"/>
                    <a:gd name="connsiteY30" fmla="*/ 1906323 h 2965641"/>
                    <a:gd name="connsiteX31" fmla="*/ 3198663 w 4797676"/>
                    <a:gd name="connsiteY31" fmla="*/ 1023472 h 2965641"/>
                    <a:gd name="connsiteX32" fmla="*/ 2848694 w 4797676"/>
                    <a:gd name="connsiteY32" fmla="*/ 673503 h 2965641"/>
                    <a:gd name="connsiteX33" fmla="*/ 2693642 w 4797676"/>
                    <a:gd name="connsiteY33" fmla="*/ 673503 h 2965641"/>
                    <a:gd name="connsiteX34" fmla="*/ 2678138 w 4797676"/>
                    <a:gd name="connsiteY34" fmla="*/ 623558 h 2965641"/>
                    <a:gd name="connsiteX35" fmla="*/ 2398838 w 4797676"/>
                    <a:gd name="connsiteY35" fmla="*/ 438425 h 2965641"/>
                    <a:gd name="connsiteX36" fmla="*/ 2095717 w 4797676"/>
                    <a:gd name="connsiteY36" fmla="*/ 741546 h 2965641"/>
                    <a:gd name="connsiteX37" fmla="*/ 2398838 w 4797676"/>
                    <a:gd name="connsiteY37" fmla="*/ 1044667 h 2965641"/>
                    <a:gd name="connsiteX38" fmla="*/ 2678138 w 4797676"/>
                    <a:gd name="connsiteY38" fmla="*/ 859535 h 2965641"/>
                    <a:gd name="connsiteX39" fmla="*/ 2691994 w 4797676"/>
                    <a:gd name="connsiteY39" fmla="*/ 814899 h 2965641"/>
                    <a:gd name="connsiteX40" fmla="*/ 2848694 w 4797676"/>
                    <a:gd name="connsiteY40" fmla="*/ 814899 h 2965641"/>
                    <a:gd name="connsiteX41" fmla="*/ 3057267 w 4797676"/>
                    <a:gd name="connsiteY41" fmla="*/ 1023472 h 2965641"/>
                    <a:gd name="connsiteX42" fmla="*/ 3057267 w 4797676"/>
                    <a:gd name="connsiteY42" fmla="*/ 2831854 h 2965641"/>
                    <a:gd name="connsiteX43" fmla="*/ 3026452 w 4797676"/>
                    <a:gd name="connsiteY43" fmla="*/ 2829522 h 2965641"/>
                    <a:gd name="connsiteX44" fmla="*/ 2906831 w 4797676"/>
                    <a:gd name="connsiteY44" fmla="*/ 2801954 h 2965641"/>
                    <a:gd name="connsiteX45" fmla="*/ 2894804 w 4797676"/>
                    <a:gd name="connsiteY45" fmla="*/ 2797552 h 2965641"/>
                    <a:gd name="connsiteX46" fmla="*/ 2834874 w 4797676"/>
                    <a:gd name="connsiteY46" fmla="*/ 2839082 h 2965641"/>
                    <a:gd name="connsiteX47" fmla="*/ 2359391 w 4797676"/>
                    <a:gd name="connsiteY47" fmla="*/ 2965641 h 2965641"/>
                    <a:gd name="connsiteX48" fmla="*/ 1904062 w 4797676"/>
                    <a:gd name="connsiteY48" fmla="*/ 2850348 h 2965641"/>
                    <a:gd name="connsiteX49" fmla="*/ 1843222 w 4797676"/>
                    <a:gd name="connsiteY49" fmla="*/ 2813386 h 2965641"/>
                    <a:gd name="connsiteX50" fmla="*/ 1811225 w 4797676"/>
                    <a:gd name="connsiteY50" fmla="*/ 2821614 h 2965641"/>
                    <a:gd name="connsiteX51" fmla="*/ 1638527 w 4797676"/>
                    <a:gd name="connsiteY51" fmla="*/ 2839023 h 2965641"/>
                    <a:gd name="connsiteX52" fmla="*/ 1592372 w 4797676"/>
                    <a:gd name="connsiteY52" fmla="*/ 2835531 h 2965641"/>
                    <a:gd name="connsiteX53" fmla="*/ 1592372 w 4797676"/>
                    <a:gd name="connsiteY53" fmla="*/ 2063792 h 2965641"/>
                    <a:gd name="connsiteX54" fmla="*/ 1242403 w 4797676"/>
                    <a:gd name="connsiteY54" fmla="*/ 1713823 h 2965641"/>
                    <a:gd name="connsiteX55" fmla="*/ 1114965 w 4797676"/>
                    <a:gd name="connsiteY55" fmla="*/ 1713823 h 2965641"/>
                    <a:gd name="connsiteX56" fmla="*/ 1102478 w 4797676"/>
                    <a:gd name="connsiteY56" fmla="*/ 1673596 h 2965641"/>
                    <a:gd name="connsiteX57" fmla="*/ 823177 w 4797676"/>
                    <a:gd name="connsiteY57" fmla="*/ 1488463 h 2965641"/>
                    <a:gd name="connsiteX58" fmla="*/ 520056 w 4797676"/>
                    <a:gd name="connsiteY58" fmla="*/ 1791584 h 2965641"/>
                    <a:gd name="connsiteX59" fmla="*/ 823177 w 4797676"/>
                    <a:gd name="connsiteY59" fmla="*/ 2094705 h 2965641"/>
                    <a:gd name="connsiteX60" fmla="*/ 1102478 w 4797676"/>
                    <a:gd name="connsiteY60" fmla="*/ 1909572 h 2965641"/>
                    <a:gd name="connsiteX61" fmla="*/ 1119350 w 4797676"/>
                    <a:gd name="connsiteY61" fmla="*/ 1855219 h 2965641"/>
                    <a:gd name="connsiteX62" fmla="*/ 1242403 w 4797676"/>
                    <a:gd name="connsiteY62" fmla="*/ 1855219 h 2965641"/>
                    <a:gd name="connsiteX63" fmla="*/ 1450976 w 4797676"/>
                    <a:gd name="connsiteY63" fmla="*/ 2063792 h 2965641"/>
                    <a:gd name="connsiteX64" fmla="*/ 1450976 w 4797676"/>
                    <a:gd name="connsiteY64" fmla="*/ 2816001 h 2965641"/>
                    <a:gd name="connsiteX65" fmla="*/ 1383708 w 4797676"/>
                    <a:gd name="connsiteY65" fmla="*/ 2800498 h 2965641"/>
                    <a:gd name="connsiteX66" fmla="*/ 1159420 w 4797676"/>
                    <a:gd name="connsiteY66" fmla="*/ 2692676 h 2965641"/>
                    <a:gd name="connsiteX67" fmla="*/ 1043130 w 4797676"/>
                    <a:gd name="connsiteY67" fmla="*/ 2596728 h 2965641"/>
                    <a:gd name="connsiteX68" fmla="*/ 966051 w 4797676"/>
                    <a:gd name="connsiteY68" fmla="*/ 2611476 h 2965641"/>
                    <a:gd name="connsiteX69" fmla="*/ 856912 w 4797676"/>
                    <a:gd name="connsiteY69" fmla="*/ 2618360 h 2965641"/>
                    <a:gd name="connsiteX70" fmla="*/ 0 w 4797676"/>
                    <a:gd name="connsiteY70" fmla="*/ 1761448 h 2965641"/>
                    <a:gd name="connsiteX71" fmla="*/ 523363 w 4797676"/>
                    <a:gd name="connsiteY71" fmla="*/ 971877 h 2965641"/>
                    <a:gd name="connsiteX72" fmla="*/ 594344 w 4797676"/>
                    <a:gd name="connsiteY72" fmla="*/ 945897 h 2965641"/>
                    <a:gd name="connsiteX73" fmla="*/ 617903 w 4797676"/>
                    <a:gd name="connsiteY73" fmla="*/ 854276 h 2965641"/>
                    <a:gd name="connsiteX74" fmla="*/ 1389144 w 4797676"/>
                    <a:gd name="connsiteY74" fmla="*/ 181814 h 2965641"/>
                    <a:gd name="connsiteX75" fmla="*/ 1488675 w 4797676"/>
                    <a:gd name="connsiteY75" fmla="*/ 173657 h 2965641"/>
                    <a:gd name="connsiteX76" fmla="*/ 1488675 w 4797676"/>
                    <a:gd name="connsiteY76" fmla="*/ 1075362 h 2965641"/>
                    <a:gd name="connsiteX77" fmla="*/ 1838644 w 4797676"/>
                    <a:gd name="connsiteY77" fmla="*/ 1425331 h 2965641"/>
                    <a:gd name="connsiteX78" fmla="*/ 1932112 w 4797676"/>
                    <a:gd name="connsiteY78" fmla="*/ 1425331 h 2965641"/>
                    <a:gd name="connsiteX79" fmla="*/ 1932112 w 4797676"/>
                    <a:gd name="connsiteY79" fmla="*/ 1423973 h 2965641"/>
                    <a:gd name="connsiteX80" fmla="*/ 2048868 w 4797676"/>
                    <a:gd name="connsiteY80" fmla="*/ 1423973 h 2965641"/>
                    <a:gd name="connsiteX81" fmla="*/ 2257441 w 4797676"/>
                    <a:gd name="connsiteY81" fmla="*/ 1632546 h 2965641"/>
                    <a:gd name="connsiteX82" fmla="*/ 2257441 w 4797676"/>
                    <a:gd name="connsiteY82" fmla="*/ 1815995 h 2965641"/>
                    <a:gd name="connsiteX83" fmla="*/ 2213314 w 4797676"/>
                    <a:gd name="connsiteY83" fmla="*/ 1829693 h 2965641"/>
                    <a:gd name="connsiteX84" fmla="*/ 2028181 w 4797676"/>
                    <a:gd name="connsiteY84" fmla="*/ 2108993 h 2965641"/>
                    <a:gd name="connsiteX85" fmla="*/ 2331302 w 4797676"/>
                    <a:gd name="connsiteY85" fmla="*/ 2412114 h 2965641"/>
                    <a:gd name="connsiteX86" fmla="*/ 2634423 w 4797676"/>
                    <a:gd name="connsiteY86" fmla="*/ 2108993 h 2965641"/>
                    <a:gd name="connsiteX87" fmla="*/ 2449291 w 4797676"/>
                    <a:gd name="connsiteY87" fmla="*/ 1829693 h 2965641"/>
                    <a:gd name="connsiteX88" fmla="*/ 2398837 w 4797676"/>
                    <a:gd name="connsiteY88" fmla="*/ 1814031 h 2965641"/>
                    <a:gd name="connsiteX89" fmla="*/ 2398837 w 4797676"/>
                    <a:gd name="connsiteY89" fmla="*/ 1632546 h 2965641"/>
                    <a:gd name="connsiteX90" fmla="*/ 2048868 w 4797676"/>
                    <a:gd name="connsiteY90" fmla="*/ 1282577 h 2965641"/>
                    <a:gd name="connsiteX91" fmla="*/ 1932112 w 4797676"/>
                    <a:gd name="connsiteY91" fmla="*/ 1282577 h 2965641"/>
                    <a:gd name="connsiteX92" fmla="*/ 1932112 w 4797676"/>
                    <a:gd name="connsiteY92" fmla="*/ 1283935 h 2965641"/>
                    <a:gd name="connsiteX93" fmla="*/ 1838644 w 4797676"/>
                    <a:gd name="connsiteY93" fmla="*/ 1283935 h 2965641"/>
                    <a:gd name="connsiteX94" fmla="*/ 1630071 w 4797676"/>
                    <a:gd name="connsiteY94" fmla="*/ 1075362 h 2965641"/>
                    <a:gd name="connsiteX95" fmla="*/ 1630071 w 4797676"/>
                    <a:gd name="connsiteY95" fmla="*/ 174337 h 2965641"/>
                    <a:gd name="connsiteX96" fmla="*/ 1644199 w 4797676"/>
                    <a:gd name="connsiteY96" fmla="*/ 175339 h 2965641"/>
                    <a:gd name="connsiteX97" fmla="*/ 1679338 w 4797676"/>
                    <a:gd name="connsiteY97" fmla="*/ 146347 h 2965641"/>
                    <a:gd name="connsiteX98" fmla="*/ 2158445 w 4797676"/>
                    <a:gd name="connsiteY98" fmla="*/ 0 h 29656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4797676" h="2965641">
                      <a:moveTo>
                        <a:pt x="2158445" y="0"/>
                      </a:moveTo>
                      <a:cubicBezTo>
                        <a:pt x="2247181" y="0"/>
                        <a:pt x="2332767" y="13488"/>
                        <a:pt x="2413265" y="38525"/>
                      </a:cubicBezTo>
                      <a:lnTo>
                        <a:pt x="2465284" y="57564"/>
                      </a:lnTo>
                      <a:lnTo>
                        <a:pt x="2517303" y="38525"/>
                      </a:lnTo>
                      <a:cubicBezTo>
                        <a:pt x="2597800" y="13488"/>
                        <a:pt x="2683386" y="0"/>
                        <a:pt x="2772122" y="0"/>
                      </a:cubicBezTo>
                      <a:cubicBezTo>
                        <a:pt x="2949594" y="0"/>
                        <a:pt x="3114466" y="53951"/>
                        <a:pt x="3251230" y="146347"/>
                      </a:cubicBezTo>
                      <a:lnTo>
                        <a:pt x="3321549" y="204366"/>
                      </a:lnTo>
                      <a:lnTo>
                        <a:pt x="3440317" y="213352"/>
                      </a:lnTo>
                      <a:cubicBezTo>
                        <a:pt x="3772353" y="264086"/>
                        <a:pt x="4048136" y="485772"/>
                        <a:pt x="4175024" y="785768"/>
                      </a:cubicBezTo>
                      <a:lnTo>
                        <a:pt x="4224046" y="943691"/>
                      </a:lnTo>
                      <a:lnTo>
                        <a:pt x="4294098" y="969331"/>
                      </a:lnTo>
                      <a:cubicBezTo>
                        <a:pt x="4590030" y="1094499"/>
                        <a:pt x="4797676" y="1387527"/>
                        <a:pt x="4797676" y="1729053"/>
                      </a:cubicBezTo>
                      <a:cubicBezTo>
                        <a:pt x="4797676" y="2184421"/>
                        <a:pt x="4428527" y="2553570"/>
                        <a:pt x="3973159" y="2553570"/>
                      </a:cubicBezTo>
                      <a:cubicBezTo>
                        <a:pt x="3916238" y="2553570"/>
                        <a:pt x="3860664" y="2547802"/>
                        <a:pt x="3806990" y="2536819"/>
                      </a:cubicBezTo>
                      <a:lnTo>
                        <a:pt x="3788954" y="2532181"/>
                      </a:lnTo>
                      <a:lnTo>
                        <a:pt x="3735039" y="2597527"/>
                      </a:lnTo>
                      <a:cubicBezTo>
                        <a:pt x="3604481" y="2728084"/>
                        <a:pt x="3430344" y="2815061"/>
                        <a:pt x="3236319" y="2834765"/>
                      </a:cubicBezTo>
                      <a:lnTo>
                        <a:pt x="3198663" y="2836667"/>
                      </a:lnTo>
                      <a:lnTo>
                        <a:pt x="3198663" y="2047719"/>
                      </a:lnTo>
                      <a:lnTo>
                        <a:pt x="3643486" y="2047719"/>
                      </a:lnTo>
                      <a:cubicBezTo>
                        <a:pt x="3788448" y="2047719"/>
                        <a:pt x="3912824" y="1959583"/>
                        <a:pt x="3965953" y="1833974"/>
                      </a:cubicBezTo>
                      <a:lnTo>
                        <a:pt x="3978158" y="1794656"/>
                      </a:lnTo>
                      <a:lnTo>
                        <a:pt x="4018763" y="1782051"/>
                      </a:lnTo>
                      <a:cubicBezTo>
                        <a:pt x="4127557" y="1736035"/>
                        <a:pt x="4203895" y="1628308"/>
                        <a:pt x="4203895" y="1502751"/>
                      </a:cubicBezTo>
                      <a:cubicBezTo>
                        <a:pt x="4203895" y="1335342"/>
                        <a:pt x="4068183" y="1199630"/>
                        <a:pt x="3900774" y="1199630"/>
                      </a:cubicBezTo>
                      <a:cubicBezTo>
                        <a:pt x="3733365" y="1199630"/>
                        <a:pt x="3597653" y="1335342"/>
                        <a:pt x="3597653" y="1502751"/>
                      </a:cubicBezTo>
                      <a:cubicBezTo>
                        <a:pt x="3597653" y="1628308"/>
                        <a:pt x="3673991" y="1736035"/>
                        <a:pt x="3782786" y="1782051"/>
                      </a:cubicBezTo>
                      <a:lnTo>
                        <a:pt x="3825697" y="1795372"/>
                      </a:lnTo>
                      <a:lnTo>
                        <a:pt x="3804431" y="1830422"/>
                      </a:lnTo>
                      <a:cubicBezTo>
                        <a:pt x="3766176" y="1876777"/>
                        <a:pt x="3708282" y="1906323"/>
                        <a:pt x="3643486" y="1906323"/>
                      </a:cubicBezTo>
                      <a:lnTo>
                        <a:pt x="3198663" y="1906323"/>
                      </a:lnTo>
                      <a:lnTo>
                        <a:pt x="3198663" y="1023472"/>
                      </a:lnTo>
                      <a:cubicBezTo>
                        <a:pt x="3198663" y="830189"/>
                        <a:pt x="3041977" y="673503"/>
                        <a:pt x="2848694" y="673503"/>
                      </a:cubicBezTo>
                      <a:lnTo>
                        <a:pt x="2693642" y="673503"/>
                      </a:lnTo>
                      <a:lnTo>
                        <a:pt x="2678138" y="623558"/>
                      </a:lnTo>
                      <a:cubicBezTo>
                        <a:pt x="2632122" y="514763"/>
                        <a:pt x="2524395" y="438425"/>
                        <a:pt x="2398838" y="438425"/>
                      </a:cubicBezTo>
                      <a:cubicBezTo>
                        <a:pt x="2231429" y="438425"/>
                        <a:pt x="2095717" y="574137"/>
                        <a:pt x="2095717" y="741546"/>
                      </a:cubicBezTo>
                      <a:cubicBezTo>
                        <a:pt x="2095717" y="908955"/>
                        <a:pt x="2231429" y="1044667"/>
                        <a:pt x="2398838" y="1044667"/>
                      </a:cubicBezTo>
                      <a:cubicBezTo>
                        <a:pt x="2524395" y="1044667"/>
                        <a:pt x="2632122" y="968329"/>
                        <a:pt x="2678138" y="859535"/>
                      </a:cubicBezTo>
                      <a:lnTo>
                        <a:pt x="2691994" y="814899"/>
                      </a:lnTo>
                      <a:lnTo>
                        <a:pt x="2848694" y="814899"/>
                      </a:lnTo>
                      <a:cubicBezTo>
                        <a:pt x="2963886" y="814899"/>
                        <a:pt x="3057267" y="908280"/>
                        <a:pt x="3057267" y="1023472"/>
                      </a:cubicBezTo>
                      <a:lnTo>
                        <a:pt x="3057267" y="2831854"/>
                      </a:lnTo>
                      <a:lnTo>
                        <a:pt x="3026452" y="2829522"/>
                      </a:lnTo>
                      <a:cubicBezTo>
                        <a:pt x="2985509" y="2823266"/>
                        <a:pt x="2945558" y="2813999"/>
                        <a:pt x="2906831" y="2801954"/>
                      </a:cubicBezTo>
                      <a:lnTo>
                        <a:pt x="2894804" y="2797552"/>
                      </a:lnTo>
                      <a:lnTo>
                        <a:pt x="2834874" y="2839082"/>
                      </a:lnTo>
                      <a:cubicBezTo>
                        <a:pt x="2694854" y="2919595"/>
                        <a:pt x="2532500" y="2965641"/>
                        <a:pt x="2359391" y="2965641"/>
                      </a:cubicBezTo>
                      <a:cubicBezTo>
                        <a:pt x="2194526" y="2965641"/>
                        <a:pt x="2039415" y="2923876"/>
                        <a:pt x="1904062" y="2850348"/>
                      </a:cubicBezTo>
                      <a:lnTo>
                        <a:pt x="1843222" y="2813386"/>
                      </a:lnTo>
                      <a:lnTo>
                        <a:pt x="1811225" y="2821614"/>
                      </a:lnTo>
                      <a:cubicBezTo>
                        <a:pt x="1755442" y="2833029"/>
                        <a:pt x="1697685" y="2839023"/>
                        <a:pt x="1638527" y="2839023"/>
                      </a:cubicBezTo>
                      <a:lnTo>
                        <a:pt x="1592372" y="2835531"/>
                      </a:lnTo>
                      <a:lnTo>
                        <a:pt x="1592372" y="2063792"/>
                      </a:lnTo>
                      <a:cubicBezTo>
                        <a:pt x="1592372" y="1870509"/>
                        <a:pt x="1435686" y="1713823"/>
                        <a:pt x="1242403" y="1713823"/>
                      </a:cubicBezTo>
                      <a:lnTo>
                        <a:pt x="1114965" y="1713823"/>
                      </a:lnTo>
                      <a:lnTo>
                        <a:pt x="1102478" y="1673596"/>
                      </a:lnTo>
                      <a:cubicBezTo>
                        <a:pt x="1056461" y="1564801"/>
                        <a:pt x="948734" y="1488463"/>
                        <a:pt x="823177" y="1488463"/>
                      </a:cubicBezTo>
                      <a:cubicBezTo>
                        <a:pt x="655768" y="1488463"/>
                        <a:pt x="520056" y="1624175"/>
                        <a:pt x="520056" y="1791584"/>
                      </a:cubicBezTo>
                      <a:cubicBezTo>
                        <a:pt x="520056" y="1958993"/>
                        <a:pt x="655768" y="2094705"/>
                        <a:pt x="823177" y="2094705"/>
                      </a:cubicBezTo>
                      <a:cubicBezTo>
                        <a:pt x="948734" y="2094705"/>
                        <a:pt x="1056461" y="2018367"/>
                        <a:pt x="1102478" y="1909572"/>
                      </a:cubicBezTo>
                      <a:lnTo>
                        <a:pt x="1119350" y="1855219"/>
                      </a:lnTo>
                      <a:lnTo>
                        <a:pt x="1242403" y="1855219"/>
                      </a:lnTo>
                      <a:cubicBezTo>
                        <a:pt x="1357595" y="1855219"/>
                        <a:pt x="1450976" y="1948600"/>
                        <a:pt x="1450976" y="2063792"/>
                      </a:cubicBezTo>
                      <a:lnTo>
                        <a:pt x="1450976" y="2816001"/>
                      </a:lnTo>
                      <a:lnTo>
                        <a:pt x="1383708" y="2800498"/>
                      </a:lnTo>
                      <a:cubicBezTo>
                        <a:pt x="1303211" y="2775461"/>
                        <a:pt x="1227802" y="2738874"/>
                        <a:pt x="1159420" y="2692676"/>
                      </a:cubicBezTo>
                      <a:lnTo>
                        <a:pt x="1043130" y="2596728"/>
                      </a:lnTo>
                      <a:lnTo>
                        <a:pt x="966051" y="2611476"/>
                      </a:lnTo>
                      <a:cubicBezTo>
                        <a:pt x="930312" y="2616019"/>
                        <a:pt x="893886" y="2618360"/>
                        <a:pt x="856912" y="2618360"/>
                      </a:cubicBezTo>
                      <a:cubicBezTo>
                        <a:pt x="383653" y="2618360"/>
                        <a:pt x="0" y="2234707"/>
                        <a:pt x="0" y="1761448"/>
                      </a:cubicBezTo>
                      <a:cubicBezTo>
                        <a:pt x="0" y="1406504"/>
                        <a:pt x="215805" y="1101963"/>
                        <a:pt x="523363" y="971877"/>
                      </a:cubicBezTo>
                      <a:lnTo>
                        <a:pt x="594344" y="945897"/>
                      </a:lnTo>
                      <a:lnTo>
                        <a:pt x="617903" y="854276"/>
                      </a:lnTo>
                      <a:cubicBezTo>
                        <a:pt x="726008" y="506709"/>
                        <a:pt x="1023194" y="242448"/>
                        <a:pt x="1389144" y="181814"/>
                      </a:cubicBezTo>
                      <a:lnTo>
                        <a:pt x="1488675" y="173657"/>
                      </a:lnTo>
                      <a:lnTo>
                        <a:pt x="1488675" y="1075362"/>
                      </a:lnTo>
                      <a:cubicBezTo>
                        <a:pt x="1488675" y="1268645"/>
                        <a:pt x="1645361" y="1425331"/>
                        <a:pt x="1838644" y="1425331"/>
                      </a:cubicBezTo>
                      <a:lnTo>
                        <a:pt x="1932112" y="1425331"/>
                      </a:lnTo>
                      <a:lnTo>
                        <a:pt x="1932112" y="1423973"/>
                      </a:lnTo>
                      <a:lnTo>
                        <a:pt x="2048868" y="1423973"/>
                      </a:lnTo>
                      <a:cubicBezTo>
                        <a:pt x="2164060" y="1423973"/>
                        <a:pt x="2257441" y="1517354"/>
                        <a:pt x="2257441" y="1632546"/>
                      </a:cubicBezTo>
                      <a:lnTo>
                        <a:pt x="2257441" y="1815995"/>
                      </a:lnTo>
                      <a:lnTo>
                        <a:pt x="2213314" y="1829693"/>
                      </a:lnTo>
                      <a:cubicBezTo>
                        <a:pt x="2104519" y="1875709"/>
                        <a:pt x="2028181" y="1983436"/>
                        <a:pt x="2028181" y="2108993"/>
                      </a:cubicBezTo>
                      <a:cubicBezTo>
                        <a:pt x="2028181" y="2276402"/>
                        <a:pt x="2163893" y="2412114"/>
                        <a:pt x="2331302" y="2412114"/>
                      </a:cubicBezTo>
                      <a:cubicBezTo>
                        <a:pt x="2498711" y="2412114"/>
                        <a:pt x="2634423" y="2276402"/>
                        <a:pt x="2634423" y="2108993"/>
                      </a:cubicBezTo>
                      <a:cubicBezTo>
                        <a:pt x="2634423" y="1983436"/>
                        <a:pt x="2558085" y="1875709"/>
                        <a:pt x="2449291" y="1829693"/>
                      </a:cubicBezTo>
                      <a:lnTo>
                        <a:pt x="2398837" y="1814031"/>
                      </a:lnTo>
                      <a:lnTo>
                        <a:pt x="2398837" y="1632546"/>
                      </a:lnTo>
                      <a:cubicBezTo>
                        <a:pt x="2398837" y="1439263"/>
                        <a:pt x="2242151" y="1282577"/>
                        <a:pt x="2048868" y="1282577"/>
                      </a:cubicBezTo>
                      <a:lnTo>
                        <a:pt x="1932112" y="1282577"/>
                      </a:lnTo>
                      <a:lnTo>
                        <a:pt x="1932112" y="1283935"/>
                      </a:lnTo>
                      <a:lnTo>
                        <a:pt x="1838644" y="1283935"/>
                      </a:lnTo>
                      <a:cubicBezTo>
                        <a:pt x="1723452" y="1283935"/>
                        <a:pt x="1630071" y="1190554"/>
                        <a:pt x="1630071" y="1075362"/>
                      </a:cubicBezTo>
                      <a:lnTo>
                        <a:pt x="1630071" y="174337"/>
                      </a:lnTo>
                      <a:lnTo>
                        <a:pt x="1644199" y="175339"/>
                      </a:lnTo>
                      <a:lnTo>
                        <a:pt x="1679338" y="146347"/>
                      </a:lnTo>
                      <a:cubicBezTo>
                        <a:pt x="1816102" y="53951"/>
                        <a:pt x="1980973" y="0"/>
                        <a:pt x="2158445" y="0"/>
                      </a:cubicBezTo>
                      <a:close/>
                    </a:path>
                  </a:pathLst>
                </a:custGeom>
                <a:solidFill>
                  <a:srgbClr val="0078D3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9" name="Freeform: Shape 37">
                  <a:extLst>
                    <a:ext uri="{FF2B5EF4-FFF2-40B4-BE49-F238E27FC236}">
                      <a16:creationId xmlns:a16="http://schemas.microsoft.com/office/drawing/2014/main" id="{4BAAF4D0-F18D-F049-925C-4E2DA88108C8}"/>
                    </a:ext>
                  </a:extLst>
                </p:cNvPr>
                <p:cNvSpPr/>
                <p:nvPr/>
              </p:nvSpPr>
              <p:spPr bwMode="auto">
                <a:xfrm>
                  <a:off x="5916643" y="2233645"/>
                  <a:ext cx="358714" cy="358714"/>
                </a:xfrm>
                <a:custGeom>
                  <a:avLst/>
                  <a:gdLst>
                    <a:gd name="connsiteX0" fmla="*/ 179357 w 358714"/>
                    <a:gd name="connsiteY0" fmla="*/ 0 h 358714"/>
                    <a:gd name="connsiteX1" fmla="*/ 358714 w 358714"/>
                    <a:gd name="connsiteY1" fmla="*/ 179357 h 358714"/>
                    <a:gd name="connsiteX2" fmla="*/ 179357 w 358714"/>
                    <a:gd name="connsiteY2" fmla="*/ 358714 h 358714"/>
                    <a:gd name="connsiteX3" fmla="*/ 0 w 358714"/>
                    <a:gd name="connsiteY3" fmla="*/ 179357 h 358714"/>
                    <a:gd name="connsiteX4" fmla="*/ 179357 w 358714"/>
                    <a:gd name="connsiteY4" fmla="*/ 0 h 358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714" h="358714">
                      <a:moveTo>
                        <a:pt x="179357" y="0"/>
                      </a:moveTo>
                      <a:cubicBezTo>
                        <a:pt x="278413" y="0"/>
                        <a:pt x="358714" y="80301"/>
                        <a:pt x="358714" y="179357"/>
                      </a:cubicBezTo>
                      <a:cubicBezTo>
                        <a:pt x="358714" y="278413"/>
                        <a:pt x="278413" y="358714"/>
                        <a:pt x="179357" y="358714"/>
                      </a:cubicBezTo>
                      <a:cubicBezTo>
                        <a:pt x="80301" y="358714"/>
                        <a:pt x="0" y="278413"/>
                        <a:pt x="0" y="179357"/>
                      </a:cubicBezTo>
                      <a:cubicBezTo>
                        <a:pt x="0" y="80301"/>
                        <a:pt x="80301" y="0"/>
                        <a:pt x="179357" y="0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" name="Freeform: Shape 38">
                  <a:extLst>
                    <a:ext uri="{FF2B5EF4-FFF2-40B4-BE49-F238E27FC236}">
                      <a16:creationId xmlns:a16="http://schemas.microsoft.com/office/drawing/2014/main" id="{777A4DC8-EB74-4747-874D-2E406D1A39F5}"/>
                    </a:ext>
                  </a:extLst>
                </p:cNvPr>
                <p:cNvSpPr/>
                <p:nvPr/>
              </p:nvSpPr>
              <p:spPr bwMode="auto">
                <a:xfrm>
                  <a:off x="7418579" y="2994850"/>
                  <a:ext cx="358714" cy="358714"/>
                </a:xfrm>
                <a:custGeom>
                  <a:avLst/>
                  <a:gdLst>
                    <a:gd name="connsiteX0" fmla="*/ 179357 w 358714"/>
                    <a:gd name="connsiteY0" fmla="*/ 0 h 358714"/>
                    <a:gd name="connsiteX1" fmla="*/ 358714 w 358714"/>
                    <a:gd name="connsiteY1" fmla="*/ 179357 h 358714"/>
                    <a:gd name="connsiteX2" fmla="*/ 179357 w 358714"/>
                    <a:gd name="connsiteY2" fmla="*/ 358714 h 358714"/>
                    <a:gd name="connsiteX3" fmla="*/ 0 w 358714"/>
                    <a:gd name="connsiteY3" fmla="*/ 179357 h 358714"/>
                    <a:gd name="connsiteX4" fmla="*/ 179357 w 358714"/>
                    <a:gd name="connsiteY4" fmla="*/ 0 h 358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714" h="358714">
                      <a:moveTo>
                        <a:pt x="179357" y="0"/>
                      </a:moveTo>
                      <a:cubicBezTo>
                        <a:pt x="278413" y="0"/>
                        <a:pt x="358714" y="80301"/>
                        <a:pt x="358714" y="179357"/>
                      </a:cubicBezTo>
                      <a:cubicBezTo>
                        <a:pt x="358714" y="278413"/>
                        <a:pt x="278413" y="358714"/>
                        <a:pt x="179357" y="358714"/>
                      </a:cubicBezTo>
                      <a:cubicBezTo>
                        <a:pt x="80301" y="358714"/>
                        <a:pt x="0" y="278413"/>
                        <a:pt x="0" y="179357"/>
                      </a:cubicBezTo>
                      <a:cubicBezTo>
                        <a:pt x="0" y="80301"/>
                        <a:pt x="80301" y="0"/>
                        <a:pt x="179357" y="0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1" name="Freeform: Shape 39">
                  <a:extLst>
                    <a:ext uri="{FF2B5EF4-FFF2-40B4-BE49-F238E27FC236}">
                      <a16:creationId xmlns:a16="http://schemas.microsoft.com/office/drawing/2014/main" id="{F6624F47-D3CB-7045-9EC8-BF78E02E672C}"/>
                    </a:ext>
                  </a:extLst>
                </p:cNvPr>
                <p:cNvSpPr/>
                <p:nvPr/>
              </p:nvSpPr>
              <p:spPr bwMode="auto">
                <a:xfrm>
                  <a:off x="4340982" y="3283683"/>
                  <a:ext cx="358714" cy="358714"/>
                </a:xfrm>
                <a:custGeom>
                  <a:avLst/>
                  <a:gdLst>
                    <a:gd name="connsiteX0" fmla="*/ 179357 w 358714"/>
                    <a:gd name="connsiteY0" fmla="*/ 0 h 358714"/>
                    <a:gd name="connsiteX1" fmla="*/ 358714 w 358714"/>
                    <a:gd name="connsiteY1" fmla="*/ 179357 h 358714"/>
                    <a:gd name="connsiteX2" fmla="*/ 179357 w 358714"/>
                    <a:gd name="connsiteY2" fmla="*/ 358714 h 358714"/>
                    <a:gd name="connsiteX3" fmla="*/ 0 w 358714"/>
                    <a:gd name="connsiteY3" fmla="*/ 179357 h 358714"/>
                    <a:gd name="connsiteX4" fmla="*/ 179357 w 358714"/>
                    <a:gd name="connsiteY4" fmla="*/ 0 h 358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714" h="358714">
                      <a:moveTo>
                        <a:pt x="179357" y="0"/>
                      </a:moveTo>
                      <a:cubicBezTo>
                        <a:pt x="278413" y="0"/>
                        <a:pt x="358714" y="80301"/>
                        <a:pt x="358714" y="179357"/>
                      </a:cubicBezTo>
                      <a:cubicBezTo>
                        <a:pt x="358714" y="278413"/>
                        <a:pt x="278413" y="358714"/>
                        <a:pt x="179357" y="358714"/>
                      </a:cubicBezTo>
                      <a:cubicBezTo>
                        <a:pt x="80301" y="358714"/>
                        <a:pt x="0" y="278413"/>
                        <a:pt x="0" y="179357"/>
                      </a:cubicBezTo>
                      <a:cubicBezTo>
                        <a:pt x="0" y="80301"/>
                        <a:pt x="80301" y="0"/>
                        <a:pt x="179357" y="0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2" name="Freeform: Shape 40">
                  <a:extLst>
                    <a:ext uri="{FF2B5EF4-FFF2-40B4-BE49-F238E27FC236}">
                      <a16:creationId xmlns:a16="http://schemas.microsoft.com/office/drawing/2014/main" id="{D7EC3F92-E646-0042-B39A-BC6A4BF9594E}"/>
                    </a:ext>
                  </a:extLst>
                </p:cNvPr>
                <p:cNvSpPr/>
                <p:nvPr/>
              </p:nvSpPr>
              <p:spPr bwMode="auto">
                <a:xfrm>
                  <a:off x="5849107" y="3601092"/>
                  <a:ext cx="358714" cy="358714"/>
                </a:xfrm>
                <a:custGeom>
                  <a:avLst/>
                  <a:gdLst>
                    <a:gd name="connsiteX0" fmla="*/ 179357 w 358714"/>
                    <a:gd name="connsiteY0" fmla="*/ 0 h 358714"/>
                    <a:gd name="connsiteX1" fmla="*/ 358714 w 358714"/>
                    <a:gd name="connsiteY1" fmla="*/ 179357 h 358714"/>
                    <a:gd name="connsiteX2" fmla="*/ 179357 w 358714"/>
                    <a:gd name="connsiteY2" fmla="*/ 358714 h 358714"/>
                    <a:gd name="connsiteX3" fmla="*/ 0 w 358714"/>
                    <a:gd name="connsiteY3" fmla="*/ 179357 h 358714"/>
                    <a:gd name="connsiteX4" fmla="*/ 179357 w 358714"/>
                    <a:gd name="connsiteY4" fmla="*/ 0 h 358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714" h="358714">
                      <a:moveTo>
                        <a:pt x="179357" y="0"/>
                      </a:moveTo>
                      <a:cubicBezTo>
                        <a:pt x="278413" y="0"/>
                        <a:pt x="358714" y="80301"/>
                        <a:pt x="358714" y="179357"/>
                      </a:cubicBezTo>
                      <a:cubicBezTo>
                        <a:pt x="358714" y="278413"/>
                        <a:pt x="278413" y="358714"/>
                        <a:pt x="179357" y="358714"/>
                      </a:cubicBezTo>
                      <a:cubicBezTo>
                        <a:pt x="80301" y="358714"/>
                        <a:pt x="0" y="278413"/>
                        <a:pt x="0" y="179357"/>
                      </a:cubicBezTo>
                      <a:cubicBezTo>
                        <a:pt x="0" y="80301"/>
                        <a:pt x="80301" y="0"/>
                        <a:pt x="179357" y="0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B2EC01-163C-4457-9D27-594389206BB9}"/>
              </a:ext>
            </a:extLst>
          </p:cNvPr>
          <p:cNvGrpSpPr/>
          <p:nvPr/>
        </p:nvGrpSpPr>
        <p:grpSpPr>
          <a:xfrm>
            <a:off x="2390950" y="1599909"/>
            <a:ext cx="1554480" cy="3625112"/>
            <a:chOff x="2390950" y="1599909"/>
            <a:chExt cx="1554480" cy="3625112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5F8E344-80C1-470A-907A-346426C8BE8D}"/>
                </a:ext>
              </a:extLst>
            </p:cNvPr>
            <p:cNvSpPr/>
            <p:nvPr/>
          </p:nvSpPr>
          <p:spPr>
            <a:xfrm>
              <a:off x="2390950" y="2972247"/>
              <a:ext cx="1554480" cy="49859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Machine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Learning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14049F2-A92F-4D79-AA25-42ABF2D3659D}"/>
                </a:ext>
              </a:extLst>
            </p:cNvPr>
            <p:cNvSpPr txBox="1"/>
            <p:nvPr/>
          </p:nvSpPr>
          <p:spPr>
            <a:xfrm>
              <a:off x="2390950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rvices for all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kill levels to build,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rain, and deploy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L models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4CA0C1C-9626-47E6-8F9B-AF5206B3E516}"/>
                </a:ext>
              </a:extLst>
            </p:cNvPr>
            <p:cNvGrpSpPr/>
            <p:nvPr/>
          </p:nvGrpSpPr>
          <p:grpSpPr>
            <a:xfrm>
              <a:off x="2594478" y="1599909"/>
              <a:ext cx="1147424" cy="1144282"/>
              <a:chOff x="2576828" y="1823141"/>
              <a:chExt cx="1147424" cy="1144282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88732852-D2EF-490B-93AB-5ED252F1D8C9}"/>
                  </a:ext>
                </a:extLst>
              </p:cNvPr>
              <p:cNvSpPr/>
              <p:nvPr/>
            </p:nvSpPr>
            <p:spPr bwMode="auto">
              <a:xfrm>
                <a:off x="2576828" y="1823141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305E63BC-B0DC-5940-A9FA-B9E129665831}"/>
                  </a:ext>
                </a:extLst>
              </p:cNvPr>
              <p:cNvGrpSpPr/>
              <p:nvPr/>
            </p:nvGrpSpPr>
            <p:grpSpPr>
              <a:xfrm>
                <a:off x="2923687" y="2156518"/>
                <a:ext cx="453706" cy="477528"/>
                <a:chOff x="868143" y="921769"/>
                <a:chExt cx="4550679" cy="4789602"/>
              </a:xfrm>
            </p:grpSpPr>
            <p:sp>
              <p:nvSpPr>
                <p:cNvPr id="64" name="Freeform: Shape 167">
                  <a:extLst>
                    <a:ext uri="{FF2B5EF4-FFF2-40B4-BE49-F238E27FC236}">
                      <a16:creationId xmlns:a16="http://schemas.microsoft.com/office/drawing/2014/main" id="{9D11924D-B4CA-304C-9A0C-431FBF48E0D6}"/>
                    </a:ext>
                  </a:extLst>
                </p:cNvPr>
                <p:cNvSpPr/>
                <p:nvPr/>
              </p:nvSpPr>
              <p:spPr bwMode="auto">
                <a:xfrm>
                  <a:off x="1856368" y="2966308"/>
                  <a:ext cx="3056313" cy="2182647"/>
                </a:xfrm>
                <a:custGeom>
                  <a:avLst/>
                  <a:gdLst>
                    <a:gd name="connsiteX0" fmla="*/ 1087004 w 3056316"/>
                    <a:gd name="connsiteY0" fmla="*/ 0 h 2182650"/>
                    <a:gd name="connsiteX1" fmla="*/ 1895809 w 3056316"/>
                    <a:gd name="connsiteY1" fmla="*/ 0 h 2182650"/>
                    <a:gd name="connsiteX2" fmla="*/ 2778792 w 3056316"/>
                    <a:gd name="connsiteY2" fmla="*/ 1666538 h 2182650"/>
                    <a:gd name="connsiteX3" fmla="*/ 2786215 w 3056316"/>
                    <a:gd name="connsiteY3" fmla="*/ 1651953 h 2182650"/>
                    <a:gd name="connsiteX4" fmla="*/ 3056316 w 3056316"/>
                    <a:gd name="connsiteY4" fmla="*/ 2182650 h 2182650"/>
                    <a:gd name="connsiteX5" fmla="*/ 2516113 w 3056316"/>
                    <a:gd name="connsiteY5" fmla="*/ 2182650 h 2182650"/>
                    <a:gd name="connsiteX6" fmla="*/ 2516720 w 3056316"/>
                    <a:gd name="connsiteY6" fmla="*/ 2181457 h 2182650"/>
                    <a:gd name="connsiteX7" fmla="*/ 0 w 3056316"/>
                    <a:gd name="connsiteY7" fmla="*/ 2182650 h 2182650"/>
                    <a:gd name="connsiteX0" fmla="*/ 1087004 w 3056316"/>
                    <a:gd name="connsiteY0" fmla="*/ 0 h 2182650"/>
                    <a:gd name="connsiteX1" fmla="*/ 1895809 w 3056316"/>
                    <a:gd name="connsiteY1" fmla="*/ 0 h 2182650"/>
                    <a:gd name="connsiteX2" fmla="*/ 2778792 w 3056316"/>
                    <a:gd name="connsiteY2" fmla="*/ 1666538 h 2182650"/>
                    <a:gd name="connsiteX3" fmla="*/ 3056316 w 3056316"/>
                    <a:gd name="connsiteY3" fmla="*/ 2182650 h 2182650"/>
                    <a:gd name="connsiteX4" fmla="*/ 2516113 w 3056316"/>
                    <a:gd name="connsiteY4" fmla="*/ 2182650 h 2182650"/>
                    <a:gd name="connsiteX5" fmla="*/ 2516720 w 3056316"/>
                    <a:gd name="connsiteY5" fmla="*/ 2181457 h 2182650"/>
                    <a:gd name="connsiteX6" fmla="*/ 0 w 3056316"/>
                    <a:gd name="connsiteY6" fmla="*/ 2182650 h 2182650"/>
                    <a:gd name="connsiteX7" fmla="*/ 1087004 w 3056316"/>
                    <a:gd name="connsiteY7" fmla="*/ 0 h 2182650"/>
                    <a:gd name="connsiteX0" fmla="*/ 1087004 w 3056316"/>
                    <a:gd name="connsiteY0" fmla="*/ 0 h 2182650"/>
                    <a:gd name="connsiteX1" fmla="*/ 1895809 w 3056316"/>
                    <a:gd name="connsiteY1" fmla="*/ 0 h 2182650"/>
                    <a:gd name="connsiteX2" fmla="*/ 3056316 w 3056316"/>
                    <a:gd name="connsiteY2" fmla="*/ 2182650 h 2182650"/>
                    <a:gd name="connsiteX3" fmla="*/ 2516113 w 3056316"/>
                    <a:gd name="connsiteY3" fmla="*/ 2182650 h 2182650"/>
                    <a:gd name="connsiteX4" fmla="*/ 2516720 w 3056316"/>
                    <a:gd name="connsiteY4" fmla="*/ 2181457 h 2182650"/>
                    <a:gd name="connsiteX5" fmla="*/ 0 w 3056316"/>
                    <a:gd name="connsiteY5" fmla="*/ 2182650 h 2182650"/>
                    <a:gd name="connsiteX6" fmla="*/ 1087004 w 3056316"/>
                    <a:gd name="connsiteY6" fmla="*/ 0 h 2182650"/>
                    <a:gd name="connsiteX0" fmla="*/ 1087004 w 3056316"/>
                    <a:gd name="connsiteY0" fmla="*/ 0 h 2182650"/>
                    <a:gd name="connsiteX1" fmla="*/ 1895809 w 3056316"/>
                    <a:gd name="connsiteY1" fmla="*/ 0 h 2182650"/>
                    <a:gd name="connsiteX2" fmla="*/ 3056316 w 3056316"/>
                    <a:gd name="connsiteY2" fmla="*/ 2182650 h 2182650"/>
                    <a:gd name="connsiteX3" fmla="*/ 2516113 w 3056316"/>
                    <a:gd name="connsiteY3" fmla="*/ 2182650 h 2182650"/>
                    <a:gd name="connsiteX4" fmla="*/ 0 w 3056316"/>
                    <a:gd name="connsiteY4" fmla="*/ 2182650 h 2182650"/>
                    <a:gd name="connsiteX5" fmla="*/ 1087004 w 3056316"/>
                    <a:gd name="connsiteY5" fmla="*/ 0 h 2182650"/>
                    <a:gd name="connsiteX0" fmla="*/ 1087004 w 3056316"/>
                    <a:gd name="connsiteY0" fmla="*/ 0 h 2182650"/>
                    <a:gd name="connsiteX1" fmla="*/ 1895809 w 3056316"/>
                    <a:gd name="connsiteY1" fmla="*/ 0 h 2182650"/>
                    <a:gd name="connsiteX2" fmla="*/ 3056316 w 3056316"/>
                    <a:gd name="connsiteY2" fmla="*/ 2182650 h 2182650"/>
                    <a:gd name="connsiteX3" fmla="*/ 0 w 3056316"/>
                    <a:gd name="connsiteY3" fmla="*/ 2182650 h 2182650"/>
                    <a:gd name="connsiteX4" fmla="*/ 1087004 w 3056316"/>
                    <a:gd name="connsiteY4" fmla="*/ 0 h 2182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56316" h="2182650">
                      <a:moveTo>
                        <a:pt x="1087004" y="0"/>
                      </a:moveTo>
                      <a:lnTo>
                        <a:pt x="1895809" y="0"/>
                      </a:lnTo>
                      <a:lnTo>
                        <a:pt x="3056316" y="2182650"/>
                      </a:lnTo>
                      <a:lnTo>
                        <a:pt x="0" y="2182650"/>
                      </a:lnTo>
                      <a:lnTo>
                        <a:pt x="1087004" y="0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 w="12700" cap="rnd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8963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83" name="Freeform: Shape 168">
                  <a:extLst>
                    <a:ext uri="{FF2B5EF4-FFF2-40B4-BE49-F238E27FC236}">
                      <a16:creationId xmlns:a16="http://schemas.microsoft.com/office/drawing/2014/main" id="{4E472C29-8B12-9D47-80EC-B2DEAF4579C3}"/>
                    </a:ext>
                  </a:extLst>
                </p:cNvPr>
                <p:cNvSpPr/>
                <p:nvPr/>
              </p:nvSpPr>
              <p:spPr bwMode="auto">
                <a:xfrm flipH="1">
                  <a:off x="868143" y="921769"/>
                  <a:ext cx="4550679" cy="4789602"/>
                </a:xfrm>
                <a:custGeom>
                  <a:avLst/>
                  <a:gdLst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3567103 w 4550679"/>
                    <a:gd name="connsiteY25" fmla="*/ 4227314 h 4789602"/>
                    <a:gd name="connsiteX26" fmla="*/ 2480038 w 4550679"/>
                    <a:gd name="connsiteY26" fmla="*/ 2044542 h 4789602"/>
                    <a:gd name="connsiteX27" fmla="*/ 2069912 w 4550679"/>
                    <a:gd name="connsiteY27" fmla="*/ 2044542 h 4789602"/>
                    <a:gd name="connsiteX28" fmla="*/ 983576 w 4550679"/>
                    <a:gd name="connsiteY28" fmla="*/ 4225849 h 4789602"/>
                    <a:gd name="connsiteX29" fmla="*/ 730598 w 4550679"/>
                    <a:gd name="connsiteY29" fmla="*/ 4225849 h 4789602"/>
                    <a:gd name="connsiteX30" fmla="*/ 617967 w 4550679"/>
                    <a:gd name="connsiteY30" fmla="*/ 4032472 h 4789602"/>
                    <a:gd name="connsiteX31" fmla="*/ 1933777 w 4550679"/>
                    <a:gd name="connsiteY31" fmla="*/ 1536374 h 4789602"/>
                    <a:gd name="connsiteX32" fmla="*/ 1935041 w 4550679"/>
                    <a:gd name="connsiteY32" fmla="*/ 1541054 h 4789602"/>
                    <a:gd name="connsiteX33" fmla="*/ 1935041 w 4550679"/>
                    <a:gd name="connsiteY33" fmla="*/ 559355 h 4789602"/>
                    <a:gd name="connsiteX34" fmla="*/ 2616902 w 4550679"/>
                    <a:gd name="connsiteY34" fmla="*/ 559355 h 4789602"/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3567103 w 4550679"/>
                    <a:gd name="connsiteY25" fmla="*/ 4227314 h 4789602"/>
                    <a:gd name="connsiteX26" fmla="*/ 2480038 w 4550679"/>
                    <a:gd name="connsiteY26" fmla="*/ 2044542 h 4789602"/>
                    <a:gd name="connsiteX27" fmla="*/ 2069912 w 4550679"/>
                    <a:gd name="connsiteY27" fmla="*/ 2044542 h 4789602"/>
                    <a:gd name="connsiteX28" fmla="*/ 983576 w 4550679"/>
                    <a:gd name="connsiteY28" fmla="*/ 4225849 h 4789602"/>
                    <a:gd name="connsiteX29" fmla="*/ 730598 w 4550679"/>
                    <a:gd name="connsiteY29" fmla="*/ 4225849 h 4789602"/>
                    <a:gd name="connsiteX30" fmla="*/ 617967 w 4550679"/>
                    <a:gd name="connsiteY30" fmla="*/ 4032472 h 4789602"/>
                    <a:gd name="connsiteX31" fmla="*/ 1933777 w 4550679"/>
                    <a:gd name="connsiteY31" fmla="*/ 1536374 h 4789602"/>
                    <a:gd name="connsiteX32" fmla="*/ 1935041 w 4550679"/>
                    <a:gd name="connsiteY32" fmla="*/ 559355 h 4789602"/>
                    <a:gd name="connsiteX33" fmla="*/ 2616902 w 4550679"/>
                    <a:gd name="connsiteY33" fmla="*/ 559355 h 4789602"/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3567103 w 4550679"/>
                    <a:gd name="connsiteY25" fmla="*/ 4227314 h 4789602"/>
                    <a:gd name="connsiteX26" fmla="*/ 2480038 w 4550679"/>
                    <a:gd name="connsiteY26" fmla="*/ 2044542 h 4789602"/>
                    <a:gd name="connsiteX27" fmla="*/ 983576 w 4550679"/>
                    <a:gd name="connsiteY27" fmla="*/ 4225849 h 4789602"/>
                    <a:gd name="connsiteX28" fmla="*/ 730598 w 4550679"/>
                    <a:gd name="connsiteY28" fmla="*/ 4225849 h 4789602"/>
                    <a:gd name="connsiteX29" fmla="*/ 617967 w 4550679"/>
                    <a:gd name="connsiteY29" fmla="*/ 4032472 h 4789602"/>
                    <a:gd name="connsiteX30" fmla="*/ 1933777 w 4550679"/>
                    <a:gd name="connsiteY30" fmla="*/ 1536374 h 4789602"/>
                    <a:gd name="connsiteX31" fmla="*/ 1935041 w 4550679"/>
                    <a:gd name="connsiteY31" fmla="*/ 559355 h 4789602"/>
                    <a:gd name="connsiteX32" fmla="*/ 2616902 w 4550679"/>
                    <a:gd name="connsiteY32" fmla="*/ 559355 h 4789602"/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3567103 w 4550679"/>
                    <a:gd name="connsiteY25" fmla="*/ 4227314 h 4789602"/>
                    <a:gd name="connsiteX26" fmla="*/ 983576 w 4550679"/>
                    <a:gd name="connsiteY26" fmla="*/ 4225849 h 4789602"/>
                    <a:gd name="connsiteX27" fmla="*/ 730598 w 4550679"/>
                    <a:gd name="connsiteY27" fmla="*/ 4225849 h 4789602"/>
                    <a:gd name="connsiteX28" fmla="*/ 617967 w 4550679"/>
                    <a:gd name="connsiteY28" fmla="*/ 4032472 h 4789602"/>
                    <a:gd name="connsiteX29" fmla="*/ 1933777 w 4550679"/>
                    <a:gd name="connsiteY29" fmla="*/ 1536374 h 4789602"/>
                    <a:gd name="connsiteX30" fmla="*/ 1935041 w 4550679"/>
                    <a:gd name="connsiteY30" fmla="*/ 559355 h 4789602"/>
                    <a:gd name="connsiteX31" fmla="*/ 2616902 w 4550679"/>
                    <a:gd name="connsiteY31" fmla="*/ 559355 h 4789602"/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983576 w 4550679"/>
                    <a:gd name="connsiteY25" fmla="*/ 4225849 h 4789602"/>
                    <a:gd name="connsiteX26" fmla="*/ 730598 w 4550679"/>
                    <a:gd name="connsiteY26" fmla="*/ 4225849 h 4789602"/>
                    <a:gd name="connsiteX27" fmla="*/ 617967 w 4550679"/>
                    <a:gd name="connsiteY27" fmla="*/ 4032472 h 4789602"/>
                    <a:gd name="connsiteX28" fmla="*/ 1933777 w 4550679"/>
                    <a:gd name="connsiteY28" fmla="*/ 1536374 h 4789602"/>
                    <a:gd name="connsiteX29" fmla="*/ 1935041 w 4550679"/>
                    <a:gd name="connsiteY29" fmla="*/ 559355 h 4789602"/>
                    <a:gd name="connsiteX30" fmla="*/ 2616902 w 4550679"/>
                    <a:gd name="connsiteY30" fmla="*/ 559355 h 4789602"/>
                    <a:gd name="connsiteX0" fmla="*/ 3443078 w 4550679"/>
                    <a:gd name="connsiteY0" fmla="*/ 0 h 4789602"/>
                    <a:gd name="connsiteX1" fmla="*/ 1105998 w 4550679"/>
                    <a:gd name="connsiteY1" fmla="*/ 0 h 4789602"/>
                    <a:gd name="connsiteX2" fmla="*/ 1105998 w 4550679"/>
                    <a:gd name="connsiteY2" fmla="*/ 559355 h 4789602"/>
                    <a:gd name="connsiteX3" fmla="*/ 1394974 w 4550679"/>
                    <a:gd name="connsiteY3" fmla="*/ 559355 h 4789602"/>
                    <a:gd name="connsiteX4" fmla="*/ 1394974 w 4550679"/>
                    <a:gd name="connsiteY4" fmla="*/ 1404731 h 4789602"/>
                    <a:gd name="connsiteX5" fmla="*/ 1330 w 4550679"/>
                    <a:gd name="connsiteY5" fmla="*/ 4045234 h 4789602"/>
                    <a:gd name="connsiteX6" fmla="*/ 0 w 4550679"/>
                    <a:gd name="connsiteY6" fmla="*/ 4046009 h 4789602"/>
                    <a:gd name="connsiteX7" fmla="*/ 483 w 4550679"/>
                    <a:gd name="connsiteY7" fmla="*/ 4046839 h 4789602"/>
                    <a:gd name="connsiteX8" fmla="*/ 2 w 4550679"/>
                    <a:gd name="connsiteY8" fmla="*/ 4047751 h 4789602"/>
                    <a:gd name="connsiteX9" fmla="*/ 1462 w 4550679"/>
                    <a:gd name="connsiteY9" fmla="*/ 4048522 h 4789602"/>
                    <a:gd name="connsiteX10" fmla="*/ 433105 w 4550679"/>
                    <a:gd name="connsiteY10" fmla="*/ 4789602 h 4789602"/>
                    <a:gd name="connsiteX11" fmla="*/ 4117574 w 4550679"/>
                    <a:gd name="connsiteY11" fmla="*/ 4789602 h 4789602"/>
                    <a:gd name="connsiteX12" fmla="*/ 4549217 w 4550679"/>
                    <a:gd name="connsiteY12" fmla="*/ 4048520 h 4789602"/>
                    <a:gd name="connsiteX13" fmla="*/ 4550677 w 4550679"/>
                    <a:gd name="connsiteY13" fmla="*/ 4047749 h 4789602"/>
                    <a:gd name="connsiteX14" fmla="*/ 4550196 w 4550679"/>
                    <a:gd name="connsiteY14" fmla="*/ 4046838 h 4789602"/>
                    <a:gd name="connsiteX15" fmla="*/ 4550679 w 4550679"/>
                    <a:gd name="connsiteY15" fmla="*/ 4046009 h 4789602"/>
                    <a:gd name="connsiteX16" fmla="*/ 4549350 w 4550679"/>
                    <a:gd name="connsiteY16" fmla="*/ 4045236 h 4789602"/>
                    <a:gd name="connsiteX17" fmla="*/ 3156970 w 4550679"/>
                    <a:gd name="connsiteY17" fmla="*/ 1407125 h 4789602"/>
                    <a:gd name="connsiteX18" fmla="*/ 3156970 w 4550679"/>
                    <a:gd name="connsiteY18" fmla="*/ 559355 h 4789602"/>
                    <a:gd name="connsiteX19" fmla="*/ 3443078 w 4550679"/>
                    <a:gd name="connsiteY19" fmla="*/ 559355 h 4789602"/>
                    <a:gd name="connsiteX20" fmla="*/ 3443078 w 4550679"/>
                    <a:gd name="connsiteY20" fmla="*/ 0 h 4789602"/>
                    <a:gd name="connsiteX21" fmla="*/ 2616902 w 4550679"/>
                    <a:gd name="connsiteY21" fmla="*/ 559355 h 4789602"/>
                    <a:gd name="connsiteX22" fmla="*/ 2616902 w 4550679"/>
                    <a:gd name="connsiteY22" fmla="*/ 1537839 h 4789602"/>
                    <a:gd name="connsiteX23" fmla="*/ 3932712 w 4550679"/>
                    <a:gd name="connsiteY23" fmla="*/ 4033937 h 4789602"/>
                    <a:gd name="connsiteX24" fmla="*/ 3820081 w 4550679"/>
                    <a:gd name="connsiteY24" fmla="*/ 4227314 h 4789602"/>
                    <a:gd name="connsiteX25" fmla="*/ 730598 w 4550679"/>
                    <a:gd name="connsiteY25" fmla="*/ 4225849 h 4789602"/>
                    <a:gd name="connsiteX26" fmla="*/ 617967 w 4550679"/>
                    <a:gd name="connsiteY26" fmla="*/ 4032472 h 4789602"/>
                    <a:gd name="connsiteX27" fmla="*/ 1933777 w 4550679"/>
                    <a:gd name="connsiteY27" fmla="*/ 1536374 h 4789602"/>
                    <a:gd name="connsiteX28" fmla="*/ 1935041 w 4550679"/>
                    <a:gd name="connsiteY28" fmla="*/ 559355 h 4789602"/>
                    <a:gd name="connsiteX29" fmla="*/ 2616902 w 4550679"/>
                    <a:gd name="connsiteY29" fmla="*/ 559355 h 4789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4550679" h="4789602">
                      <a:moveTo>
                        <a:pt x="3443078" y="0"/>
                      </a:moveTo>
                      <a:lnTo>
                        <a:pt x="1105998" y="0"/>
                      </a:lnTo>
                      <a:lnTo>
                        <a:pt x="1105998" y="559355"/>
                      </a:lnTo>
                      <a:lnTo>
                        <a:pt x="1394974" y="559355"/>
                      </a:lnTo>
                      <a:lnTo>
                        <a:pt x="1394974" y="1404731"/>
                      </a:lnTo>
                      <a:lnTo>
                        <a:pt x="1330" y="4045234"/>
                      </a:lnTo>
                      <a:lnTo>
                        <a:pt x="0" y="4046009"/>
                      </a:lnTo>
                      <a:lnTo>
                        <a:pt x="483" y="4046839"/>
                      </a:lnTo>
                      <a:lnTo>
                        <a:pt x="2" y="4047751"/>
                      </a:lnTo>
                      <a:lnTo>
                        <a:pt x="1462" y="4048522"/>
                      </a:lnTo>
                      <a:lnTo>
                        <a:pt x="433105" y="4789602"/>
                      </a:lnTo>
                      <a:lnTo>
                        <a:pt x="4117574" y="4789602"/>
                      </a:lnTo>
                      <a:lnTo>
                        <a:pt x="4549217" y="4048520"/>
                      </a:lnTo>
                      <a:lnTo>
                        <a:pt x="4550677" y="4047749"/>
                      </a:lnTo>
                      <a:lnTo>
                        <a:pt x="4550196" y="4046838"/>
                      </a:lnTo>
                      <a:lnTo>
                        <a:pt x="4550679" y="4046009"/>
                      </a:lnTo>
                      <a:lnTo>
                        <a:pt x="4549350" y="4045236"/>
                      </a:lnTo>
                      <a:lnTo>
                        <a:pt x="3156970" y="1407125"/>
                      </a:lnTo>
                      <a:lnTo>
                        <a:pt x="3156970" y="559355"/>
                      </a:lnTo>
                      <a:lnTo>
                        <a:pt x="3443078" y="559355"/>
                      </a:lnTo>
                      <a:lnTo>
                        <a:pt x="3443078" y="0"/>
                      </a:lnTo>
                      <a:close/>
                      <a:moveTo>
                        <a:pt x="2616902" y="559355"/>
                      </a:moveTo>
                      <a:lnTo>
                        <a:pt x="2616902" y="1537839"/>
                      </a:lnTo>
                      <a:lnTo>
                        <a:pt x="3932712" y="4033937"/>
                      </a:lnTo>
                      <a:lnTo>
                        <a:pt x="3820081" y="4227314"/>
                      </a:lnTo>
                      <a:lnTo>
                        <a:pt x="730598" y="4225849"/>
                      </a:lnTo>
                      <a:lnTo>
                        <a:pt x="617967" y="4032472"/>
                      </a:lnTo>
                      <a:lnTo>
                        <a:pt x="1933777" y="1536374"/>
                      </a:lnTo>
                      <a:cubicBezTo>
                        <a:pt x="1934198" y="1210701"/>
                        <a:pt x="1934620" y="885028"/>
                        <a:pt x="1935041" y="559355"/>
                      </a:cubicBezTo>
                      <a:lnTo>
                        <a:pt x="2616902" y="559355"/>
                      </a:lnTo>
                      <a:close/>
                    </a:path>
                  </a:pathLst>
                </a:custGeom>
                <a:solidFill>
                  <a:srgbClr val="50E6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373D993-832B-4B5A-BE52-57CDFFEAB352}"/>
              </a:ext>
            </a:extLst>
          </p:cNvPr>
          <p:cNvGrpSpPr/>
          <p:nvPr/>
        </p:nvGrpSpPr>
        <p:grpSpPr>
          <a:xfrm>
            <a:off x="8262061" y="1599909"/>
            <a:ext cx="1554480" cy="3625112"/>
            <a:chOff x="8262061" y="1599909"/>
            <a:chExt cx="1554480" cy="3625112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AB96909-71F1-49E1-AE40-ADD4C82FC032}"/>
                </a:ext>
              </a:extLst>
            </p:cNvPr>
            <p:cNvSpPr/>
            <p:nvPr/>
          </p:nvSpPr>
          <p:spPr>
            <a:xfrm>
              <a:off x="8262061" y="2972247"/>
              <a:ext cx="1554480" cy="49859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QL Database</a:t>
              </a:r>
            </a:p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dg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BB91180C-EBA1-412F-9B96-ACF6A747B968}"/>
                </a:ext>
              </a:extLst>
            </p:cNvPr>
            <p:cNvSpPr txBox="1"/>
            <p:nvPr/>
          </p:nvSpPr>
          <p:spPr>
            <a:xfrm>
              <a:off x="8262061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mall-footprint, edge-optimized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ata engine with built-in ML and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he most secure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SQL engine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F674017-D760-46B8-A1EC-1CF4F67B723D}"/>
                </a:ext>
              </a:extLst>
            </p:cNvPr>
            <p:cNvGrpSpPr/>
            <p:nvPr/>
          </p:nvGrpSpPr>
          <p:grpSpPr>
            <a:xfrm>
              <a:off x="8465589" y="1599909"/>
              <a:ext cx="1147424" cy="1144282"/>
              <a:chOff x="8415383" y="1805968"/>
              <a:chExt cx="1147424" cy="1144282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13839DD7-18B8-44E9-8B31-7CB879DF55EF}"/>
                  </a:ext>
                </a:extLst>
              </p:cNvPr>
              <p:cNvSpPr/>
              <p:nvPr/>
            </p:nvSpPr>
            <p:spPr bwMode="auto">
              <a:xfrm>
                <a:off x="8415383" y="1805968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84" name="Freeform: Shape 132">
                <a:extLst>
                  <a:ext uri="{FF2B5EF4-FFF2-40B4-BE49-F238E27FC236}">
                    <a16:creationId xmlns:a16="http://schemas.microsoft.com/office/drawing/2014/main" id="{137932EA-02D6-CB42-86AF-9D98D8C53580}"/>
                  </a:ext>
                </a:extLst>
              </p:cNvPr>
              <p:cNvSpPr/>
              <p:nvPr/>
            </p:nvSpPr>
            <p:spPr bwMode="auto">
              <a:xfrm flipH="1">
                <a:off x="8797102" y="2127327"/>
                <a:ext cx="383987" cy="501564"/>
              </a:xfrm>
              <a:custGeom>
                <a:avLst/>
                <a:gdLst>
                  <a:gd name="connsiteX0" fmla="*/ 241548 w 489702"/>
                  <a:gd name="connsiteY0" fmla="*/ 312298 h 639648"/>
                  <a:gd name="connsiteX1" fmla="*/ 225297 w 489702"/>
                  <a:gd name="connsiteY1" fmla="*/ 321375 h 639648"/>
                  <a:gd name="connsiteX2" fmla="*/ 219357 w 489702"/>
                  <a:gd name="connsiteY2" fmla="*/ 346201 h 639648"/>
                  <a:gd name="connsiteX3" fmla="*/ 225648 w 489702"/>
                  <a:gd name="connsiteY3" fmla="*/ 369870 h 639648"/>
                  <a:gd name="connsiteX4" fmla="*/ 242160 w 489702"/>
                  <a:gd name="connsiteY4" fmla="*/ 378678 h 639648"/>
                  <a:gd name="connsiteX5" fmla="*/ 259153 w 489702"/>
                  <a:gd name="connsiteY5" fmla="*/ 369959 h 639648"/>
                  <a:gd name="connsiteX6" fmla="*/ 265401 w 489702"/>
                  <a:gd name="connsiteY6" fmla="*/ 345666 h 639648"/>
                  <a:gd name="connsiteX7" fmla="*/ 259110 w 489702"/>
                  <a:gd name="connsiteY7" fmla="*/ 321018 h 639648"/>
                  <a:gd name="connsiteX8" fmla="*/ 241548 w 489702"/>
                  <a:gd name="connsiteY8" fmla="*/ 312298 h 639648"/>
                  <a:gd name="connsiteX9" fmla="*/ 161681 w 489702"/>
                  <a:gd name="connsiteY9" fmla="*/ 281690 h 639648"/>
                  <a:gd name="connsiteX10" fmla="*/ 161681 w 489702"/>
                  <a:gd name="connsiteY10" fmla="*/ 409290 h 639648"/>
                  <a:gd name="connsiteX11" fmla="*/ 80776 w 489702"/>
                  <a:gd name="connsiteY11" fmla="*/ 409290 h 639648"/>
                  <a:gd name="connsiteX12" fmla="*/ 80776 w 489702"/>
                  <a:gd name="connsiteY12" fmla="*/ 379213 h 639648"/>
                  <a:gd name="connsiteX13" fmla="*/ 123937 w 489702"/>
                  <a:gd name="connsiteY13" fmla="*/ 379213 h 639648"/>
                  <a:gd name="connsiteX14" fmla="*/ 123937 w 489702"/>
                  <a:gd name="connsiteY14" fmla="*/ 281690 h 639648"/>
                  <a:gd name="connsiteX15" fmla="*/ 241199 w 489702"/>
                  <a:gd name="connsiteY15" fmla="*/ 279553 h 639648"/>
                  <a:gd name="connsiteX16" fmla="*/ 274576 w 489702"/>
                  <a:gd name="connsiteY16" fmla="*/ 288051 h 639648"/>
                  <a:gd name="connsiteX17" fmla="*/ 297379 w 489702"/>
                  <a:gd name="connsiteY17" fmla="*/ 312121 h 639648"/>
                  <a:gd name="connsiteX18" fmla="*/ 305505 w 489702"/>
                  <a:gd name="connsiteY18" fmla="*/ 347180 h 639648"/>
                  <a:gd name="connsiteX19" fmla="*/ 297466 w 489702"/>
                  <a:gd name="connsiteY19" fmla="*/ 380503 h 639648"/>
                  <a:gd name="connsiteX20" fmla="*/ 274968 w 489702"/>
                  <a:gd name="connsiteY20" fmla="*/ 403372 h 639648"/>
                  <a:gd name="connsiteX21" fmla="*/ 242859 w 489702"/>
                  <a:gd name="connsiteY21" fmla="*/ 411514 h 639648"/>
                  <a:gd name="connsiteX22" fmla="*/ 228269 w 489702"/>
                  <a:gd name="connsiteY22" fmla="*/ 410000 h 639648"/>
                  <a:gd name="connsiteX23" fmla="*/ 212367 w 489702"/>
                  <a:gd name="connsiteY23" fmla="*/ 426462 h 639648"/>
                  <a:gd name="connsiteX24" fmla="*/ 165012 w 489702"/>
                  <a:gd name="connsiteY24" fmla="*/ 426462 h 639648"/>
                  <a:gd name="connsiteX25" fmla="*/ 198125 w 489702"/>
                  <a:gd name="connsiteY25" fmla="*/ 393894 h 639648"/>
                  <a:gd name="connsiteX26" fmla="*/ 179340 w 489702"/>
                  <a:gd name="connsiteY26" fmla="*/ 345133 h 639648"/>
                  <a:gd name="connsiteX27" fmla="*/ 187072 w 489702"/>
                  <a:gd name="connsiteY27" fmla="*/ 310918 h 639648"/>
                  <a:gd name="connsiteX28" fmla="*/ 209003 w 489702"/>
                  <a:gd name="connsiteY28" fmla="*/ 287696 h 639648"/>
                  <a:gd name="connsiteX29" fmla="*/ 241199 w 489702"/>
                  <a:gd name="connsiteY29" fmla="*/ 279553 h 639648"/>
                  <a:gd name="connsiteX30" fmla="*/ 358076 w 489702"/>
                  <a:gd name="connsiteY30" fmla="*/ 279553 h 639648"/>
                  <a:gd name="connsiteX31" fmla="*/ 395122 w 489702"/>
                  <a:gd name="connsiteY31" fmla="*/ 290631 h 639648"/>
                  <a:gd name="connsiteX32" fmla="*/ 408926 w 489702"/>
                  <a:gd name="connsiteY32" fmla="*/ 320218 h 639648"/>
                  <a:gd name="connsiteX33" fmla="*/ 378695 w 489702"/>
                  <a:gd name="connsiteY33" fmla="*/ 358482 h 639648"/>
                  <a:gd name="connsiteX34" fmla="*/ 365895 w 489702"/>
                  <a:gd name="connsiteY34" fmla="*/ 364087 h 639648"/>
                  <a:gd name="connsiteX35" fmla="*/ 360741 w 489702"/>
                  <a:gd name="connsiteY35" fmla="*/ 368491 h 639648"/>
                  <a:gd name="connsiteX36" fmla="*/ 359037 w 489702"/>
                  <a:gd name="connsiteY36" fmla="*/ 373963 h 639648"/>
                  <a:gd name="connsiteX37" fmla="*/ 362444 w 489702"/>
                  <a:gd name="connsiteY37" fmla="*/ 380593 h 639648"/>
                  <a:gd name="connsiteX38" fmla="*/ 372054 w 489702"/>
                  <a:gd name="connsiteY38" fmla="*/ 382861 h 639648"/>
                  <a:gd name="connsiteX39" fmla="*/ 389792 w 489702"/>
                  <a:gd name="connsiteY39" fmla="*/ 379258 h 639648"/>
                  <a:gd name="connsiteX40" fmla="*/ 407178 w 489702"/>
                  <a:gd name="connsiteY40" fmla="*/ 369782 h 639648"/>
                  <a:gd name="connsiteX41" fmla="*/ 407178 w 489702"/>
                  <a:gd name="connsiteY41" fmla="*/ 404750 h 639648"/>
                  <a:gd name="connsiteX42" fmla="*/ 371182 w 489702"/>
                  <a:gd name="connsiteY42" fmla="*/ 411514 h 639648"/>
                  <a:gd name="connsiteX43" fmla="*/ 342175 w 489702"/>
                  <a:gd name="connsiteY43" fmla="*/ 406887 h 639648"/>
                  <a:gd name="connsiteX44" fmla="*/ 323435 w 489702"/>
                  <a:gd name="connsiteY44" fmla="*/ 392828 h 639648"/>
                  <a:gd name="connsiteX45" fmla="*/ 316749 w 489702"/>
                  <a:gd name="connsiteY45" fmla="*/ 370672 h 639648"/>
                  <a:gd name="connsiteX46" fmla="*/ 324832 w 489702"/>
                  <a:gd name="connsiteY46" fmla="*/ 348070 h 639648"/>
                  <a:gd name="connsiteX47" fmla="*/ 352397 w 489702"/>
                  <a:gd name="connsiteY47" fmla="*/ 330539 h 639648"/>
                  <a:gd name="connsiteX48" fmla="*/ 365372 w 489702"/>
                  <a:gd name="connsiteY48" fmla="*/ 323734 h 639648"/>
                  <a:gd name="connsiteX49" fmla="*/ 368474 w 489702"/>
                  <a:gd name="connsiteY49" fmla="*/ 317104 h 639648"/>
                  <a:gd name="connsiteX50" fmla="*/ 364628 w 489702"/>
                  <a:gd name="connsiteY50" fmla="*/ 310519 h 639648"/>
                  <a:gd name="connsiteX51" fmla="*/ 354493 w 489702"/>
                  <a:gd name="connsiteY51" fmla="*/ 308117 h 639648"/>
                  <a:gd name="connsiteX52" fmla="*/ 323389 w 489702"/>
                  <a:gd name="connsiteY52" fmla="*/ 316925 h 639648"/>
                  <a:gd name="connsiteX53" fmla="*/ 323389 w 489702"/>
                  <a:gd name="connsiteY53" fmla="*/ 284448 h 639648"/>
                  <a:gd name="connsiteX54" fmla="*/ 336015 w 489702"/>
                  <a:gd name="connsiteY54" fmla="*/ 281421 h 639648"/>
                  <a:gd name="connsiteX55" fmla="*/ 346019 w 489702"/>
                  <a:gd name="connsiteY55" fmla="*/ 280086 h 639648"/>
                  <a:gd name="connsiteX56" fmla="*/ 358076 w 489702"/>
                  <a:gd name="connsiteY56" fmla="*/ 279553 h 639648"/>
                  <a:gd name="connsiteX57" fmla="*/ 244851 w 489702"/>
                  <a:gd name="connsiteY57" fmla="*/ 36696 h 639648"/>
                  <a:gd name="connsiteX58" fmla="*/ 413858 w 489702"/>
                  <a:gd name="connsiteY58" fmla="*/ 87213 h 639648"/>
                  <a:gd name="connsiteX59" fmla="*/ 244851 w 489702"/>
                  <a:gd name="connsiteY59" fmla="*/ 137730 h 639648"/>
                  <a:gd name="connsiteX60" fmla="*/ 75844 w 489702"/>
                  <a:gd name="connsiteY60" fmla="*/ 87213 h 639648"/>
                  <a:gd name="connsiteX61" fmla="*/ 244851 w 489702"/>
                  <a:gd name="connsiteY61" fmla="*/ 36696 h 639648"/>
                  <a:gd name="connsiteX62" fmla="*/ 244851 w 489702"/>
                  <a:gd name="connsiteY62" fmla="*/ 0 h 639648"/>
                  <a:gd name="connsiteX63" fmla="*/ 1263 w 489702"/>
                  <a:gd name="connsiteY63" fmla="*/ 91320 h 639648"/>
                  <a:gd name="connsiteX64" fmla="*/ 374 w 489702"/>
                  <a:gd name="connsiteY64" fmla="*/ 98642 h 639648"/>
                  <a:gd name="connsiteX65" fmla="*/ 0 w 489702"/>
                  <a:gd name="connsiteY65" fmla="*/ 98642 h 639648"/>
                  <a:gd name="connsiteX66" fmla="*/ 0 w 489702"/>
                  <a:gd name="connsiteY66" fmla="*/ 101720 h 639648"/>
                  <a:gd name="connsiteX67" fmla="*/ 0 w 489702"/>
                  <a:gd name="connsiteY67" fmla="*/ 537928 h 639648"/>
                  <a:gd name="connsiteX68" fmla="*/ 0 w 489702"/>
                  <a:gd name="connsiteY68" fmla="*/ 537929 h 639648"/>
                  <a:gd name="connsiteX69" fmla="*/ 0 w 489702"/>
                  <a:gd name="connsiteY69" fmla="*/ 537931 h 639648"/>
                  <a:gd name="connsiteX70" fmla="*/ 0 w 489702"/>
                  <a:gd name="connsiteY70" fmla="*/ 541006 h 639648"/>
                  <a:gd name="connsiteX71" fmla="*/ 374 w 489702"/>
                  <a:gd name="connsiteY71" fmla="*/ 541006 h 639648"/>
                  <a:gd name="connsiteX72" fmla="*/ 1263 w 489702"/>
                  <a:gd name="connsiteY72" fmla="*/ 548330 h 639648"/>
                  <a:gd name="connsiteX73" fmla="*/ 244851 w 489702"/>
                  <a:gd name="connsiteY73" fmla="*/ 639648 h 639648"/>
                  <a:gd name="connsiteX74" fmla="*/ 488437 w 489702"/>
                  <a:gd name="connsiteY74" fmla="*/ 548330 h 639648"/>
                  <a:gd name="connsiteX75" fmla="*/ 489328 w 489702"/>
                  <a:gd name="connsiteY75" fmla="*/ 541006 h 639648"/>
                  <a:gd name="connsiteX76" fmla="*/ 489702 w 489702"/>
                  <a:gd name="connsiteY76" fmla="*/ 541006 h 639648"/>
                  <a:gd name="connsiteX77" fmla="*/ 489702 w 489702"/>
                  <a:gd name="connsiteY77" fmla="*/ 537929 h 639648"/>
                  <a:gd name="connsiteX78" fmla="*/ 489702 w 489702"/>
                  <a:gd name="connsiteY78" fmla="*/ 101720 h 639648"/>
                  <a:gd name="connsiteX79" fmla="*/ 489702 w 489702"/>
                  <a:gd name="connsiteY79" fmla="*/ 101719 h 639648"/>
                  <a:gd name="connsiteX80" fmla="*/ 488437 w 489702"/>
                  <a:gd name="connsiteY80" fmla="*/ 91320 h 639648"/>
                  <a:gd name="connsiteX81" fmla="*/ 244851 w 489702"/>
                  <a:gd name="connsiteY81" fmla="*/ 0 h 63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489702" h="639648">
                    <a:moveTo>
                      <a:pt x="241548" y="312298"/>
                    </a:moveTo>
                    <a:cubicBezTo>
                      <a:pt x="234676" y="312298"/>
                      <a:pt x="229258" y="315323"/>
                      <a:pt x="225297" y="321375"/>
                    </a:cubicBezTo>
                    <a:cubicBezTo>
                      <a:pt x="221338" y="327425"/>
                      <a:pt x="219357" y="335701"/>
                      <a:pt x="219357" y="346201"/>
                    </a:cubicBezTo>
                    <a:cubicBezTo>
                      <a:pt x="219357" y="356107"/>
                      <a:pt x="221453" y="363997"/>
                      <a:pt x="225648" y="369870"/>
                    </a:cubicBezTo>
                    <a:cubicBezTo>
                      <a:pt x="229842" y="375742"/>
                      <a:pt x="235346" y="378678"/>
                      <a:pt x="242160" y="378678"/>
                    </a:cubicBezTo>
                    <a:cubicBezTo>
                      <a:pt x="249324" y="378678"/>
                      <a:pt x="254988" y="375773"/>
                      <a:pt x="259153" y="369959"/>
                    </a:cubicBezTo>
                    <a:cubicBezTo>
                      <a:pt x="263319" y="364145"/>
                      <a:pt x="265401" y="356049"/>
                      <a:pt x="265401" y="345666"/>
                    </a:cubicBezTo>
                    <a:cubicBezTo>
                      <a:pt x="265401" y="335049"/>
                      <a:pt x="263305" y="326833"/>
                      <a:pt x="259110" y="321018"/>
                    </a:cubicBezTo>
                    <a:cubicBezTo>
                      <a:pt x="254916" y="315206"/>
                      <a:pt x="249063" y="312298"/>
                      <a:pt x="241548" y="312298"/>
                    </a:cubicBezTo>
                    <a:close/>
                    <a:moveTo>
                      <a:pt x="161681" y="281690"/>
                    </a:moveTo>
                    <a:lnTo>
                      <a:pt x="161681" y="409290"/>
                    </a:lnTo>
                    <a:lnTo>
                      <a:pt x="80776" y="409290"/>
                    </a:lnTo>
                    <a:lnTo>
                      <a:pt x="80776" y="379213"/>
                    </a:lnTo>
                    <a:lnTo>
                      <a:pt x="123937" y="379213"/>
                    </a:lnTo>
                    <a:lnTo>
                      <a:pt x="123937" y="281690"/>
                    </a:lnTo>
                    <a:close/>
                    <a:moveTo>
                      <a:pt x="241199" y="279553"/>
                    </a:moveTo>
                    <a:cubicBezTo>
                      <a:pt x="253665" y="279553"/>
                      <a:pt x="264789" y="282385"/>
                      <a:pt x="274576" y="288051"/>
                    </a:cubicBezTo>
                    <a:cubicBezTo>
                      <a:pt x="284360" y="293716"/>
                      <a:pt x="291962" y="301740"/>
                      <a:pt x="297379" y="312121"/>
                    </a:cubicBezTo>
                    <a:cubicBezTo>
                      <a:pt x="302796" y="322502"/>
                      <a:pt x="305505" y="334189"/>
                      <a:pt x="305505" y="347180"/>
                    </a:cubicBezTo>
                    <a:cubicBezTo>
                      <a:pt x="305505" y="359578"/>
                      <a:pt x="302824" y="370687"/>
                      <a:pt x="297466" y="380503"/>
                    </a:cubicBezTo>
                    <a:cubicBezTo>
                      <a:pt x="292107" y="390322"/>
                      <a:pt x="284607" y="397945"/>
                      <a:pt x="274968" y="403372"/>
                    </a:cubicBezTo>
                    <a:cubicBezTo>
                      <a:pt x="265328" y="408799"/>
                      <a:pt x="254626" y="411514"/>
                      <a:pt x="242859" y="411514"/>
                    </a:cubicBezTo>
                    <a:cubicBezTo>
                      <a:pt x="237793" y="411514"/>
                      <a:pt x="232927" y="411010"/>
                      <a:pt x="228269" y="410000"/>
                    </a:cubicBezTo>
                    <a:lnTo>
                      <a:pt x="212367" y="426462"/>
                    </a:lnTo>
                    <a:lnTo>
                      <a:pt x="165012" y="426462"/>
                    </a:lnTo>
                    <a:lnTo>
                      <a:pt x="198125" y="393894"/>
                    </a:lnTo>
                    <a:cubicBezTo>
                      <a:pt x="185601" y="381142"/>
                      <a:pt x="179340" y="364888"/>
                      <a:pt x="179340" y="345133"/>
                    </a:cubicBezTo>
                    <a:cubicBezTo>
                      <a:pt x="179340" y="332379"/>
                      <a:pt x="181919" y="320974"/>
                      <a:pt x="187072" y="310918"/>
                    </a:cubicBezTo>
                    <a:cubicBezTo>
                      <a:pt x="192226" y="300864"/>
                      <a:pt x="199537" y="293122"/>
                      <a:pt x="209003" y="287696"/>
                    </a:cubicBezTo>
                    <a:cubicBezTo>
                      <a:pt x="218468" y="282268"/>
                      <a:pt x="229200" y="279553"/>
                      <a:pt x="241199" y="279553"/>
                    </a:cubicBezTo>
                    <a:close/>
                    <a:moveTo>
                      <a:pt x="358076" y="279553"/>
                    </a:moveTo>
                    <a:cubicBezTo>
                      <a:pt x="373570" y="279553"/>
                      <a:pt x="385917" y="283246"/>
                      <a:pt x="395122" y="290631"/>
                    </a:cubicBezTo>
                    <a:cubicBezTo>
                      <a:pt x="404325" y="298016"/>
                      <a:pt x="408926" y="307879"/>
                      <a:pt x="408926" y="320218"/>
                    </a:cubicBezTo>
                    <a:cubicBezTo>
                      <a:pt x="408926" y="337837"/>
                      <a:pt x="398849" y="350591"/>
                      <a:pt x="378695" y="358482"/>
                    </a:cubicBezTo>
                    <a:cubicBezTo>
                      <a:pt x="372462" y="360853"/>
                      <a:pt x="368197" y="362722"/>
                      <a:pt x="365895" y="364087"/>
                    </a:cubicBezTo>
                    <a:cubicBezTo>
                      <a:pt x="363595" y="365451"/>
                      <a:pt x="361877" y="366919"/>
                      <a:pt x="360741" y="368491"/>
                    </a:cubicBezTo>
                    <a:cubicBezTo>
                      <a:pt x="359604" y="370062"/>
                      <a:pt x="359037" y="371888"/>
                      <a:pt x="359037" y="373963"/>
                    </a:cubicBezTo>
                    <a:cubicBezTo>
                      <a:pt x="359037" y="376871"/>
                      <a:pt x="360172" y="379079"/>
                      <a:pt x="362444" y="380593"/>
                    </a:cubicBezTo>
                    <a:cubicBezTo>
                      <a:pt x="364717" y="382104"/>
                      <a:pt x="367919" y="382861"/>
                      <a:pt x="372054" y="382861"/>
                    </a:cubicBezTo>
                    <a:cubicBezTo>
                      <a:pt x="377530" y="382861"/>
                      <a:pt x="383442" y="381660"/>
                      <a:pt x="389792" y="379258"/>
                    </a:cubicBezTo>
                    <a:cubicBezTo>
                      <a:pt x="396141" y="376856"/>
                      <a:pt x="401936" y="373697"/>
                      <a:pt x="407178" y="369782"/>
                    </a:cubicBezTo>
                    <a:lnTo>
                      <a:pt x="407178" y="404750"/>
                    </a:lnTo>
                    <a:cubicBezTo>
                      <a:pt x="396287" y="409260"/>
                      <a:pt x="384288" y="411514"/>
                      <a:pt x="371182" y="411514"/>
                    </a:cubicBezTo>
                    <a:cubicBezTo>
                      <a:pt x="359882" y="411514"/>
                      <a:pt x="350212" y="409971"/>
                      <a:pt x="342175" y="406887"/>
                    </a:cubicBezTo>
                    <a:cubicBezTo>
                      <a:pt x="334137" y="403802"/>
                      <a:pt x="327889" y="399115"/>
                      <a:pt x="323435" y="392828"/>
                    </a:cubicBezTo>
                    <a:cubicBezTo>
                      <a:pt x="318977" y="386538"/>
                      <a:pt x="316749" y="379153"/>
                      <a:pt x="316749" y="370672"/>
                    </a:cubicBezTo>
                    <a:cubicBezTo>
                      <a:pt x="316749" y="361951"/>
                      <a:pt x="319443" y="354416"/>
                      <a:pt x="324832" y="348070"/>
                    </a:cubicBezTo>
                    <a:cubicBezTo>
                      <a:pt x="330219" y="341722"/>
                      <a:pt x="339407" y="335879"/>
                      <a:pt x="352397" y="330539"/>
                    </a:cubicBezTo>
                    <a:cubicBezTo>
                      <a:pt x="358979" y="327752"/>
                      <a:pt x="363305" y="325484"/>
                      <a:pt x="365372" y="323734"/>
                    </a:cubicBezTo>
                    <a:cubicBezTo>
                      <a:pt x="367440" y="321984"/>
                      <a:pt x="368474" y="319773"/>
                      <a:pt x="368474" y="317104"/>
                    </a:cubicBezTo>
                    <a:cubicBezTo>
                      <a:pt x="368474" y="314316"/>
                      <a:pt x="367192" y="312121"/>
                      <a:pt x="364628" y="310519"/>
                    </a:cubicBezTo>
                    <a:cubicBezTo>
                      <a:pt x="362066" y="308917"/>
                      <a:pt x="358688" y="308117"/>
                      <a:pt x="354493" y="308117"/>
                    </a:cubicBezTo>
                    <a:cubicBezTo>
                      <a:pt x="344301" y="308117"/>
                      <a:pt x="333933" y="311054"/>
                      <a:pt x="323389" y="316925"/>
                    </a:cubicBezTo>
                    <a:lnTo>
                      <a:pt x="323389" y="284448"/>
                    </a:lnTo>
                    <a:cubicBezTo>
                      <a:pt x="328807" y="282965"/>
                      <a:pt x="333015" y="281955"/>
                      <a:pt x="336015" y="281421"/>
                    </a:cubicBezTo>
                    <a:cubicBezTo>
                      <a:pt x="339014" y="280888"/>
                      <a:pt x="342348" y="280444"/>
                      <a:pt x="346019" y="280086"/>
                    </a:cubicBezTo>
                    <a:cubicBezTo>
                      <a:pt x="349689" y="279730"/>
                      <a:pt x="353707" y="279553"/>
                      <a:pt x="358076" y="279553"/>
                    </a:cubicBezTo>
                    <a:close/>
                    <a:moveTo>
                      <a:pt x="244851" y="36696"/>
                    </a:moveTo>
                    <a:cubicBezTo>
                      <a:pt x="338192" y="36696"/>
                      <a:pt x="413858" y="59312"/>
                      <a:pt x="413858" y="87213"/>
                    </a:cubicBezTo>
                    <a:cubicBezTo>
                      <a:pt x="413858" y="115114"/>
                      <a:pt x="338192" y="137730"/>
                      <a:pt x="244851" y="137730"/>
                    </a:cubicBezTo>
                    <a:cubicBezTo>
                      <a:pt x="151511" y="137730"/>
                      <a:pt x="75844" y="115114"/>
                      <a:pt x="75844" y="87213"/>
                    </a:cubicBezTo>
                    <a:cubicBezTo>
                      <a:pt x="75844" y="59312"/>
                      <a:pt x="151511" y="36696"/>
                      <a:pt x="244851" y="36696"/>
                    </a:cubicBezTo>
                    <a:close/>
                    <a:moveTo>
                      <a:pt x="244851" y="0"/>
                    </a:moveTo>
                    <a:cubicBezTo>
                      <a:pt x="118076" y="0"/>
                      <a:pt x="13802" y="40027"/>
                      <a:pt x="1263" y="91320"/>
                    </a:cubicBezTo>
                    <a:lnTo>
                      <a:pt x="374" y="98642"/>
                    </a:lnTo>
                    <a:lnTo>
                      <a:pt x="0" y="98642"/>
                    </a:lnTo>
                    <a:lnTo>
                      <a:pt x="0" y="101720"/>
                    </a:lnTo>
                    <a:cubicBezTo>
                      <a:pt x="0" y="174933"/>
                      <a:pt x="0" y="465227"/>
                      <a:pt x="0" y="537928"/>
                    </a:cubicBezTo>
                    <a:lnTo>
                      <a:pt x="0" y="537929"/>
                    </a:lnTo>
                    <a:lnTo>
                      <a:pt x="0" y="537931"/>
                    </a:lnTo>
                    <a:lnTo>
                      <a:pt x="0" y="541006"/>
                    </a:lnTo>
                    <a:lnTo>
                      <a:pt x="374" y="541006"/>
                    </a:lnTo>
                    <a:lnTo>
                      <a:pt x="1263" y="548330"/>
                    </a:lnTo>
                    <a:cubicBezTo>
                      <a:pt x="13802" y="599621"/>
                      <a:pt x="118076" y="639648"/>
                      <a:pt x="244851" y="639648"/>
                    </a:cubicBezTo>
                    <a:cubicBezTo>
                      <a:pt x="371627" y="639648"/>
                      <a:pt x="475898" y="599621"/>
                      <a:pt x="488437" y="548330"/>
                    </a:cubicBezTo>
                    <a:lnTo>
                      <a:pt x="489328" y="541006"/>
                    </a:lnTo>
                    <a:lnTo>
                      <a:pt x="489702" y="541006"/>
                    </a:lnTo>
                    <a:lnTo>
                      <a:pt x="489702" y="537929"/>
                    </a:lnTo>
                    <a:lnTo>
                      <a:pt x="489702" y="101720"/>
                    </a:lnTo>
                    <a:lnTo>
                      <a:pt x="489702" y="101719"/>
                    </a:lnTo>
                    <a:lnTo>
                      <a:pt x="488437" y="91320"/>
                    </a:lnTo>
                    <a:cubicBezTo>
                      <a:pt x="475900" y="40027"/>
                      <a:pt x="371627" y="0"/>
                      <a:pt x="244851" y="0"/>
                    </a:cubicBezTo>
                    <a:close/>
                  </a:path>
                </a:pathLst>
              </a:custGeom>
              <a:solidFill>
                <a:srgbClr val="0078D4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ED81EBC-547D-489B-ADB7-105E52147009}"/>
              </a:ext>
            </a:extLst>
          </p:cNvPr>
          <p:cNvGrpSpPr/>
          <p:nvPr/>
        </p:nvGrpSpPr>
        <p:grpSpPr>
          <a:xfrm>
            <a:off x="4347987" y="1599909"/>
            <a:ext cx="1554480" cy="3625112"/>
            <a:chOff x="4347987" y="1599909"/>
            <a:chExt cx="1554480" cy="3625112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A3B926B-BED9-4381-A78F-1F7F846E5230}"/>
                </a:ext>
              </a:extLst>
            </p:cNvPr>
            <p:cNvSpPr/>
            <p:nvPr/>
          </p:nvSpPr>
          <p:spPr>
            <a:xfrm>
              <a:off x="4347987" y="2972247"/>
              <a:ext cx="1554480" cy="49859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Stream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nalytic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8664718-E77C-4A65-BE98-AB86444BA22C}"/>
                </a:ext>
              </a:extLst>
            </p:cNvPr>
            <p:cNvSpPr txBox="1"/>
            <p:nvPr/>
          </p:nvSpPr>
          <p:spPr>
            <a:xfrm>
              <a:off x="4347987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rverless, real-time analytics service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signed for mission-critical workloads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C89AF52-6D5A-43B7-9C61-5729CB071F7C}"/>
                </a:ext>
              </a:extLst>
            </p:cNvPr>
            <p:cNvGrpSpPr/>
            <p:nvPr/>
          </p:nvGrpSpPr>
          <p:grpSpPr>
            <a:xfrm>
              <a:off x="4551515" y="1599909"/>
              <a:ext cx="1147424" cy="1144282"/>
              <a:chOff x="4569335" y="1805968"/>
              <a:chExt cx="1147424" cy="1144282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1FE9FF01-DCC9-4040-A63B-7E86270D0D29}"/>
                  </a:ext>
                </a:extLst>
              </p:cNvPr>
              <p:cNvSpPr/>
              <p:nvPr/>
            </p:nvSpPr>
            <p:spPr bwMode="auto">
              <a:xfrm>
                <a:off x="4569335" y="1805968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8ED321F6-3094-1D4A-9C16-027140E213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31789" y="2135328"/>
                <a:ext cx="622517" cy="485563"/>
              </a:xfrm>
              <a:prstGeom prst="rect">
                <a:avLst/>
              </a:prstGeom>
            </p:spPr>
          </p:pic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2AE8645-CDC0-4E9F-9465-F0E7A9F9AFFE}"/>
              </a:ext>
            </a:extLst>
          </p:cNvPr>
          <p:cNvGrpSpPr/>
          <p:nvPr/>
        </p:nvGrpSpPr>
        <p:grpSpPr>
          <a:xfrm>
            <a:off x="6305024" y="1599909"/>
            <a:ext cx="1554480" cy="3625112"/>
            <a:chOff x="6305024" y="1599909"/>
            <a:chExt cx="1554480" cy="362511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915A68C-BE35-4E64-8812-F9757D085212}"/>
                </a:ext>
              </a:extLst>
            </p:cNvPr>
            <p:cNvSpPr/>
            <p:nvPr/>
          </p:nvSpPr>
          <p:spPr>
            <a:xfrm>
              <a:off x="6305024" y="2972247"/>
              <a:ext cx="1554480" cy="49859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Function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7574F60-FDD9-4138-95B8-46EA7913AD03}"/>
                </a:ext>
              </a:extLst>
            </p:cNvPr>
            <p:cNvSpPr txBox="1"/>
            <p:nvPr/>
          </p:nvSpPr>
          <p:spPr>
            <a:xfrm>
              <a:off x="6305024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vent-driven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rverless compute and orchestration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268A222-B387-4946-95DC-D3DF08B637D3}"/>
                </a:ext>
              </a:extLst>
            </p:cNvPr>
            <p:cNvGrpSpPr/>
            <p:nvPr/>
          </p:nvGrpSpPr>
          <p:grpSpPr>
            <a:xfrm>
              <a:off x="6508552" y="1599909"/>
              <a:ext cx="1147424" cy="1144282"/>
              <a:chOff x="6522176" y="1812529"/>
              <a:chExt cx="1147424" cy="1144282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58E32DF-FEA3-4115-8FFC-6FB4CD31BE5D}"/>
                  </a:ext>
                </a:extLst>
              </p:cNvPr>
              <p:cNvSpPr/>
              <p:nvPr/>
            </p:nvSpPr>
            <p:spPr bwMode="auto">
              <a:xfrm>
                <a:off x="6522176" y="1812529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72D5D49C-0D01-F34F-9C10-8889B29D00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788173" y="2124296"/>
                <a:ext cx="615431" cy="520749"/>
              </a:xfrm>
              <a:prstGeom prst="rect">
                <a:avLst/>
              </a:prstGeom>
            </p:spPr>
          </p:pic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6F2448B-01E6-4E01-BC17-7D2893456C45}"/>
              </a:ext>
            </a:extLst>
          </p:cNvPr>
          <p:cNvGrpSpPr/>
          <p:nvPr/>
        </p:nvGrpSpPr>
        <p:grpSpPr>
          <a:xfrm>
            <a:off x="10219096" y="1599909"/>
            <a:ext cx="1554480" cy="3625112"/>
            <a:chOff x="10219096" y="1599909"/>
            <a:chExt cx="1554480" cy="362511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94F5B8D-7A48-413D-B8B2-ACD4A45F48FF}"/>
                </a:ext>
              </a:extLst>
            </p:cNvPr>
            <p:cNvSpPr txBox="1"/>
            <p:nvPr/>
          </p:nvSpPr>
          <p:spPr>
            <a:xfrm>
              <a:off x="10219096" y="3579101"/>
              <a:ext cx="1554480" cy="16459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able event-driven architectures on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he edge with the pub/sub semantics of Event Grid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2115871-903C-476C-A802-9AFB6C114B14}"/>
                </a:ext>
              </a:extLst>
            </p:cNvPr>
            <p:cNvSpPr/>
            <p:nvPr/>
          </p:nvSpPr>
          <p:spPr>
            <a:xfrm>
              <a:off x="10219096" y="2972247"/>
              <a:ext cx="1554480" cy="49859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defTabSz="8786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vent </a:t>
              </a:r>
              <a:b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Grid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8AD06D2-0F5B-499A-A1DB-F8BCC0A50250}"/>
                </a:ext>
              </a:extLst>
            </p:cNvPr>
            <p:cNvGrpSpPr/>
            <p:nvPr/>
          </p:nvGrpSpPr>
          <p:grpSpPr>
            <a:xfrm>
              <a:off x="10422624" y="1599909"/>
              <a:ext cx="1147424" cy="1144282"/>
              <a:chOff x="10320626" y="1815695"/>
              <a:chExt cx="1147424" cy="1144282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0AF271EB-D48F-4CD4-8011-C055C21C6C1F}"/>
                  </a:ext>
                </a:extLst>
              </p:cNvPr>
              <p:cNvSpPr/>
              <p:nvPr/>
            </p:nvSpPr>
            <p:spPr bwMode="auto">
              <a:xfrm>
                <a:off x="10320626" y="1815695"/>
                <a:ext cx="1147424" cy="1144282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  <a:headEnd type="none" w="med" len="med"/>
                <a:tailEnd type="none" w="med" len="med"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89609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0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  <p:grpSp>
            <p:nvGrpSpPr>
              <p:cNvPr id="87" name="Group 49">
                <a:extLst>
                  <a:ext uri="{FF2B5EF4-FFF2-40B4-BE49-F238E27FC236}">
                    <a16:creationId xmlns:a16="http://schemas.microsoft.com/office/drawing/2014/main" id="{D1E11714-9517-4742-8B92-ED2E73E0F6A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586715" y="2155410"/>
                <a:ext cx="615247" cy="464853"/>
                <a:chOff x="3411" y="1036"/>
                <a:chExt cx="315" cy="238"/>
              </a:xfrm>
            </p:grpSpPr>
            <p:sp>
              <p:nvSpPr>
                <p:cNvPr id="88" name="Line 50">
                  <a:extLst>
                    <a:ext uri="{FF2B5EF4-FFF2-40B4-BE49-F238E27FC236}">
                      <a16:creationId xmlns:a16="http://schemas.microsoft.com/office/drawing/2014/main" id="{5149C942-A9F1-3D4B-A7CB-09138BBAF5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11" y="1185"/>
                  <a:ext cx="190" cy="0"/>
                </a:xfrm>
                <a:prstGeom prst="line">
                  <a:avLst/>
                </a:prstGeom>
                <a:noFill/>
                <a:ln w="7938" cap="flat">
                  <a:solidFill>
                    <a:srgbClr val="0078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51">
                  <a:extLst>
                    <a:ext uri="{FF2B5EF4-FFF2-40B4-BE49-F238E27FC236}">
                      <a16:creationId xmlns:a16="http://schemas.microsoft.com/office/drawing/2014/main" id="{A9DCC2A3-AC30-B744-876D-86DBBEA530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0" y="1062"/>
                  <a:ext cx="191" cy="123"/>
                </a:xfrm>
                <a:custGeom>
                  <a:avLst/>
                  <a:gdLst>
                    <a:gd name="T0" fmla="*/ 0 w 191"/>
                    <a:gd name="T1" fmla="*/ 123 h 123"/>
                    <a:gd name="T2" fmla="*/ 123 w 191"/>
                    <a:gd name="T3" fmla="*/ 0 h 123"/>
                    <a:gd name="T4" fmla="*/ 191 w 191"/>
                    <a:gd name="T5" fmla="*/ 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1" h="123">
                      <a:moveTo>
                        <a:pt x="0" y="123"/>
                      </a:moveTo>
                      <a:lnTo>
                        <a:pt x="123" y="0"/>
                      </a:lnTo>
                      <a:lnTo>
                        <a:pt x="191" y="0"/>
                      </a:lnTo>
                    </a:path>
                  </a:pathLst>
                </a:custGeom>
                <a:noFill/>
                <a:ln w="7938" cap="flat">
                  <a:solidFill>
                    <a:srgbClr val="0078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 52">
                  <a:extLst>
                    <a:ext uri="{FF2B5EF4-FFF2-40B4-BE49-F238E27FC236}">
                      <a16:creationId xmlns:a16="http://schemas.microsoft.com/office/drawing/2014/main" id="{00E59236-2C5F-2749-83FF-16AC5D3220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9" y="1130"/>
                  <a:ext cx="190" cy="55"/>
                </a:xfrm>
                <a:custGeom>
                  <a:avLst/>
                  <a:gdLst>
                    <a:gd name="T0" fmla="*/ 0 w 190"/>
                    <a:gd name="T1" fmla="*/ 55 h 55"/>
                    <a:gd name="T2" fmla="*/ 54 w 190"/>
                    <a:gd name="T3" fmla="*/ 0 h 55"/>
                    <a:gd name="T4" fmla="*/ 190 w 190"/>
                    <a:gd name="T5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0" h="55">
                      <a:moveTo>
                        <a:pt x="0" y="55"/>
                      </a:moveTo>
                      <a:lnTo>
                        <a:pt x="54" y="0"/>
                      </a:lnTo>
                      <a:lnTo>
                        <a:pt x="190" y="0"/>
                      </a:lnTo>
                    </a:path>
                  </a:pathLst>
                </a:custGeom>
                <a:noFill/>
                <a:ln w="7938" cap="flat">
                  <a:solidFill>
                    <a:srgbClr val="0078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53">
                  <a:extLst>
                    <a:ext uri="{FF2B5EF4-FFF2-40B4-BE49-F238E27FC236}">
                      <a16:creationId xmlns:a16="http://schemas.microsoft.com/office/drawing/2014/main" id="{D3FC5639-E607-5440-901C-7312BE859B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" y="1185"/>
                  <a:ext cx="181" cy="64"/>
                </a:xfrm>
                <a:custGeom>
                  <a:avLst/>
                  <a:gdLst>
                    <a:gd name="T0" fmla="*/ 0 w 181"/>
                    <a:gd name="T1" fmla="*/ 0 h 64"/>
                    <a:gd name="T2" fmla="*/ 65 w 181"/>
                    <a:gd name="T3" fmla="*/ 64 h 64"/>
                    <a:gd name="T4" fmla="*/ 181 w 181"/>
                    <a:gd name="T5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81" h="64">
                      <a:moveTo>
                        <a:pt x="0" y="0"/>
                      </a:moveTo>
                      <a:lnTo>
                        <a:pt x="65" y="64"/>
                      </a:lnTo>
                      <a:lnTo>
                        <a:pt x="181" y="64"/>
                      </a:lnTo>
                    </a:path>
                  </a:pathLst>
                </a:custGeom>
                <a:noFill/>
                <a:ln w="7938" cap="flat">
                  <a:solidFill>
                    <a:srgbClr val="0078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54">
                  <a:extLst>
                    <a:ext uri="{FF2B5EF4-FFF2-40B4-BE49-F238E27FC236}">
                      <a16:creationId xmlns:a16="http://schemas.microsoft.com/office/drawing/2014/main" id="{44DD8B23-A656-0E41-8683-B4BEC394B1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4" y="1036"/>
                  <a:ext cx="54" cy="53"/>
                </a:xfrm>
                <a:custGeom>
                  <a:avLst/>
                  <a:gdLst>
                    <a:gd name="T0" fmla="*/ 193 w 236"/>
                    <a:gd name="T1" fmla="*/ 41 h 235"/>
                    <a:gd name="T2" fmla="*/ 194 w 236"/>
                    <a:gd name="T3" fmla="*/ 192 h 235"/>
                    <a:gd name="T4" fmla="*/ 42 w 236"/>
                    <a:gd name="T5" fmla="*/ 193 h 235"/>
                    <a:gd name="T6" fmla="*/ 42 w 236"/>
                    <a:gd name="T7" fmla="*/ 42 h 235"/>
                    <a:gd name="T8" fmla="*/ 193 w 236"/>
                    <a:gd name="T9" fmla="*/ 41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6" h="235">
                      <a:moveTo>
                        <a:pt x="193" y="41"/>
                      </a:moveTo>
                      <a:cubicBezTo>
                        <a:pt x="236" y="83"/>
                        <a:pt x="236" y="150"/>
                        <a:pt x="194" y="192"/>
                      </a:cubicBezTo>
                      <a:cubicBezTo>
                        <a:pt x="153" y="234"/>
                        <a:pt x="85" y="235"/>
                        <a:pt x="42" y="193"/>
                      </a:cubicBezTo>
                      <a:cubicBezTo>
                        <a:pt x="0" y="152"/>
                        <a:pt x="0" y="84"/>
                        <a:pt x="42" y="42"/>
                      </a:cubicBezTo>
                      <a:cubicBezTo>
                        <a:pt x="83" y="0"/>
                        <a:pt x="151" y="0"/>
                        <a:pt x="193" y="4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55">
                  <a:extLst>
                    <a:ext uri="{FF2B5EF4-FFF2-40B4-BE49-F238E27FC236}">
                      <a16:creationId xmlns:a16="http://schemas.microsoft.com/office/drawing/2014/main" id="{703F079D-5E99-4249-9B5A-8D3FF85D8C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2" y="1104"/>
                  <a:ext cx="54" cy="53"/>
                </a:xfrm>
                <a:custGeom>
                  <a:avLst/>
                  <a:gdLst>
                    <a:gd name="T0" fmla="*/ 192 w 235"/>
                    <a:gd name="T1" fmla="*/ 41 h 235"/>
                    <a:gd name="T2" fmla="*/ 193 w 235"/>
                    <a:gd name="T3" fmla="*/ 192 h 235"/>
                    <a:gd name="T4" fmla="*/ 42 w 235"/>
                    <a:gd name="T5" fmla="*/ 193 h 235"/>
                    <a:gd name="T6" fmla="*/ 41 w 235"/>
                    <a:gd name="T7" fmla="*/ 42 h 235"/>
                    <a:gd name="T8" fmla="*/ 192 w 235"/>
                    <a:gd name="T9" fmla="*/ 41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5" h="235">
                      <a:moveTo>
                        <a:pt x="192" y="41"/>
                      </a:moveTo>
                      <a:cubicBezTo>
                        <a:pt x="234" y="83"/>
                        <a:pt x="235" y="150"/>
                        <a:pt x="193" y="192"/>
                      </a:cubicBezTo>
                      <a:cubicBezTo>
                        <a:pt x="152" y="234"/>
                        <a:pt x="84" y="235"/>
                        <a:pt x="42" y="193"/>
                      </a:cubicBezTo>
                      <a:cubicBezTo>
                        <a:pt x="0" y="152"/>
                        <a:pt x="0" y="84"/>
                        <a:pt x="41" y="42"/>
                      </a:cubicBezTo>
                      <a:cubicBezTo>
                        <a:pt x="83" y="0"/>
                        <a:pt x="150" y="0"/>
                        <a:pt x="192" y="4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56">
                  <a:extLst>
                    <a:ext uri="{FF2B5EF4-FFF2-40B4-BE49-F238E27FC236}">
                      <a16:creationId xmlns:a16="http://schemas.microsoft.com/office/drawing/2014/main" id="{31BB28EB-8E5C-E84C-B60B-E3ED0F672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" y="1221"/>
                  <a:ext cx="54" cy="53"/>
                </a:xfrm>
                <a:custGeom>
                  <a:avLst/>
                  <a:gdLst>
                    <a:gd name="T0" fmla="*/ 192 w 235"/>
                    <a:gd name="T1" fmla="*/ 41 h 234"/>
                    <a:gd name="T2" fmla="*/ 193 w 235"/>
                    <a:gd name="T3" fmla="*/ 192 h 234"/>
                    <a:gd name="T4" fmla="*/ 42 w 235"/>
                    <a:gd name="T5" fmla="*/ 193 h 234"/>
                    <a:gd name="T6" fmla="*/ 41 w 235"/>
                    <a:gd name="T7" fmla="*/ 42 h 234"/>
                    <a:gd name="T8" fmla="*/ 192 w 235"/>
                    <a:gd name="T9" fmla="*/ 41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5" h="234">
                      <a:moveTo>
                        <a:pt x="192" y="41"/>
                      </a:moveTo>
                      <a:cubicBezTo>
                        <a:pt x="234" y="83"/>
                        <a:pt x="235" y="150"/>
                        <a:pt x="193" y="192"/>
                      </a:cubicBezTo>
                      <a:cubicBezTo>
                        <a:pt x="152" y="234"/>
                        <a:pt x="84" y="234"/>
                        <a:pt x="42" y="193"/>
                      </a:cubicBezTo>
                      <a:cubicBezTo>
                        <a:pt x="0" y="151"/>
                        <a:pt x="0" y="84"/>
                        <a:pt x="41" y="42"/>
                      </a:cubicBezTo>
                      <a:cubicBezTo>
                        <a:pt x="83" y="0"/>
                        <a:pt x="150" y="0"/>
                        <a:pt x="192" y="41"/>
                      </a:cubicBezTo>
                      <a:close/>
                    </a:path>
                  </a:pathLst>
                </a:custGeom>
                <a:solidFill>
                  <a:srgbClr val="0078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57">
                  <a:extLst>
                    <a:ext uri="{FF2B5EF4-FFF2-40B4-BE49-F238E27FC236}">
                      <a16:creationId xmlns:a16="http://schemas.microsoft.com/office/drawing/2014/main" id="{D8C345FC-095D-9345-A357-B05D8B2694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4" y="1158"/>
                  <a:ext cx="54" cy="53"/>
                </a:xfrm>
                <a:custGeom>
                  <a:avLst/>
                  <a:gdLst>
                    <a:gd name="T0" fmla="*/ 193 w 235"/>
                    <a:gd name="T1" fmla="*/ 41 h 236"/>
                    <a:gd name="T2" fmla="*/ 193 w 235"/>
                    <a:gd name="T3" fmla="*/ 193 h 236"/>
                    <a:gd name="T4" fmla="*/ 43 w 235"/>
                    <a:gd name="T5" fmla="*/ 194 h 236"/>
                    <a:gd name="T6" fmla="*/ 42 w 235"/>
                    <a:gd name="T7" fmla="*/ 42 h 236"/>
                    <a:gd name="T8" fmla="*/ 193 w 235"/>
                    <a:gd name="T9" fmla="*/ 41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5" h="236">
                      <a:moveTo>
                        <a:pt x="193" y="41"/>
                      </a:moveTo>
                      <a:cubicBezTo>
                        <a:pt x="234" y="83"/>
                        <a:pt x="235" y="151"/>
                        <a:pt x="193" y="193"/>
                      </a:cubicBezTo>
                      <a:cubicBezTo>
                        <a:pt x="152" y="235"/>
                        <a:pt x="84" y="236"/>
                        <a:pt x="43" y="194"/>
                      </a:cubicBezTo>
                      <a:cubicBezTo>
                        <a:pt x="1" y="152"/>
                        <a:pt x="0" y="84"/>
                        <a:pt x="42" y="42"/>
                      </a:cubicBezTo>
                      <a:cubicBezTo>
                        <a:pt x="83" y="0"/>
                        <a:pt x="151" y="0"/>
                        <a:pt x="193" y="41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96" name="Title 95">
            <a:extLst>
              <a:ext uri="{FF2B5EF4-FFF2-40B4-BE49-F238E27FC236}">
                <a16:creationId xmlns:a16="http://schemas.microsoft.com/office/drawing/2014/main" id="{1FE1EA07-2A12-42AF-A747-53C7E3FE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ny Azure Services Offer Containerized Edge Versions</a:t>
            </a:r>
          </a:p>
        </p:txBody>
      </p:sp>
    </p:spTree>
    <p:extLst>
      <p:ext uri="{BB962C8B-B14F-4D97-AF65-F5344CB8AC3E}">
        <p14:creationId xmlns:p14="http://schemas.microsoft.com/office/powerpoint/2010/main" val="135753080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F1A1750-DF9E-4FBA-852F-EB45B24C6B46}"/>
              </a:ext>
            </a:extLst>
          </p:cNvPr>
          <p:cNvSpPr/>
          <p:nvPr/>
        </p:nvSpPr>
        <p:spPr>
          <a:xfrm>
            <a:off x="418644" y="1115891"/>
            <a:ext cx="10884111" cy="461665"/>
          </a:xfrm>
          <a:prstGeom prst="rect">
            <a:avLst/>
          </a:prstGeom>
        </p:spPr>
        <p:txBody>
          <a:bodyPr wrap="square" lIns="0" anchor="t">
            <a:noAutofit/>
          </a:bodyPr>
          <a:lstStyle/>
          <a:p>
            <a:pPr marL="0" marR="0" lvl="0" indent="0" algn="l" defTabSz="896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evice and Edge </a:t>
            </a:r>
            <a:r>
              <a:rPr lang="en-US" sz="2400" kern="0">
                <a:solidFill>
                  <a:schemeClr val="tx2"/>
                </a:solidFill>
                <a:latin typeface="Segoe UI Semibold"/>
              </a:rPr>
              <a:t>compute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workloads are all managed from the Azure Clou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75445E-54D3-451A-9875-3D61420B9424}"/>
              </a:ext>
            </a:extLst>
          </p:cNvPr>
          <p:cNvGrpSpPr/>
          <p:nvPr/>
        </p:nvGrpSpPr>
        <p:grpSpPr>
          <a:xfrm>
            <a:off x="4363807" y="2201863"/>
            <a:ext cx="3474720" cy="3613095"/>
            <a:chOff x="4273831" y="1956907"/>
            <a:chExt cx="3474720" cy="361309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C0BE104-8178-4C78-9A4C-CFC94AD435DB}"/>
                </a:ext>
              </a:extLst>
            </p:cNvPr>
            <p:cNvGrpSpPr/>
            <p:nvPr/>
          </p:nvGrpSpPr>
          <p:grpSpPr>
            <a:xfrm>
              <a:off x="4273831" y="1956907"/>
              <a:ext cx="1149269" cy="1149269"/>
              <a:chOff x="4273831" y="2024610"/>
              <a:chExt cx="1149269" cy="1149269"/>
            </a:xfrm>
          </p:grpSpPr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8BA2644-8A9B-194E-A403-8795AE6F696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273831" y="2024610"/>
                <a:ext cx="1149269" cy="1149269"/>
              </a:xfrm>
              <a:prstGeom prst="ellipse">
                <a:avLst/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>
                <a:outerShdw blurRad="1905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47B8085A-8A5C-A441-A8F4-6DA46340E358}"/>
                  </a:ext>
                </a:extLst>
              </p:cNvPr>
              <p:cNvGrpSpPr/>
              <p:nvPr/>
            </p:nvGrpSpPr>
            <p:grpSpPr>
              <a:xfrm>
                <a:off x="4542991" y="2284452"/>
                <a:ext cx="610949" cy="629584"/>
                <a:chOff x="6116474" y="2670082"/>
                <a:chExt cx="1024649" cy="1055902"/>
              </a:xfrm>
            </p:grpSpPr>
            <p:grpSp>
              <p:nvGrpSpPr>
                <p:cNvPr id="92" name="Group 91">
                  <a:extLst>
                    <a:ext uri="{FF2B5EF4-FFF2-40B4-BE49-F238E27FC236}">
                      <a16:creationId xmlns:a16="http://schemas.microsoft.com/office/drawing/2014/main" id="{95157175-F8ED-7B4B-B79C-FBC9AD9D28DE}"/>
                    </a:ext>
                  </a:extLst>
                </p:cNvPr>
                <p:cNvGrpSpPr/>
                <p:nvPr/>
              </p:nvGrpSpPr>
              <p:grpSpPr>
                <a:xfrm>
                  <a:off x="6284580" y="2670082"/>
                  <a:ext cx="856543" cy="1001184"/>
                  <a:chOff x="5369706" y="5439071"/>
                  <a:chExt cx="534608" cy="624886"/>
                </a:xfrm>
              </p:grpSpPr>
              <p:grpSp>
                <p:nvGrpSpPr>
                  <p:cNvPr id="93" name="Group 92">
                    <a:extLst>
                      <a:ext uri="{FF2B5EF4-FFF2-40B4-BE49-F238E27FC236}">
                        <a16:creationId xmlns:a16="http://schemas.microsoft.com/office/drawing/2014/main" id="{86EC1B75-9BC5-E749-980D-5E100FE38C2C}"/>
                      </a:ext>
                    </a:extLst>
                  </p:cNvPr>
                  <p:cNvGrpSpPr/>
                  <p:nvPr/>
                </p:nvGrpSpPr>
                <p:grpSpPr>
                  <a:xfrm>
                    <a:off x="5380098" y="5439071"/>
                    <a:ext cx="510492" cy="297000"/>
                    <a:chOff x="6568219" y="541493"/>
                    <a:chExt cx="4694144" cy="2731018"/>
                  </a:xfrm>
                  <a:solidFill>
                    <a:schemeClr val="tx1"/>
                  </a:solidFill>
                </p:grpSpPr>
                <p:sp>
                  <p:nvSpPr>
                    <p:cNvPr id="104" name="Diamond 103">
                      <a:extLst>
                        <a:ext uri="{FF2B5EF4-FFF2-40B4-BE49-F238E27FC236}">
                          <a16:creationId xmlns:a16="http://schemas.microsoft.com/office/drawing/2014/main" id="{E7C42292-8B72-3B40-9A53-4610D045308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837521" y="541493"/>
                      <a:ext cx="2155539" cy="1235763"/>
                    </a:xfrm>
                    <a:prstGeom prst="diamond">
                      <a:avLst/>
                    </a:prstGeom>
                    <a:solidFill>
                      <a:schemeClr val="tx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5" name="Diamond 104">
                      <a:extLst>
                        <a:ext uri="{FF2B5EF4-FFF2-40B4-BE49-F238E27FC236}">
                          <a16:creationId xmlns:a16="http://schemas.microsoft.com/office/drawing/2014/main" id="{AC292C29-AD66-9546-998E-F8D2530C53B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106824" y="1303483"/>
                      <a:ext cx="2155539" cy="1235763"/>
                    </a:xfrm>
                    <a:prstGeom prst="diamond">
                      <a:avLst/>
                    </a:prstGeom>
                    <a:solidFill>
                      <a:schemeClr val="tx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6" name="Diamond 105">
                      <a:extLst>
                        <a:ext uri="{FF2B5EF4-FFF2-40B4-BE49-F238E27FC236}">
                          <a16:creationId xmlns:a16="http://schemas.microsoft.com/office/drawing/2014/main" id="{E3B93AAD-CE6A-E84E-A4AC-D4D59A00015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568219" y="1303483"/>
                      <a:ext cx="2155539" cy="1235763"/>
                    </a:xfrm>
                    <a:prstGeom prst="diamond">
                      <a:avLst/>
                    </a:prstGeom>
                    <a:solidFill>
                      <a:schemeClr val="tx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7" name="Diamond 106">
                      <a:extLst>
                        <a:ext uri="{FF2B5EF4-FFF2-40B4-BE49-F238E27FC236}">
                          <a16:creationId xmlns:a16="http://schemas.microsoft.com/office/drawing/2014/main" id="{7E5350D9-A338-F646-A588-711D1ADBBF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836746" y="2036748"/>
                      <a:ext cx="2155539" cy="1235763"/>
                    </a:xfrm>
                    <a:prstGeom prst="diamond">
                      <a:avLst/>
                    </a:prstGeom>
                    <a:solidFill>
                      <a:schemeClr val="tx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94" name="Group 93">
                    <a:extLst>
                      <a:ext uri="{FF2B5EF4-FFF2-40B4-BE49-F238E27FC236}">
                        <a16:creationId xmlns:a16="http://schemas.microsoft.com/office/drawing/2014/main" id="{4790C903-5CCC-3C4F-90D3-2AE87BB23BF0}"/>
                      </a:ext>
                    </a:extLst>
                  </p:cNvPr>
                  <p:cNvGrpSpPr/>
                  <p:nvPr/>
                </p:nvGrpSpPr>
                <p:grpSpPr>
                  <a:xfrm>
                    <a:off x="5648827" y="5616867"/>
                    <a:ext cx="255487" cy="447090"/>
                    <a:chOff x="8952807" y="2009548"/>
                    <a:chExt cx="2349286" cy="4111145"/>
                  </a:xfrm>
                  <a:solidFill>
                    <a:srgbClr val="D7D7D7"/>
                  </a:solidFill>
                </p:grpSpPr>
                <p:sp>
                  <p:nvSpPr>
                    <p:cNvPr id="100" name="Freeform 99">
                      <a:extLst>
                        <a:ext uri="{FF2B5EF4-FFF2-40B4-BE49-F238E27FC236}">
                          <a16:creationId xmlns:a16="http://schemas.microsoft.com/office/drawing/2014/main" id="{B8881884-E388-544C-9138-5E52DAC3989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222885" y="3520676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accent5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1" name="Freeform 100">
                      <a:extLst>
                        <a:ext uri="{FF2B5EF4-FFF2-40B4-BE49-F238E27FC236}">
                          <a16:creationId xmlns:a16="http://schemas.microsoft.com/office/drawing/2014/main" id="{99343A01-84EE-184F-B8DC-473C9D201786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222885" y="2009548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accent5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2" name="Freeform 101">
                      <a:extLst>
                        <a:ext uri="{FF2B5EF4-FFF2-40B4-BE49-F238E27FC236}">
                          <a16:creationId xmlns:a16="http://schemas.microsoft.com/office/drawing/2014/main" id="{7BE11E6B-E3F5-A640-BF46-8FC0E646D8D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8952807" y="4253941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accent5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3" name="Freeform 102">
                      <a:extLst>
                        <a:ext uri="{FF2B5EF4-FFF2-40B4-BE49-F238E27FC236}">
                          <a16:creationId xmlns:a16="http://schemas.microsoft.com/office/drawing/2014/main" id="{64481A4A-0EDE-F543-B999-603920E9B43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8952807" y="2742813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accent5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95" name="Group 94">
                    <a:extLst>
                      <a:ext uri="{FF2B5EF4-FFF2-40B4-BE49-F238E27FC236}">
                        <a16:creationId xmlns:a16="http://schemas.microsoft.com/office/drawing/2014/main" id="{CD04D69A-E168-154B-9E3F-CE96F1872D74}"/>
                      </a:ext>
                    </a:extLst>
                  </p:cNvPr>
                  <p:cNvGrpSpPr/>
                  <p:nvPr/>
                </p:nvGrpSpPr>
                <p:grpSpPr>
                  <a:xfrm>
                    <a:off x="5369706" y="5616867"/>
                    <a:ext cx="255318" cy="447090"/>
                    <a:chOff x="6531307" y="2012370"/>
                    <a:chExt cx="2347735" cy="4111145"/>
                  </a:xfrm>
                  <a:solidFill>
                    <a:srgbClr val="969696"/>
                  </a:solidFill>
                </p:grpSpPr>
                <p:sp>
                  <p:nvSpPr>
                    <p:cNvPr id="96" name="Freeform 95">
                      <a:extLst>
                        <a:ext uri="{FF2B5EF4-FFF2-40B4-BE49-F238E27FC236}">
                          <a16:creationId xmlns:a16="http://schemas.microsoft.com/office/drawing/2014/main" id="{23BEA6A5-EA1B-9240-9C00-2B06C49C9E30}"/>
                        </a:ext>
                      </a:extLst>
                    </p:cNvPr>
                    <p:cNvSpPr/>
                    <p:nvPr/>
                  </p:nvSpPr>
                  <p:spPr bwMode="auto">
                    <a:xfrm flipH="1">
                      <a:off x="6531307" y="3523498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tx2">
                        <a:lumMod val="60000"/>
                        <a:lumOff val="4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7" name="Freeform 96">
                      <a:extLst>
                        <a:ext uri="{FF2B5EF4-FFF2-40B4-BE49-F238E27FC236}">
                          <a16:creationId xmlns:a16="http://schemas.microsoft.com/office/drawing/2014/main" id="{0C04375A-4E5B-614B-8078-56C53D7C8069}"/>
                        </a:ext>
                      </a:extLst>
                    </p:cNvPr>
                    <p:cNvSpPr/>
                    <p:nvPr/>
                  </p:nvSpPr>
                  <p:spPr bwMode="auto">
                    <a:xfrm flipH="1">
                      <a:off x="6531307" y="2012370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tx2">
                        <a:lumMod val="60000"/>
                        <a:lumOff val="4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8" name="Freeform 97">
                      <a:extLst>
                        <a:ext uri="{FF2B5EF4-FFF2-40B4-BE49-F238E27FC236}">
                          <a16:creationId xmlns:a16="http://schemas.microsoft.com/office/drawing/2014/main" id="{73DE78DA-7244-8D4B-84A6-1398019C0989}"/>
                        </a:ext>
                      </a:extLst>
                    </p:cNvPr>
                    <p:cNvSpPr/>
                    <p:nvPr/>
                  </p:nvSpPr>
                  <p:spPr bwMode="auto">
                    <a:xfrm flipH="1">
                      <a:off x="7799834" y="4256763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tx2">
                        <a:lumMod val="60000"/>
                        <a:lumOff val="4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99" name="Freeform 98">
                      <a:extLst>
                        <a:ext uri="{FF2B5EF4-FFF2-40B4-BE49-F238E27FC236}">
                          <a16:creationId xmlns:a16="http://schemas.microsoft.com/office/drawing/2014/main" id="{7BF61396-313F-964F-8844-D6C2080F553E}"/>
                        </a:ext>
                      </a:extLst>
                    </p:cNvPr>
                    <p:cNvSpPr/>
                    <p:nvPr/>
                  </p:nvSpPr>
                  <p:spPr bwMode="auto">
                    <a:xfrm flipH="1">
                      <a:off x="7799834" y="2745635"/>
                      <a:ext cx="1079208" cy="1866752"/>
                    </a:xfrm>
                    <a:custGeom>
                      <a:avLst/>
                      <a:gdLst>
                        <a:gd name="connsiteX0" fmla="*/ 1078489 w 1079208"/>
                        <a:gd name="connsiteY0" fmla="*/ 0 h 1866752"/>
                        <a:gd name="connsiteX1" fmla="*/ 1079208 w 1079208"/>
                        <a:gd name="connsiteY1" fmla="*/ 1244917 h 1866752"/>
                        <a:gd name="connsiteX2" fmla="*/ 720 w 1079208"/>
                        <a:gd name="connsiteY2" fmla="*/ 1866752 h 1866752"/>
                        <a:gd name="connsiteX3" fmla="*/ 0 w 1079208"/>
                        <a:gd name="connsiteY3" fmla="*/ 621836 h 18667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79208" h="1866752">
                          <a:moveTo>
                            <a:pt x="1078489" y="0"/>
                          </a:moveTo>
                          <a:lnTo>
                            <a:pt x="1079208" y="1244917"/>
                          </a:lnTo>
                          <a:lnTo>
                            <a:pt x="720" y="1866752"/>
                          </a:lnTo>
                          <a:lnTo>
                            <a:pt x="0" y="621836"/>
                          </a:lnTo>
                          <a:close/>
                        </a:path>
                      </a:pathLst>
                    </a:custGeom>
                    <a:solidFill>
                      <a:schemeClr val="tx2">
                        <a:lumMod val="60000"/>
                        <a:lumOff val="40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35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9C4E7A45-9856-7F45-8645-0641D575D7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6116474" y="3380873"/>
                  <a:ext cx="966307" cy="345111"/>
                </a:xfrm>
                <a:prstGeom prst="rect">
                  <a:avLst/>
                </a:prstGeom>
              </p:spPr>
            </p:pic>
          </p:grp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4FFCEC-8822-9148-BBC0-7F180775815F}"/>
                </a:ext>
              </a:extLst>
            </p:cNvPr>
            <p:cNvSpPr/>
            <p:nvPr/>
          </p:nvSpPr>
          <p:spPr>
            <a:xfrm>
              <a:off x="4273831" y="3365515"/>
              <a:ext cx="3474720" cy="4985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 b="1"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anage device from</a:t>
              </a:r>
              <a:b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the cloud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A12EF27-BC92-8545-8472-50D499BA1764}"/>
                </a:ext>
              </a:extLst>
            </p:cNvPr>
            <p:cNvSpPr/>
            <p:nvPr/>
          </p:nvSpPr>
          <p:spPr>
            <a:xfrm>
              <a:off x="4273831" y="4123452"/>
              <a:ext cx="3474720" cy="14465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ntrol device configuration, access, and even what workloads run on the device from the cloud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eed to update your device with a new appliance OS version? No problem, that’s just a button in the portal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7152C6-AAC1-40D7-8EA3-1CD88BBAF8B4}"/>
              </a:ext>
            </a:extLst>
          </p:cNvPr>
          <p:cNvGrpSpPr/>
          <p:nvPr/>
        </p:nvGrpSpPr>
        <p:grpSpPr>
          <a:xfrm>
            <a:off x="8285519" y="2201863"/>
            <a:ext cx="3474720" cy="3613095"/>
            <a:chOff x="8285519" y="1956907"/>
            <a:chExt cx="3474720" cy="3613095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A649CBD0-2F08-464F-9638-04739118047B}"/>
                </a:ext>
              </a:extLst>
            </p:cNvPr>
            <p:cNvSpPr/>
            <p:nvPr/>
          </p:nvSpPr>
          <p:spPr>
            <a:xfrm>
              <a:off x="8285519" y="3365515"/>
              <a:ext cx="3474720" cy="4985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 b="1"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Standard Azure </a:t>
              </a:r>
              <a:b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management tools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E8E20B3-3927-6641-9364-400E440453EC}"/>
                </a:ext>
              </a:extLst>
            </p:cNvPr>
            <p:cNvSpPr/>
            <p:nvPr/>
          </p:nvSpPr>
          <p:spPr>
            <a:xfrm>
              <a:off x="8285519" y="4123452"/>
              <a:ext cx="3474720" cy="14465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Stack Edge is a resource in Azure that plugs into the standard Azure management tools and APIs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loud deployments done through standard Azure tools for deploying workloads to the edge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8EF68C-26EF-43B2-9172-BD917E58FC60}"/>
                </a:ext>
              </a:extLst>
            </p:cNvPr>
            <p:cNvGrpSpPr/>
            <p:nvPr/>
          </p:nvGrpSpPr>
          <p:grpSpPr>
            <a:xfrm>
              <a:off x="8285519" y="1956907"/>
              <a:ext cx="1149269" cy="1149269"/>
              <a:chOff x="8150647" y="2024610"/>
              <a:chExt cx="1149269" cy="1149269"/>
            </a:xfrm>
          </p:grpSpPr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931F840D-1862-C24E-A236-E601B0DDDFC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8150647" y="2024610"/>
                <a:ext cx="1149269" cy="1149269"/>
              </a:xfrm>
              <a:prstGeom prst="ellipse">
                <a:avLst/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>
                <a:outerShdw blurRad="1905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D4BD0C15-969A-5A4C-9641-2E2DF986AE64}"/>
                  </a:ext>
                </a:extLst>
              </p:cNvPr>
              <p:cNvGrpSpPr/>
              <p:nvPr/>
            </p:nvGrpSpPr>
            <p:grpSpPr>
              <a:xfrm>
                <a:off x="8464348" y="2352100"/>
                <a:ext cx="521867" cy="494288"/>
                <a:chOff x="6557116" y="2276809"/>
                <a:chExt cx="871206" cy="825165"/>
              </a:xfrm>
            </p:grpSpPr>
            <p:grpSp>
              <p:nvGrpSpPr>
                <p:cNvPr id="119" name="Group 115">
                  <a:extLst>
                    <a:ext uri="{FF2B5EF4-FFF2-40B4-BE49-F238E27FC236}">
                      <a16:creationId xmlns:a16="http://schemas.microsoft.com/office/drawing/2014/main" id="{30A0A841-D435-EA4C-BDED-D97C792802E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6585397" y="2276809"/>
                  <a:ext cx="788948" cy="398161"/>
                  <a:chOff x="1663" y="1106"/>
                  <a:chExt cx="214" cy="108"/>
                </a:xfrm>
              </p:grpSpPr>
              <p:sp>
                <p:nvSpPr>
                  <p:cNvPr id="122" name="Freeform 118">
                    <a:extLst>
                      <a:ext uri="{FF2B5EF4-FFF2-40B4-BE49-F238E27FC236}">
                        <a16:creationId xmlns:a16="http://schemas.microsoft.com/office/drawing/2014/main" id="{1FF38149-12FD-EB40-81E7-6AB901799F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78" y="1120"/>
                    <a:ext cx="185" cy="78"/>
                  </a:xfrm>
                  <a:custGeom>
                    <a:avLst/>
                    <a:gdLst>
                      <a:gd name="T0" fmla="*/ 0 w 185"/>
                      <a:gd name="T1" fmla="*/ 78 h 78"/>
                      <a:gd name="T2" fmla="*/ 65 w 185"/>
                      <a:gd name="T3" fmla="*/ 0 h 78"/>
                      <a:gd name="T4" fmla="*/ 126 w 185"/>
                      <a:gd name="T5" fmla="*/ 59 h 78"/>
                      <a:gd name="T6" fmla="*/ 185 w 185"/>
                      <a:gd name="T7" fmla="*/ 0 h 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85" h="78">
                        <a:moveTo>
                          <a:pt x="0" y="78"/>
                        </a:moveTo>
                        <a:lnTo>
                          <a:pt x="65" y="0"/>
                        </a:lnTo>
                        <a:lnTo>
                          <a:pt x="126" y="59"/>
                        </a:lnTo>
                        <a:lnTo>
                          <a:pt x="185" y="0"/>
                        </a:lnTo>
                      </a:path>
                    </a:pathLst>
                  </a:custGeom>
                  <a:noFill/>
                  <a:ln w="7938" cap="flat">
                    <a:solidFill>
                      <a:srgbClr val="0078D4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Oval 119">
                    <a:extLst>
                      <a:ext uri="{FF2B5EF4-FFF2-40B4-BE49-F238E27FC236}">
                        <a16:creationId xmlns:a16="http://schemas.microsoft.com/office/drawing/2014/main" id="{C337F10C-483F-514E-8370-38531FCBCFD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63" y="1184"/>
                    <a:ext cx="29" cy="30"/>
                  </a:xfrm>
                  <a:prstGeom prst="ellipse">
                    <a:avLst/>
                  </a:prstGeom>
                  <a:solidFill>
                    <a:srgbClr val="0078D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Oval 120">
                    <a:extLst>
                      <a:ext uri="{FF2B5EF4-FFF2-40B4-BE49-F238E27FC236}">
                        <a16:creationId xmlns:a16="http://schemas.microsoft.com/office/drawing/2014/main" id="{C62D7F61-F010-3343-8048-F1F6DA4333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731" y="1106"/>
                    <a:ext cx="29" cy="30"/>
                  </a:xfrm>
                  <a:prstGeom prst="ellipse">
                    <a:avLst/>
                  </a:prstGeom>
                  <a:solidFill>
                    <a:srgbClr val="0078D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Oval 121">
                    <a:extLst>
                      <a:ext uri="{FF2B5EF4-FFF2-40B4-BE49-F238E27FC236}">
                        <a16:creationId xmlns:a16="http://schemas.microsoft.com/office/drawing/2014/main" id="{A8C3288B-ADD7-374D-91DD-16F999B522D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790" y="1165"/>
                    <a:ext cx="29" cy="29"/>
                  </a:xfrm>
                  <a:prstGeom prst="ellipse">
                    <a:avLst/>
                  </a:prstGeom>
                  <a:solidFill>
                    <a:srgbClr val="0078D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Oval 122">
                    <a:extLst>
                      <a:ext uri="{FF2B5EF4-FFF2-40B4-BE49-F238E27FC236}">
                        <a16:creationId xmlns:a16="http://schemas.microsoft.com/office/drawing/2014/main" id="{25456A03-32CC-504D-8938-F888B0A7C58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848" y="1106"/>
                    <a:ext cx="29" cy="30"/>
                  </a:xfrm>
                  <a:prstGeom prst="ellipse">
                    <a:avLst/>
                  </a:prstGeom>
                  <a:solidFill>
                    <a:srgbClr val="50E6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6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EC858631-1C4B-B64A-BC11-57E696DFCB90}"/>
                    </a:ext>
                  </a:extLst>
                </p:cNvPr>
                <p:cNvSpPr/>
                <p:nvPr/>
              </p:nvSpPr>
              <p:spPr bwMode="auto">
                <a:xfrm>
                  <a:off x="6557116" y="2752604"/>
                  <a:ext cx="173622" cy="349370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A9550AED-3E37-9646-9C7A-EF3266377B7A}"/>
                    </a:ext>
                  </a:extLst>
                </p:cNvPr>
                <p:cNvSpPr/>
                <p:nvPr/>
              </p:nvSpPr>
              <p:spPr bwMode="auto">
                <a:xfrm>
                  <a:off x="6789644" y="2598307"/>
                  <a:ext cx="173622" cy="503667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3B957A94-638B-F542-A262-59BAF8FC213A}"/>
                    </a:ext>
                  </a:extLst>
                </p:cNvPr>
                <p:cNvSpPr/>
                <p:nvPr/>
              </p:nvSpPr>
              <p:spPr bwMode="auto">
                <a:xfrm>
                  <a:off x="7022172" y="2752604"/>
                  <a:ext cx="173622" cy="349370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AD86D075-E63B-5E4A-BA7D-C3BC27C55AA0}"/>
                    </a:ext>
                  </a:extLst>
                </p:cNvPr>
                <p:cNvSpPr/>
                <p:nvPr/>
              </p:nvSpPr>
              <p:spPr bwMode="auto">
                <a:xfrm>
                  <a:off x="7254700" y="2530786"/>
                  <a:ext cx="173622" cy="571188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014C5-5D4A-4679-9522-37EB6BC03931}"/>
              </a:ext>
            </a:extLst>
          </p:cNvPr>
          <p:cNvGrpSpPr/>
          <p:nvPr/>
        </p:nvGrpSpPr>
        <p:grpSpPr>
          <a:xfrm>
            <a:off x="442094" y="2201863"/>
            <a:ext cx="3474720" cy="3397651"/>
            <a:chOff x="442094" y="1956907"/>
            <a:chExt cx="3474720" cy="3397651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765F156-FC61-DE4E-8ED3-6591A118972E}"/>
                </a:ext>
              </a:extLst>
            </p:cNvPr>
            <p:cNvSpPr/>
            <p:nvPr/>
          </p:nvSpPr>
          <p:spPr>
            <a:xfrm>
              <a:off x="442094" y="4123452"/>
              <a:ext cx="3474720" cy="123110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rder from the Azure portal and pay as you go on your standard Azure bill, just like any other Azure service 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7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o minimum period and no hardware to purchase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820907-5AC8-0848-9783-C8A45748156F}"/>
                </a:ext>
              </a:extLst>
            </p:cNvPr>
            <p:cNvSpPr/>
            <p:nvPr/>
          </p:nvSpPr>
          <p:spPr>
            <a:xfrm>
              <a:off x="442094" y="3376029"/>
              <a:ext cx="3474720" cy="4985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 b="1"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Easy ordering and </a:t>
              </a:r>
              <a:b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</a:b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fulfillment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3C52A22-4115-4AA5-B96C-2E8116A63477}"/>
                </a:ext>
              </a:extLst>
            </p:cNvPr>
            <p:cNvGrpSpPr/>
            <p:nvPr/>
          </p:nvGrpSpPr>
          <p:grpSpPr>
            <a:xfrm>
              <a:off x="442094" y="1956907"/>
              <a:ext cx="1149269" cy="1149269"/>
              <a:chOff x="464557" y="2187812"/>
              <a:chExt cx="1149269" cy="1149269"/>
            </a:xfrm>
          </p:grpSpPr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E31A939F-8D3D-A24E-9144-66170BB16E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64557" y="2187812"/>
                <a:ext cx="1149269" cy="1149269"/>
              </a:xfrm>
              <a:prstGeom prst="ellipse">
                <a:avLst/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>
                <a:outerShdw blurRad="190500" dist="38100" dir="2700000" algn="tl" rotWithShape="0">
                  <a:prstClr val="black">
                    <a:alpha val="25000"/>
                  </a:prstClr>
                </a:outerShdw>
              </a:effec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133" name="Group 102">
                <a:extLst>
                  <a:ext uri="{FF2B5EF4-FFF2-40B4-BE49-F238E27FC236}">
                    <a16:creationId xmlns:a16="http://schemas.microsoft.com/office/drawing/2014/main" id="{88723441-8DC2-8140-9944-6632819E20C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47724" y="2470979"/>
                <a:ext cx="582934" cy="582934"/>
                <a:chOff x="410" y="2781"/>
                <a:chExt cx="312" cy="312"/>
              </a:xfrm>
            </p:grpSpPr>
            <p:sp>
              <p:nvSpPr>
                <p:cNvPr id="134" name="Freeform 103">
                  <a:extLst>
                    <a:ext uri="{FF2B5EF4-FFF2-40B4-BE49-F238E27FC236}">
                      <a16:creationId xmlns:a16="http://schemas.microsoft.com/office/drawing/2014/main" id="{04E8E41B-7C01-A24E-8635-2BAE58A506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7" y="2863"/>
                  <a:ext cx="78" cy="148"/>
                </a:xfrm>
                <a:custGeom>
                  <a:avLst/>
                  <a:gdLst>
                    <a:gd name="T0" fmla="*/ 342 w 342"/>
                    <a:gd name="T1" fmla="*/ 435 h 651"/>
                    <a:gd name="T2" fmla="*/ 304 w 342"/>
                    <a:gd name="T3" fmla="*/ 529 h 651"/>
                    <a:gd name="T4" fmla="*/ 196 w 342"/>
                    <a:gd name="T5" fmla="*/ 574 h 651"/>
                    <a:gd name="T6" fmla="*/ 196 w 342"/>
                    <a:gd name="T7" fmla="*/ 651 h 651"/>
                    <a:gd name="T8" fmla="*/ 144 w 342"/>
                    <a:gd name="T9" fmla="*/ 651 h 651"/>
                    <a:gd name="T10" fmla="*/ 144 w 342"/>
                    <a:gd name="T11" fmla="*/ 576 h 651"/>
                    <a:gd name="T12" fmla="*/ 10 w 342"/>
                    <a:gd name="T13" fmla="*/ 543 h 651"/>
                    <a:gd name="T14" fmla="*/ 10 w 342"/>
                    <a:gd name="T15" fmla="*/ 444 h 651"/>
                    <a:gd name="T16" fmla="*/ 71 w 342"/>
                    <a:gd name="T17" fmla="*/ 475 h 651"/>
                    <a:gd name="T18" fmla="*/ 144 w 342"/>
                    <a:gd name="T19" fmla="*/ 492 h 651"/>
                    <a:gd name="T20" fmla="*/ 144 w 342"/>
                    <a:gd name="T21" fmla="*/ 362 h 651"/>
                    <a:gd name="T22" fmla="*/ 33 w 342"/>
                    <a:gd name="T23" fmla="*/ 299 h 651"/>
                    <a:gd name="T24" fmla="*/ 0 w 342"/>
                    <a:gd name="T25" fmla="*/ 207 h 651"/>
                    <a:gd name="T26" fmla="*/ 40 w 342"/>
                    <a:gd name="T27" fmla="*/ 112 h 651"/>
                    <a:gd name="T28" fmla="*/ 144 w 342"/>
                    <a:gd name="T29" fmla="*/ 67 h 651"/>
                    <a:gd name="T30" fmla="*/ 144 w 342"/>
                    <a:gd name="T31" fmla="*/ 0 h 651"/>
                    <a:gd name="T32" fmla="*/ 196 w 342"/>
                    <a:gd name="T33" fmla="*/ 0 h 651"/>
                    <a:gd name="T34" fmla="*/ 196 w 342"/>
                    <a:gd name="T35" fmla="*/ 65 h 651"/>
                    <a:gd name="T36" fmla="*/ 308 w 342"/>
                    <a:gd name="T37" fmla="*/ 89 h 651"/>
                    <a:gd name="T38" fmla="*/ 308 w 342"/>
                    <a:gd name="T39" fmla="*/ 185 h 651"/>
                    <a:gd name="T40" fmla="*/ 196 w 342"/>
                    <a:gd name="T41" fmla="*/ 148 h 651"/>
                    <a:gd name="T42" fmla="*/ 196 w 342"/>
                    <a:gd name="T43" fmla="*/ 283 h 651"/>
                    <a:gd name="T44" fmla="*/ 308 w 342"/>
                    <a:gd name="T45" fmla="*/ 347 h 651"/>
                    <a:gd name="T46" fmla="*/ 342 w 342"/>
                    <a:gd name="T47" fmla="*/ 435 h 651"/>
                    <a:gd name="T48" fmla="*/ 144 w 342"/>
                    <a:gd name="T49" fmla="*/ 262 h 651"/>
                    <a:gd name="T50" fmla="*/ 144 w 342"/>
                    <a:gd name="T51" fmla="*/ 150 h 651"/>
                    <a:gd name="T52" fmla="*/ 95 w 342"/>
                    <a:gd name="T53" fmla="*/ 201 h 651"/>
                    <a:gd name="T54" fmla="*/ 144 w 342"/>
                    <a:gd name="T55" fmla="*/ 262 h 651"/>
                    <a:gd name="T56" fmla="*/ 247 w 342"/>
                    <a:gd name="T57" fmla="*/ 440 h 651"/>
                    <a:gd name="T58" fmla="*/ 196 w 342"/>
                    <a:gd name="T59" fmla="*/ 383 h 651"/>
                    <a:gd name="T60" fmla="*/ 196 w 342"/>
                    <a:gd name="T61" fmla="*/ 490 h 651"/>
                    <a:gd name="T62" fmla="*/ 247 w 342"/>
                    <a:gd name="T63" fmla="*/ 440 h 6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42" h="651">
                      <a:moveTo>
                        <a:pt x="342" y="435"/>
                      </a:moveTo>
                      <a:cubicBezTo>
                        <a:pt x="342" y="474"/>
                        <a:pt x="329" y="506"/>
                        <a:pt x="304" y="529"/>
                      </a:cubicBezTo>
                      <a:cubicBezTo>
                        <a:pt x="280" y="553"/>
                        <a:pt x="244" y="568"/>
                        <a:pt x="196" y="574"/>
                      </a:cubicBezTo>
                      <a:cubicBezTo>
                        <a:pt x="196" y="651"/>
                        <a:pt x="196" y="651"/>
                        <a:pt x="196" y="651"/>
                      </a:cubicBezTo>
                      <a:cubicBezTo>
                        <a:pt x="144" y="651"/>
                        <a:pt x="144" y="651"/>
                        <a:pt x="144" y="651"/>
                      </a:cubicBezTo>
                      <a:cubicBezTo>
                        <a:pt x="144" y="576"/>
                        <a:pt x="144" y="576"/>
                        <a:pt x="144" y="576"/>
                      </a:cubicBezTo>
                      <a:cubicBezTo>
                        <a:pt x="95" y="575"/>
                        <a:pt x="51" y="564"/>
                        <a:pt x="10" y="543"/>
                      </a:cubicBezTo>
                      <a:cubicBezTo>
                        <a:pt x="10" y="444"/>
                        <a:pt x="10" y="444"/>
                        <a:pt x="10" y="444"/>
                      </a:cubicBezTo>
                      <a:cubicBezTo>
                        <a:pt x="23" y="455"/>
                        <a:pt x="43" y="465"/>
                        <a:pt x="71" y="475"/>
                      </a:cubicBezTo>
                      <a:cubicBezTo>
                        <a:pt x="99" y="485"/>
                        <a:pt x="124" y="490"/>
                        <a:pt x="144" y="492"/>
                      </a:cubicBezTo>
                      <a:cubicBezTo>
                        <a:pt x="144" y="362"/>
                        <a:pt x="144" y="362"/>
                        <a:pt x="144" y="362"/>
                      </a:cubicBezTo>
                      <a:cubicBezTo>
                        <a:pt x="92" y="343"/>
                        <a:pt x="55" y="322"/>
                        <a:pt x="33" y="299"/>
                      </a:cubicBezTo>
                      <a:cubicBezTo>
                        <a:pt x="11" y="275"/>
                        <a:pt x="0" y="245"/>
                        <a:pt x="0" y="207"/>
                      </a:cubicBezTo>
                      <a:cubicBezTo>
                        <a:pt x="0" y="170"/>
                        <a:pt x="14" y="138"/>
                        <a:pt x="40" y="112"/>
                      </a:cubicBezTo>
                      <a:cubicBezTo>
                        <a:pt x="67" y="86"/>
                        <a:pt x="102" y="71"/>
                        <a:pt x="144" y="67"/>
                      </a:cubicBezTo>
                      <a:cubicBezTo>
                        <a:pt x="144" y="0"/>
                        <a:pt x="144" y="0"/>
                        <a:pt x="144" y="0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cubicBezTo>
                        <a:pt x="196" y="65"/>
                        <a:pt x="196" y="65"/>
                        <a:pt x="196" y="65"/>
                      </a:cubicBezTo>
                      <a:cubicBezTo>
                        <a:pt x="246" y="67"/>
                        <a:pt x="284" y="76"/>
                        <a:pt x="308" y="89"/>
                      </a:cubicBezTo>
                      <a:cubicBezTo>
                        <a:pt x="308" y="185"/>
                        <a:pt x="308" y="185"/>
                        <a:pt x="308" y="185"/>
                      </a:cubicBezTo>
                      <a:cubicBezTo>
                        <a:pt x="275" y="165"/>
                        <a:pt x="238" y="153"/>
                        <a:pt x="196" y="148"/>
                      </a:cubicBezTo>
                      <a:cubicBezTo>
                        <a:pt x="196" y="283"/>
                        <a:pt x="196" y="283"/>
                        <a:pt x="196" y="283"/>
                      </a:cubicBezTo>
                      <a:cubicBezTo>
                        <a:pt x="249" y="302"/>
                        <a:pt x="286" y="323"/>
                        <a:pt x="308" y="347"/>
                      </a:cubicBezTo>
                      <a:cubicBezTo>
                        <a:pt x="331" y="371"/>
                        <a:pt x="342" y="400"/>
                        <a:pt x="342" y="435"/>
                      </a:cubicBezTo>
                      <a:close/>
                      <a:moveTo>
                        <a:pt x="144" y="262"/>
                      </a:moveTo>
                      <a:cubicBezTo>
                        <a:pt x="144" y="150"/>
                        <a:pt x="144" y="150"/>
                        <a:pt x="144" y="150"/>
                      </a:cubicBezTo>
                      <a:cubicBezTo>
                        <a:pt x="111" y="156"/>
                        <a:pt x="95" y="173"/>
                        <a:pt x="95" y="201"/>
                      </a:cubicBezTo>
                      <a:cubicBezTo>
                        <a:pt x="95" y="226"/>
                        <a:pt x="111" y="247"/>
                        <a:pt x="144" y="262"/>
                      </a:cubicBezTo>
                      <a:close/>
                      <a:moveTo>
                        <a:pt x="247" y="440"/>
                      </a:moveTo>
                      <a:cubicBezTo>
                        <a:pt x="247" y="417"/>
                        <a:pt x="230" y="398"/>
                        <a:pt x="196" y="383"/>
                      </a:cubicBezTo>
                      <a:cubicBezTo>
                        <a:pt x="196" y="490"/>
                        <a:pt x="196" y="490"/>
                        <a:pt x="196" y="490"/>
                      </a:cubicBezTo>
                      <a:cubicBezTo>
                        <a:pt x="230" y="485"/>
                        <a:pt x="247" y="468"/>
                        <a:pt x="247" y="440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104">
                  <a:extLst>
                    <a:ext uri="{FF2B5EF4-FFF2-40B4-BE49-F238E27FC236}">
                      <a16:creationId xmlns:a16="http://schemas.microsoft.com/office/drawing/2014/main" id="{F3E458B5-6994-844E-925E-BA5D3FD7E4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0" y="2781"/>
                  <a:ext cx="312" cy="312"/>
                </a:xfrm>
                <a:custGeom>
                  <a:avLst/>
                  <a:gdLst>
                    <a:gd name="T0" fmla="*/ 682 w 1364"/>
                    <a:gd name="T1" fmla="*/ 1365 h 1365"/>
                    <a:gd name="T2" fmla="*/ 0 w 1364"/>
                    <a:gd name="T3" fmla="*/ 683 h 1365"/>
                    <a:gd name="T4" fmla="*/ 682 w 1364"/>
                    <a:gd name="T5" fmla="*/ 0 h 1365"/>
                    <a:gd name="T6" fmla="*/ 1280 w 1364"/>
                    <a:gd name="T7" fmla="*/ 353 h 1365"/>
                    <a:gd name="T8" fmla="*/ 1311 w 1364"/>
                    <a:gd name="T9" fmla="*/ 409 h 1365"/>
                    <a:gd name="T10" fmla="*/ 1199 w 1364"/>
                    <a:gd name="T11" fmla="*/ 471 h 1365"/>
                    <a:gd name="T12" fmla="*/ 1168 w 1364"/>
                    <a:gd name="T13" fmla="*/ 415 h 1365"/>
                    <a:gd name="T14" fmla="*/ 682 w 1364"/>
                    <a:gd name="T15" fmla="*/ 128 h 1365"/>
                    <a:gd name="T16" fmla="*/ 128 w 1364"/>
                    <a:gd name="T17" fmla="*/ 683 h 1365"/>
                    <a:gd name="T18" fmla="*/ 682 w 1364"/>
                    <a:gd name="T19" fmla="*/ 1237 h 1365"/>
                    <a:gd name="T20" fmla="*/ 1236 w 1364"/>
                    <a:gd name="T21" fmla="*/ 683 h 1365"/>
                    <a:gd name="T22" fmla="*/ 1236 w 1364"/>
                    <a:gd name="T23" fmla="*/ 683 h 1365"/>
                    <a:gd name="T24" fmla="*/ 1364 w 1364"/>
                    <a:gd name="T25" fmla="*/ 683 h 1365"/>
                    <a:gd name="T26" fmla="*/ 1364 w 1364"/>
                    <a:gd name="T27" fmla="*/ 683 h 1365"/>
                    <a:gd name="T28" fmla="*/ 682 w 1364"/>
                    <a:gd name="T29" fmla="*/ 1365 h 1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64" h="1365">
                      <a:moveTo>
                        <a:pt x="682" y="1365"/>
                      </a:moveTo>
                      <a:cubicBezTo>
                        <a:pt x="306" y="1365"/>
                        <a:pt x="0" y="1059"/>
                        <a:pt x="0" y="683"/>
                      </a:cubicBezTo>
                      <a:cubicBezTo>
                        <a:pt x="0" y="306"/>
                        <a:pt x="306" y="0"/>
                        <a:pt x="682" y="0"/>
                      </a:cubicBezTo>
                      <a:cubicBezTo>
                        <a:pt x="930" y="0"/>
                        <a:pt x="1159" y="135"/>
                        <a:pt x="1280" y="353"/>
                      </a:cubicBezTo>
                      <a:cubicBezTo>
                        <a:pt x="1311" y="409"/>
                        <a:pt x="1311" y="409"/>
                        <a:pt x="1311" y="409"/>
                      </a:cubicBezTo>
                      <a:cubicBezTo>
                        <a:pt x="1199" y="471"/>
                        <a:pt x="1199" y="471"/>
                        <a:pt x="1199" y="471"/>
                      </a:cubicBezTo>
                      <a:cubicBezTo>
                        <a:pt x="1168" y="415"/>
                        <a:pt x="1168" y="415"/>
                        <a:pt x="1168" y="415"/>
                      </a:cubicBezTo>
                      <a:cubicBezTo>
                        <a:pt x="1070" y="238"/>
                        <a:pt x="884" y="128"/>
                        <a:pt x="682" y="128"/>
                      </a:cubicBezTo>
                      <a:cubicBezTo>
                        <a:pt x="376" y="128"/>
                        <a:pt x="128" y="377"/>
                        <a:pt x="128" y="683"/>
                      </a:cubicBezTo>
                      <a:cubicBezTo>
                        <a:pt x="128" y="988"/>
                        <a:pt x="376" y="1237"/>
                        <a:pt x="682" y="1237"/>
                      </a:cubicBezTo>
                      <a:cubicBezTo>
                        <a:pt x="988" y="1237"/>
                        <a:pt x="1236" y="988"/>
                        <a:pt x="1236" y="683"/>
                      </a:cubicBezTo>
                      <a:cubicBezTo>
                        <a:pt x="1236" y="683"/>
                        <a:pt x="1236" y="683"/>
                        <a:pt x="1236" y="683"/>
                      </a:cubicBezTo>
                      <a:cubicBezTo>
                        <a:pt x="1364" y="683"/>
                        <a:pt x="1364" y="683"/>
                        <a:pt x="1364" y="683"/>
                      </a:cubicBezTo>
                      <a:cubicBezTo>
                        <a:pt x="1364" y="683"/>
                        <a:pt x="1364" y="683"/>
                        <a:pt x="1364" y="683"/>
                      </a:cubicBezTo>
                      <a:cubicBezTo>
                        <a:pt x="1364" y="1059"/>
                        <a:pt x="1058" y="1365"/>
                        <a:pt x="682" y="1365"/>
                      </a:cubicBezTo>
                      <a:close/>
                    </a:path>
                  </a:pathLst>
                </a:custGeom>
                <a:solidFill>
                  <a:srgbClr val="0078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105">
                  <a:extLst>
                    <a:ext uri="{FF2B5EF4-FFF2-40B4-BE49-F238E27FC236}">
                      <a16:creationId xmlns:a16="http://schemas.microsoft.com/office/drawing/2014/main" id="{7B7EA123-AC90-9B46-B2AC-F1CBE2965F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" y="2811"/>
                  <a:ext cx="88" cy="87"/>
                </a:xfrm>
                <a:custGeom>
                  <a:avLst/>
                  <a:gdLst>
                    <a:gd name="T0" fmla="*/ 0 w 88"/>
                    <a:gd name="T1" fmla="*/ 87 h 87"/>
                    <a:gd name="T2" fmla="*/ 0 w 88"/>
                    <a:gd name="T3" fmla="*/ 58 h 87"/>
                    <a:gd name="T4" fmla="*/ 59 w 88"/>
                    <a:gd name="T5" fmla="*/ 58 h 87"/>
                    <a:gd name="T6" fmla="*/ 59 w 88"/>
                    <a:gd name="T7" fmla="*/ 0 h 87"/>
                    <a:gd name="T8" fmla="*/ 88 w 88"/>
                    <a:gd name="T9" fmla="*/ 0 h 87"/>
                    <a:gd name="T10" fmla="*/ 88 w 88"/>
                    <a:gd name="T11" fmla="*/ 87 h 87"/>
                    <a:gd name="T12" fmla="*/ 0 w 88"/>
                    <a:gd name="T13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8" h="87">
                      <a:moveTo>
                        <a:pt x="0" y="87"/>
                      </a:moveTo>
                      <a:lnTo>
                        <a:pt x="0" y="58"/>
                      </a:lnTo>
                      <a:lnTo>
                        <a:pt x="59" y="58"/>
                      </a:lnTo>
                      <a:lnTo>
                        <a:pt x="59" y="0"/>
                      </a:lnTo>
                      <a:lnTo>
                        <a:pt x="88" y="0"/>
                      </a:lnTo>
                      <a:lnTo>
                        <a:pt x="88" y="87"/>
                      </a:lnTo>
                      <a:lnTo>
                        <a:pt x="0" y="87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8E4E27C-85C3-412B-9D08-277E4BF35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oud Manage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5179988C-AE90-4249-8EF0-05199765D3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0264" y="6260467"/>
            <a:ext cx="1517649" cy="50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25969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5CBF2738-B99E-4156-8AC3-83D6ADC836D6}"/>
              </a:ext>
            </a:extLst>
          </p:cNvPr>
          <p:cNvGrpSpPr/>
          <p:nvPr/>
        </p:nvGrpSpPr>
        <p:grpSpPr>
          <a:xfrm>
            <a:off x="6185400" y="1875088"/>
            <a:ext cx="5576417" cy="4061025"/>
            <a:chOff x="6185400" y="1875088"/>
            <a:chExt cx="5576417" cy="406102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954E342-5B6C-B94E-B717-F269EB880B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185400" y="1875088"/>
              <a:ext cx="5576417" cy="406102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4821" rIns="0" bIns="4482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0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7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080DED-67BD-4996-84FD-F7301C4A22E6}"/>
                </a:ext>
              </a:extLst>
            </p:cNvPr>
            <p:cNvSpPr/>
            <p:nvPr/>
          </p:nvSpPr>
          <p:spPr bwMode="auto">
            <a:xfrm>
              <a:off x="7645712" y="2066174"/>
              <a:ext cx="2655793" cy="307777"/>
            </a:xfrm>
            <a:prstGeom prst="rect">
              <a:avLst/>
            </a:prstGeom>
            <a:noFill/>
            <a:ln w="15875" cap="rnd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b" anchorCtr="0">
              <a:noAutofit/>
            </a:bodyPr>
            <a:lstStyle/>
            <a:p>
              <a:pPr marL="0" marR="0" lvl="0" indent="0" algn="ctr" defTabSz="896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Rugged (R) seri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E3E30BA-7DDE-4BDE-8C27-8EEEEDC40EDA}"/>
                </a:ext>
              </a:extLst>
            </p:cNvPr>
            <p:cNvSpPr/>
            <p:nvPr/>
          </p:nvSpPr>
          <p:spPr>
            <a:xfrm>
              <a:off x="7100563" y="2526331"/>
              <a:ext cx="3746090" cy="538609"/>
            </a:xfrm>
            <a:prstGeom prst="rect">
              <a:avLst/>
            </a:prstGeom>
          </p:spPr>
          <p:txBody>
            <a:bodyPr wrap="square" lIns="0" tIns="0" rIns="0">
              <a:spAutoFit/>
            </a:bodyPr>
            <a:lstStyle/>
            <a:p>
              <a:pPr marL="0" marR="0" lvl="0" indent="0" algn="ct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uggedized, portable, battery-operated  form-factors for harsh field conditions</a:t>
              </a:r>
            </a:p>
          </p:txBody>
        </p:sp>
        <p:pic>
          <p:nvPicPr>
            <p:cNvPr id="11" name="Picture 10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BC1DB52B-DE7D-49D9-B351-0E1699D14F44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9196048" y="3293193"/>
              <a:ext cx="1888111" cy="1271554"/>
            </a:xfrm>
            <a:prstGeom prst="rect">
              <a:avLst/>
            </a:prstGeom>
          </p:spPr>
        </p:pic>
        <p:pic>
          <p:nvPicPr>
            <p:cNvPr id="12" name="Picture 11" descr="Azure rugged">
              <a:extLst>
                <a:ext uri="{FF2B5EF4-FFF2-40B4-BE49-F238E27FC236}">
                  <a16:creationId xmlns:a16="http://schemas.microsoft.com/office/drawing/2014/main" id="{AAB6DEC6-8352-4AFD-8237-69395605C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63057" y="3455815"/>
              <a:ext cx="1679844" cy="946310"/>
            </a:xfrm>
            <a:prstGeom prst="rect">
              <a:avLst/>
            </a:prstGeom>
          </p:spPr>
        </p:pic>
        <p:sp>
          <p:nvSpPr>
            <p:cNvPr id="16" name="Rectangle: Rounded Corners 6">
              <a:extLst>
                <a:ext uri="{FF2B5EF4-FFF2-40B4-BE49-F238E27FC236}">
                  <a16:creationId xmlns:a16="http://schemas.microsoft.com/office/drawing/2014/main" id="{567AE730-5FAE-BD48-B617-1786DCC30EF0}"/>
                </a:ext>
              </a:extLst>
            </p:cNvPr>
            <p:cNvSpPr/>
            <p:nvPr/>
          </p:nvSpPr>
          <p:spPr bwMode="auto">
            <a:xfrm>
              <a:off x="6315857" y="5189799"/>
              <a:ext cx="5315504" cy="611363"/>
            </a:xfrm>
            <a:prstGeom prst="roundRect">
              <a:avLst>
                <a:gd name="adj" fmla="val 0"/>
              </a:avLst>
            </a:prstGeom>
            <a:solidFill>
              <a:srgbClr val="0070C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Segoe UI" pitchFamily="34" charset="0"/>
                  <a:cs typeface="Segoe UI"/>
                </a:rPr>
                <a:t>Preview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2373FFC-99C3-476C-90CE-4E7400737669}"/>
              </a:ext>
            </a:extLst>
          </p:cNvPr>
          <p:cNvGrpSpPr/>
          <p:nvPr/>
        </p:nvGrpSpPr>
        <p:grpSpPr>
          <a:xfrm>
            <a:off x="421537" y="1875088"/>
            <a:ext cx="5576417" cy="4061025"/>
            <a:chOff x="421537" y="1875088"/>
            <a:chExt cx="5576417" cy="406102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E4CCE8F-687F-40BF-B319-17396D2DDC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21537" y="1875088"/>
              <a:ext cx="5576417" cy="406102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4821" rIns="0" bIns="4482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0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7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87C8B3B-11BD-447F-891E-4B3E8035D146}"/>
                </a:ext>
              </a:extLst>
            </p:cNvPr>
            <p:cNvSpPr/>
            <p:nvPr/>
          </p:nvSpPr>
          <p:spPr bwMode="auto">
            <a:xfrm>
              <a:off x="1807298" y="2066174"/>
              <a:ext cx="2804895" cy="307777"/>
            </a:xfrm>
            <a:prstGeom prst="rect">
              <a:avLst/>
            </a:prstGeom>
            <a:noFill/>
            <a:ln w="15875" cap="rnd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b" anchorCtr="0">
              <a:noAutofit/>
            </a:bodyPr>
            <a:lstStyle/>
            <a:p>
              <a:pPr marL="0" marR="0" lvl="0" indent="0" algn="ctr" defTabSz="896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Commercial (C) series  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0E9067F-638E-4DBC-ABF1-3F984F44B5A4}"/>
                </a:ext>
              </a:extLst>
            </p:cNvPr>
            <p:cNvSpPr/>
            <p:nvPr/>
          </p:nvSpPr>
          <p:spPr>
            <a:xfrm>
              <a:off x="1410442" y="2526331"/>
              <a:ext cx="3598607" cy="538609"/>
            </a:xfrm>
            <a:prstGeom prst="rect">
              <a:avLst/>
            </a:prstGeom>
          </p:spPr>
          <p:txBody>
            <a:bodyPr wrap="square" lIns="0" tIns="0" rIns="0">
              <a:spAutoFit/>
            </a:bodyPr>
            <a:lstStyle/>
            <a:p>
              <a:pPr marL="0" marR="0" lvl="0" indent="0" algn="ct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terprise-ready form factors for use</a:t>
              </a:r>
              <a:b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ithin a traditional business setting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452A191-21DE-416D-8F86-55136366D67A}"/>
                </a:ext>
              </a:extLst>
            </p:cNvPr>
            <p:cNvGrpSpPr/>
            <p:nvPr/>
          </p:nvGrpSpPr>
          <p:grpSpPr>
            <a:xfrm>
              <a:off x="904109" y="3361722"/>
              <a:ext cx="4611272" cy="1510802"/>
              <a:chOff x="756293" y="3361722"/>
              <a:chExt cx="4611272" cy="1510802"/>
            </a:xfrm>
          </p:grpSpPr>
          <p:pic>
            <p:nvPicPr>
              <p:cNvPr id="13" name="Picture 2" descr="Data Box Edge">
                <a:extLst>
                  <a:ext uri="{FF2B5EF4-FFF2-40B4-BE49-F238E27FC236}">
                    <a16:creationId xmlns:a16="http://schemas.microsoft.com/office/drawing/2014/main" id="{58694C8C-E52F-4930-9DAD-4C17940C3D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756293" y="3361722"/>
                <a:ext cx="2016888" cy="1134498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" name="Picture 2" descr="Data Box Edge">
                <a:extLst>
                  <a:ext uri="{FF2B5EF4-FFF2-40B4-BE49-F238E27FC236}">
                    <a16:creationId xmlns:a16="http://schemas.microsoft.com/office/drawing/2014/main" id="{F9F53A80-3188-46D5-ABD6-D63638A09C4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3350677" y="3361722"/>
                <a:ext cx="2016888" cy="1134498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C688881-BDF9-46B6-B374-4CE7442E3DD5}"/>
                  </a:ext>
                </a:extLst>
              </p:cNvPr>
              <p:cNvSpPr/>
              <p:nvPr/>
            </p:nvSpPr>
            <p:spPr>
              <a:xfrm>
                <a:off x="774580" y="4564747"/>
                <a:ext cx="198031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ntel </a:t>
                </a:r>
                <a:r>
                  <a:rPr kumimoji="0" lang="en-US" sz="14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Arria</a:t>
                </a: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10 FPGA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348D7DE-B442-4B43-ADA7-09CE7C742233}"/>
                  </a:ext>
                </a:extLst>
              </p:cNvPr>
              <p:cNvSpPr/>
              <p:nvPr/>
            </p:nvSpPr>
            <p:spPr>
              <a:xfrm>
                <a:off x="3368964" y="4564747"/>
                <a:ext cx="198031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vidia T4 GPU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FB72C7F-4E87-4F5D-999E-777A3B0DFA9D}"/>
                </a:ext>
              </a:extLst>
            </p:cNvPr>
            <p:cNvGrpSpPr/>
            <p:nvPr/>
          </p:nvGrpSpPr>
          <p:grpSpPr>
            <a:xfrm>
              <a:off x="560640" y="5187376"/>
              <a:ext cx="5298210" cy="613786"/>
              <a:chOff x="430183" y="5006715"/>
              <a:chExt cx="5298210" cy="613786"/>
            </a:xfrm>
          </p:grpSpPr>
          <p:sp>
            <p:nvSpPr>
              <p:cNvPr id="19" name="Rectangle: Rounded Corners 6">
                <a:extLst>
                  <a:ext uri="{FF2B5EF4-FFF2-40B4-BE49-F238E27FC236}">
                    <a16:creationId xmlns:a16="http://schemas.microsoft.com/office/drawing/2014/main" id="{6578199C-458E-4426-A553-FC47FFB8358C}"/>
                  </a:ext>
                </a:extLst>
              </p:cNvPr>
              <p:cNvSpPr/>
              <p:nvPr/>
            </p:nvSpPr>
            <p:spPr bwMode="auto">
              <a:xfrm>
                <a:off x="430183" y="5006715"/>
                <a:ext cx="2573035" cy="611363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j-lt"/>
                    <a:ea typeface="Segoe UI" pitchFamily="34" charset="0"/>
                    <a:cs typeface="Segoe UI" pitchFamily="34" charset="0"/>
                  </a:rPr>
                  <a:t>Now available</a:t>
                </a:r>
              </a:p>
            </p:txBody>
          </p:sp>
          <p:sp>
            <p:nvSpPr>
              <p:cNvPr id="20" name="Rectangle: Rounded Corners 6">
                <a:extLst>
                  <a:ext uri="{FF2B5EF4-FFF2-40B4-BE49-F238E27FC236}">
                    <a16:creationId xmlns:a16="http://schemas.microsoft.com/office/drawing/2014/main" id="{AFDB24E7-EDB0-45AF-B7DC-75751DD4A84E}"/>
                  </a:ext>
                </a:extLst>
              </p:cNvPr>
              <p:cNvSpPr/>
              <p:nvPr/>
            </p:nvSpPr>
            <p:spPr bwMode="auto">
              <a:xfrm>
                <a:off x="3155358" y="5009138"/>
                <a:ext cx="2573035" cy="611363"/>
              </a:xfrm>
              <a:prstGeom prst="roundRect">
                <a:avLst>
                  <a:gd name="adj" fmla="val 0"/>
                </a:avLst>
              </a:prstGeom>
              <a:solidFill>
                <a:srgbClr val="0070C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  <a:ea typeface="Segoe UI" pitchFamily="34" charset="0"/>
                    <a:cs typeface="Segoe UI"/>
                  </a:rPr>
                  <a:t>Preview </a:t>
                </a: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CEC93450-8DE4-4E0C-8CCD-3E4C018D52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oose the Appliance Model Best Suited for the Job</a:t>
            </a:r>
          </a:p>
        </p:txBody>
      </p:sp>
    </p:spTree>
    <p:extLst>
      <p:ext uri="{BB962C8B-B14F-4D97-AF65-F5344CB8AC3E}">
        <p14:creationId xmlns:p14="http://schemas.microsoft.com/office/powerpoint/2010/main" val="14552617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0.05391 0.0011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5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0.05391 0.00116 " pathEditMode="relative" rAng="0" ptsTypes="AA">
                                      <p:cBhvr>
                                        <p:cTn id="16" dur="75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5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7BCD3BE-97D0-4F96-8FC8-67189C43EA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633356" y="10"/>
            <a:ext cx="6558643" cy="685799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AFC8F7A-1774-4F91-A241-FED19E5A73A3}"/>
              </a:ext>
            </a:extLst>
          </p:cNvPr>
          <p:cNvSpPr/>
          <p:nvPr/>
        </p:nvSpPr>
        <p:spPr>
          <a:xfrm>
            <a:off x="584198" y="3298613"/>
            <a:ext cx="4526643" cy="320071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unrise Technology, a division of Kroger, uses Azure Stack Edge to enhance Retail-as-a-Service platform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gradFill>
                <a:gsLst>
                  <a:gs pos="125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Live video analytics on Azure Stack Edge at the retail store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Enables personalized and guided shopping experiences such as at-shelf product recommendation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Improves employee productivity by identifying out-of-stocks quickly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B13D5D-F626-43DB-8564-684EBF72E80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19"/>
          <a:stretch/>
        </p:blipFill>
        <p:spPr>
          <a:xfrm>
            <a:off x="1936645" y="1267253"/>
            <a:ext cx="1821751" cy="149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46815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DD4D78-B672-48E2-8063-CB89B9B75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3" y="1649905"/>
            <a:ext cx="7454643" cy="3558191"/>
          </a:xfrm>
        </p:spPr>
        <p:txBody>
          <a:bodyPr anchor="ctr"/>
          <a:lstStyle/>
          <a:p>
            <a:r>
              <a:rPr lang="en-US"/>
              <a:t>Intelligent Retail Blueprint </a:t>
            </a:r>
          </a:p>
        </p:txBody>
      </p:sp>
    </p:spTree>
    <p:extLst>
      <p:ext uri="{BB962C8B-B14F-4D97-AF65-F5344CB8AC3E}">
        <p14:creationId xmlns:p14="http://schemas.microsoft.com/office/powerpoint/2010/main" val="3581726797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8763A11-3F6E-479A-B4EC-2DB0FFAECAE9}"/>
              </a:ext>
            </a:extLst>
          </p:cNvPr>
          <p:cNvSpPr/>
          <p:nvPr/>
        </p:nvSpPr>
        <p:spPr>
          <a:xfrm>
            <a:off x="1" y="6023"/>
            <a:ext cx="12192000" cy="5210860"/>
          </a:xfrm>
          <a:custGeom>
            <a:avLst/>
            <a:gdLst>
              <a:gd name="connsiteX0" fmla="*/ 0 w 12436475"/>
              <a:gd name="connsiteY0" fmla="*/ 0 h 5315349"/>
              <a:gd name="connsiteX1" fmla="*/ 12436475 w 12436475"/>
              <a:gd name="connsiteY1" fmla="*/ 0 h 5315349"/>
              <a:gd name="connsiteX2" fmla="*/ 12436475 w 12436475"/>
              <a:gd name="connsiteY2" fmla="*/ 5315349 h 5315349"/>
              <a:gd name="connsiteX3" fmla="*/ 0 w 12436475"/>
              <a:gd name="connsiteY3" fmla="*/ 5315349 h 5315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6475" h="5315349">
                <a:moveTo>
                  <a:pt x="0" y="0"/>
                </a:moveTo>
                <a:lnTo>
                  <a:pt x="12436475" y="0"/>
                </a:lnTo>
                <a:lnTo>
                  <a:pt x="12436475" y="5315349"/>
                </a:lnTo>
                <a:lnTo>
                  <a:pt x="0" y="5315349"/>
                </a:lnTo>
                <a:close/>
              </a:path>
            </a:pathLst>
          </a:cu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3500000" scaled="1"/>
          </a:gra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A588AC-E7C6-491F-8CC6-67FB9D11A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138" y="-94247"/>
            <a:ext cx="11306469" cy="370056"/>
          </a:xfrm>
        </p:spPr>
        <p:txBody>
          <a:bodyPr/>
          <a:lstStyle/>
          <a:p>
            <a:r>
              <a:rPr lang="en-US"/>
              <a:t>`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1264A9-6E34-4D6B-B30C-2A0107DE096A}"/>
              </a:ext>
            </a:extLst>
          </p:cNvPr>
          <p:cNvGrpSpPr/>
          <p:nvPr/>
        </p:nvGrpSpPr>
        <p:grpSpPr>
          <a:xfrm>
            <a:off x="61144" y="6022"/>
            <a:ext cx="12192000" cy="4898745"/>
            <a:chOff x="70722" y="-28010"/>
            <a:chExt cx="12436475" cy="4996975"/>
          </a:xfrm>
        </p:grpSpPr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CD788CD4-6AF2-40EE-9BBD-E4B9347FB2F9}"/>
                </a:ext>
              </a:extLst>
            </p:cNvPr>
            <p:cNvSpPr/>
            <p:nvPr/>
          </p:nvSpPr>
          <p:spPr>
            <a:xfrm>
              <a:off x="9952745" y="-28010"/>
              <a:ext cx="270286" cy="4996975"/>
            </a:xfrm>
            <a:custGeom>
              <a:avLst/>
              <a:gdLst>
                <a:gd name="connsiteX0" fmla="*/ 0 w 270286"/>
                <a:gd name="connsiteY0" fmla="*/ 0 h 4996975"/>
                <a:gd name="connsiteX1" fmla="*/ 270286 w 270286"/>
                <a:gd name="connsiteY1" fmla="*/ 0 h 4996975"/>
                <a:gd name="connsiteX2" fmla="*/ 270286 w 270286"/>
                <a:gd name="connsiteY2" fmla="*/ 4996976 h 4996975"/>
                <a:gd name="connsiteX3" fmla="*/ 0 w 270286"/>
                <a:gd name="connsiteY3" fmla="*/ 4996976 h 499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286" h="4996975">
                  <a:moveTo>
                    <a:pt x="0" y="0"/>
                  </a:moveTo>
                  <a:lnTo>
                    <a:pt x="270286" y="0"/>
                  </a:lnTo>
                  <a:lnTo>
                    <a:pt x="270286" y="4996976"/>
                  </a:lnTo>
                  <a:lnTo>
                    <a:pt x="0" y="4996976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E3A18BB8-9036-46F4-8766-8A5C8B2F2743}"/>
                </a:ext>
              </a:extLst>
            </p:cNvPr>
            <p:cNvSpPr/>
            <p:nvPr/>
          </p:nvSpPr>
          <p:spPr>
            <a:xfrm>
              <a:off x="2378102" y="-28010"/>
              <a:ext cx="270286" cy="4996975"/>
            </a:xfrm>
            <a:custGeom>
              <a:avLst/>
              <a:gdLst>
                <a:gd name="connsiteX0" fmla="*/ 0 w 270286"/>
                <a:gd name="connsiteY0" fmla="*/ 0 h 4996975"/>
                <a:gd name="connsiteX1" fmla="*/ 270286 w 270286"/>
                <a:gd name="connsiteY1" fmla="*/ 0 h 4996975"/>
                <a:gd name="connsiteX2" fmla="*/ 270286 w 270286"/>
                <a:gd name="connsiteY2" fmla="*/ 4996976 h 4996975"/>
                <a:gd name="connsiteX3" fmla="*/ 0 w 270286"/>
                <a:gd name="connsiteY3" fmla="*/ 4996976 h 499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286" h="4996975">
                  <a:moveTo>
                    <a:pt x="0" y="0"/>
                  </a:moveTo>
                  <a:lnTo>
                    <a:pt x="270286" y="0"/>
                  </a:lnTo>
                  <a:lnTo>
                    <a:pt x="270286" y="4996976"/>
                  </a:lnTo>
                  <a:lnTo>
                    <a:pt x="0" y="4996976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F4583105-4BE1-4624-9D46-37EE3D3ADA9C}"/>
                </a:ext>
              </a:extLst>
            </p:cNvPr>
            <p:cNvSpPr/>
            <p:nvPr/>
          </p:nvSpPr>
          <p:spPr>
            <a:xfrm>
              <a:off x="2645901" y="1608630"/>
              <a:ext cx="7306843" cy="124364"/>
            </a:xfrm>
            <a:custGeom>
              <a:avLst/>
              <a:gdLst>
                <a:gd name="connsiteX0" fmla="*/ 0 w 7306843"/>
                <a:gd name="connsiteY0" fmla="*/ 0 h 124364"/>
                <a:gd name="connsiteX1" fmla="*/ 7306844 w 7306843"/>
                <a:gd name="connsiteY1" fmla="*/ 0 h 124364"/>
                <a:gd name="connsiteX2" fmla="*/ 7306844 w 7306843"/>
                <a:gd name="connsiteY2" fmla="*/ 124365 h 124364"/>
                <a:gd name="connsiteX3" fmla="*/ 0 w 7306843"/>
                <a:gd name="connsiteY3" fmla="*/ 124365 h 12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6843" h="124364">
                  <a:moveTo>
                    <a:pt x="0" y="0"/>
                  </a:moveTo>
                  <a:lnTo>
                    <a:pt x="7306844" y="0"/>
                  </a:lnTo>
                  <a:lnTo>
                    <a:pt x="7306844" y="124365"/>
                  </a:lnTo>
                  <a:lnTo>
                    <a:pt x="0" y="124365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6DD289E4-B28C-456F-809D-C9C5F77C665C}"/>
                </a:ext>
              </a:extLst>
            </p:cNvPr>
            <p:cNvSpPr/>
            <p:nvPr/>
          </p:nvSpPr>
          <p:spPr>
            <a:xfrm>
              <a:off x="70722" y="4184638"/>
              <a:ext cx="12436475" cy="784326"/>
            </a:xfrm>
            <a:custGeom>
              <a:avLst/>
              <a:gdLst>
                <a:gd name="connsiteX0" fmla="*/ 0 w 12436475"/>
                <a:gd name="connsiteY0" fmla="*/ 0 h 784326"/>
                <a:gd name="connsiteX1" fmla="*/ 12436475 w 12436475"/>
                <a:gd name="connsiteY1" fmla="*/ 0 h 784326"/>
                <a:gd name="connsiteX2" fmla="*/ 12436475 w 12436475"/>
                <a:gd name="connsiteY2" fmla="*/ 784327 h 784326"/>
                <a:gd name="connsiteX3" fmla="*/ 0 w 12436475"/>
                <a:gd name="connsiteY3" fmla="*/ 784327 h 784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6475" h="784326">
                  <a:moveTo>
                    <a:pt x="0" y="0"/>
                  </a:moveTo>
                  <a:lnTo>
                    <a:pt x="12436475" y="0"/>
                  </a:lnTo>
                  <a:lnTo>
                    <a:pt x="12436475" y="784327"/>
                  </a:lnTo>
                  <a:lnTo>
                    <a:pt x="0" y="784327"/>
                  </a:lnTo>
                  <a:close/>
                </a:path>
              </a:pathLst>
            </a:custGeom>
            <a:solidFill>
              <a:srgbClr val="191919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" name="Graphic 80">
            <a:extLst>
              <a:ext uri="{FF2B5EF4-FFF2-40B4-BE49-F238E27FC236}">
                <a16:creationId xmlns:a16="http://schemas.microsoft.com/office/drawing/2014/main" id="{6EE8E979-E2D0-468D-8337-3004A3DC2B24}"/>
              </a:ext>
            </a:extLst>
          </p:cNvPr>
          <p:cNvGrpSpPr/>
          <p:nvPr/>
        </p:nvGrpSpPr>
        <p:grpSpPr>
          <a:xfrm>
            <a:off x="61144" y="1988440"/>
            <a:ext cx="12192000" cy="2651353"/>
            <a:chOff x="70722" y="1994160"/>
            <a:chExt cx="12436475" cy="2704518"/>
          </a:xfrm>
          <a:solidFill>
            <a:schemeClr val="accent1"/>
          </a:solidFill>
        </p:grpSpPr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B039BE0D-E98E-4DBD-BC97-C0771D11F112}"/>
                </a:ext>
              </a:extLst>
            </p:cNvPr>
            <p:cNvSpPr/>
            <p:nvPr/>
          </p:nvSpPr>
          <p:spPr>
            <a:xfrm>
              <a:off x="3169891" y="1994160"/>
              <a:ext cx="1755201" cy="1043834"/>
            </a:xfrm>
            <a:custGeom>
              <a:avLst/>
              <a:gdLst>
                <a:gd name="connsiteX0" fmla="*/ 0 w 1755201"/>
                <a:gd name="connsiteY0" fmla="*/ 0 h 1043834"/>
                <a:gd name="connsiteX1" fmla="*/ 1755201 w 1755201"/>
                <a:gd name="connsiteY1" fmla="*/ 0 h 1043834"/>
                <a:gd name="connsiteX2" fmla="*/ 1755201 w 1755201"/>
                <a:gd name="connsiteY2" fmla="*/ 1043835 h 1043834"/>
                <a:gd name="connsiteX3" fmla="*/ 0 w 1755201"/>
                <a:gd name="connsiteY3" fmla="*/ 1043835 h 104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5201" h="1043834">
                  <a:moveTo>
                    <a:pt x="0" y="0"/>
                  </a:moveTo>
                  <a:lnTo>
                    <a:pt x="1755201" y="0"/>
                  </a:lnTo>
                  <a:lnTo>
                    <a:pt x="1755201" y="1043835"/>
                  </a:lnTo>
                  <a:lnTo>
                    <a:pt x="0" y="10438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8F8E6E0-EC58-4692-8177-80BC0EBAF290}"/>
                </a:ext>
              </a:extLst>
            </p:cNvPr>
            <p:cNvSpPr/>
            <p:nvPr/>
          </p:nvSpPr>
          <p:spPr>
            <a:xfrm>
              <a:off x="7639560" y="1994160"/>
              <a:ext cx="1755201" cy="1043834"/>
            </a:xfrm>
            <a:custGeom>
              <a:avLst/>
              <a:gdLst>
                <a:gd name="connsiteX0" fmla="*/ 0 w 1755201"/>
                <a:gd name="connsiteY0" fmla="*/ 0 h 1043834"/>
                <a:gd name="connsiteX1" fmla="*/ 1755201 w 1755201"/>
                <a:gd name="connsiteY1" fmla="*/ 0 h 1043834"/>
                <a:gd name="connsiteX2" fmla="*/ 1755201 w 1755201"/>
                <a:gd name="connsiteY2" fmla="*/ 1043835 h 1043834"/>
                <a:gd name="connsiteX3" fmla="*/ 0 w 1755201"/>
                <a:gd name="connsiteY3" fmla="*/ 1043835 h 104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5201" h="1043834">
                  <a:moveTo>
                    <a:pt x="0" y="0"/>
                  </a:moveTo>
                  <a:lnTo>
                    <a:pt x="1755201" y="0"/>
                  </a:lnTo>
                  <a:lnTo>
                    <a:pt x="1755201" y="1043835"/>
                  </a:lnTo>
                  <a:lnTo>
                    <a:pt x="0" y="10438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6ABD8D20-70ED-4CC5-9E24-E55A338581F8}"/>
                </a:ext>
              </a:extLst>
            </p:cNvPr>
            <p:cNvSpPr/>
            <p:nvPr/>
          </p:nvSpPr>
          <p:spPr>
            <a:xfrm>
              <a:off x="1225655" y="1994160"/>
              <a:ext cx="664107" cy="2704518"/>
            </a:xfrm>
            <a:custGeom>
              <a:avLst/>
              <a:gdLst>
                <a:gd name="connsiteX0" fmla="*/ 0 w 664107"/>
                <a:gd name="connsiteY0" fmla="*/ 0 h 2704518"/>
                <a:gd name="connsiteX1" fmla="*/ 664108 w 664107"/>
                <a:gd name="connsiteY1" fmla="*/ 0 h 2704518"/>
                <a:gd name="connsiteX2" fmla="*/ 664108 w 664107"/>
                <a:gd name="connsiteY2" fmla="*/ 2704519 h 2704518"/>
                <a:gd name="connsiteX3" fmla="*/ 0 w 664107"/>
                <a:gd name="connsiteY3" fmla="*/ 2704519 h 270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2704518">
                  <a:moveTo>
                    <a:pt x="0" y="0"/>
                  </a:moveTo>
                  <a:lnTo>
                    <a:pt x="664108" y="0"/>
                  </a:lnTo>
                  <a:lnTo>
                    <a:pt x="664108" y="2704519"/>
                  </a:lnTo>
                  <a:lnTo>
                    <a:pt x="0" y="27045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C84B183F-4203-4409-B93D-C833E7AECE06}"/>
                </a:ext>
              </a:extLst>
            </p:cNvPr>
            <p:cNvSpPr/>
            <p:nvPr/>
          </p:nvSpPr>
          <p:spPr>
            <a:xfrm>
              <a:off x="1225655" y="2570384"/>
              <a:ext cx="664936" cy="58036"/>
            </a:xfrm>
            <a:custGeom>
              <a:avLst/>
              <a:gdLst>
                <a:gd name="connsiteX0" fmla="*/ 0 w 664936"/>
                <a:gd name="connsiteY0" fmla="*/ 0 h 58036"/>
                <a:gd name="connsiteX1" fmla="*/ 664937 w 664936"/>
                <a:gd name="connsiteY1" fmla="*/ 0 h 58036"/>
                <a:gd name="connsiteX2" fmla="*/ 664937 w 664936"/>
                <a:gd name="connsiteY2" fmla="*/ 58037 h 58036"/>
                <a:gd name="connsiteX3" fmla="*/ 0 w 664936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936" h="58036">
                  <a:moveTo>
                    <a:pt x="0" y="0"/>
                  </a:moveTo>
                  <a:lnTo>
                    <a:pt x="664937" y="0"/>
                  </a:lnTo>
                  <a:lnTo>
                    <a:pt x="664937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891820E4-D488-4CFE-A916-BC873449E9E7}"/>
                </a:ext>
              </a:extLst>
            </p:cNvPr>
            <p:cNvSpPr/>
            <p:nvPr/>
          </p:nvSpPr>
          <p:spPr>
            <a:xfrm>
              <a:off x="1225655" y="3260193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955AA513-93EE-4762-8E8C-8F10D7159414}"/>
                </a:ext>
              </a:extLst>
            </p:cNvPr>
            <p:cNvSpPr/>
            <p:nvPr/>
          </p:nvSpPr>
          <p:spPr>
            <a:xfrm>
              <a:off x="1225655" y="3950832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E57179E-FC95-4BB0-A199-1711C64566C6}"/>
                </a:ext>
              </a:extLst>
            </p:cNvPr>
            <p:cNvSpPr/>
            <p:nvPr/>
          </p:nvSpPr>
          <p:spPr>
            <a:xfrm>
              <a:off x="70722" y="3519701"/>
              <a:ext cx="906204" cy="58036"/>
            </a:xfrm>
            <a:custGeom>
              <a:avLst/>
              <a:gdLst>
                <a:gd name="connsiteX0" fmla="*/ 0 w 906204"/>
                <a:gd name="connsiteY0" fmla="*/ 0 h 58036"/>
                <a:gd name="connsiteX1" fmla="*/ 906205 w 906204"/>
                <a:gd name="connsiteY1" fmla="*/ 0 h 58036"/>
                <a:gd name="connsiteX2" fmla="*/ 906205 w 906204"/>
                <a:gd name="connsiteY2" fmla="*/ 58037 h 58036"/>
                <a:gd name="connsiteX3" fmla="*/ 0 w 906204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6204" h="58036">
                  <a:moveTo>
                    <a:pt x="0" y="0"/>
                  </a:moveTo>
                  <a:lnTo>
                    <a:pt x="906205" y="0"/>
                  </a:lnTo>
                  <a:lnTo>
                    <a:pt x="906205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0EB389EF-3508-4C82-891C-D27EFD238648}"/>
                </a:ext>
              </a:extLst>
            </p:cNvPr>
            <p:cNvSpPr/>
            <p:nvPr/>
          </p:nvSpPr>
          <p:spPr>
            <a:xfrm>
              <a:off x="11777590" y="2102772"/>
              <a:ext cx="729606" cy="58036"/>
            </a:xfrm>
            <a:custGeom>
              <a:avLst/>
              <a:gdLst>
                <a:gd name="connsiteX0" fmla="*/ 0 w 729606"/>
                <a:gd name="connsiteY0" fmla="*/ 0 h 58036"/>
                <a:gd name="connsiteX1" fmla="*/ 729607 w 729606"/>
                <a:gd name="connsiteY1" fmla="*/ 0 h 58036"/>
                <a:gd name="connsiteX2" fmla="*/ 729607 w 729606"/>
                <a:gd name="connsiteY2" fmla="*/ 58037 h 58036"/>
                <a:gd name="connsiteX3" fmla="*/ 0 w 729606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606" h="58036">
                  <a:moveTo>
                    <a:pt x="0" y="0"/>
                  </a:moveTo>
                  <a:lnTo>
                    <a:pt x="729607" y="0"/>
                  </a:lnTo>
                  <a:lnTo>
                    <a:pt x="729607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BB0BA45C-A4DA-4BB2-A3BC-5A10466E80A5}"/>
                </a:ext>
              </a:extLst>
            </p:cNvPr>
            <p:cNvSpPr/>
            <p:nvPr/>
          </p:nvSpPr>
          <p:spPr>
            <a:xfrm>
              <a:off x="1225655" y="4640642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483E8661-D45E-464A-8C31-64BF753677AB}"/>
                </a:ext>
              </a:extLst>
            </p:cNvPr>
            <p:cNvSpPr/>
            <p:nvPr/>
          </p:nvSpPr>
          <p:spPr>
            <a:xfrm>
              <a:off x="10777697" y="1994160"/>
              <a:ext cx="664107" cy="2704518"/>
            </a:xfrm>
            <a:custGeom>
              <a:avLst/>
              <a:gdLst>
                <a:gd name="connsiteX0" fmla="*/ 0 w 664107"/>
                <a:gd name="connsiteY0" fmla="*/ 0 h 2704518"/>
                <a:gd name="connsiteX1" fmla="*/ 664108 w 664107"/>
                <a:gd name="connsiteY1" fmla="*/ 0 h 2704518"/>
                <a:gd name="connsiteX2" fmla="*/ 664108 w 664107"/>
                <a:gd name="connsiteY2" fmla="*/ 2704519 h 2704518"/>
                <a:gd name="connsiteX3" fmla="*/ 0 w 664107"/>
                <a:gd name="connsiteY3" fmla="*/ 2704519 h 270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2704518">
                  <a:moveTo>
                    <a:pt x="0" y="0"/>
                  </a:moveTo>
                  <a:lnTo>
                    <a:pt x="664108" y="0"/>
                  </a:lnTo>
                  <a:lnTo>
                    <a:pt x="664108" y="2704519"/>
                  </a:lnTo>
                  <a:lnTo>
                    <a:pt x="0" y="27045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F66DEF8E-94BE-4C26-B9E1-8CC3515E7A8E}"/>
                </a:ext>
              </a:extLst>
            </p:cNvPr>
            <p:cNvSpPr/>
            <p:nvPr/>
          </p:nvSpPr>
          <p:spPr>
            <a:xfrm>
              <a:off x="10777697" y="2570384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35D864F5-8881-4BB1-BA2D-97B074012E8F}"/>
                </a:ext>
              </a:extLst>
            </p:cNvPr>
            <p:cNvSpPr/>
            <p:nvPr/>
          </p:nvSpPr>
          <p:spPr>
            <a:xfrm>
              <a:off x="10777697" y="3260193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9B6628B1-4250-42DF-8BB8-FCC915D3C989}"/>
                </a:ext>
              </a:extLst>
            </p:cNvPr>
            <p:cNvSpPr/>
            <p:nvPr/>
          </p:nvSpPr>
          <p:spPr>
            <a:xfrm>
              <a:off x="10777697" y="3950832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C4599FD7-13CF-42A5-8D46-1A25454DAAD2}"/>
                </a:ext>
              </a:extLst>
            </p:cNvPr>
            <p:cNvSpPr/>
            <p:nvPr/>
          </p:nvSpPr>
          <p:spPr>
            <a:xfrm>
              <a:off x="10777697" y="4640642"/>
              <a:ext cx="664107" cy="58036"/>
            </a:xfrm>
            <a:custGeom>
              <a:avLst/>
              <a:gdLst>
                <a:gd name="connsiteX0" fmla="*/ 0 w 664107"/>
                <a:gd name="connsiteY0" fmla="*/ 0 h 58036"/>
                <a:gd name="connsiteX1" fmla="*/ 664108 w 664107"/>
                <a:gd name="connsiteY1" fmla="*/ 0 h 58036"/>
                <a:gd name="connsiteX2" fmla="*/ 664108 w 664107"/>
                <a:gd name="connsiteY2" fmla="*/ 58037 h 58036"/>
                <a:gd name="connsiteX3" fmla="*/ 0 w 664107"/>
                <a:gd name="connsiteY3" fmla="*/ 58037 h 58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107" h="58036">
                  <a:moveTo>
                    <a:pt x="0" y="0"/>
                  </a:moveTo>
                  <a:lnTo>
                    <a:pt x="664108" y="0"/>
                  </a:lnTo>
                  <a:lnTo>
                    <a:pt x="664108" y="58037"/>
                  </a:lnTo>
                  <a:lnTo>
                    <a:pt x="0" y="5803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9" name="Graphic 80">
            <a:extLst>
              <a:ext uri="{FF2B5EF4-FFF2-40B4-BE49-F238E27FC236}">
                <a16:creationId xmlns:a16="http://schemas.microsoft.com/office/drawing/2014/main" id="{0129DE56-FA1F-418A-AA5E-4B4D86343BBF}"/>
              </a:ext>
            </a:extLst>
          </p:cNvPr>
          <p:cNvGrpSpPr/>
          <p:nvPr/>
        </p:nvGrpSpPr>
        <p:grpSpPr>
          <a:xfrm>
            <a:off x="7700650" y="2079474"/>
            <a:ext cx="224332" cy="288543"/>
            <a:chOff x="7863417" y="2087019"/>
            <a:chExt cx="228830" cy="294329"/>
          </a:xfrm>
          <a:solidFill>
            <a:schemeClr val="tx1"/>
          </a:solidFill>
        </p:grpSpPr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5C49708-E6CE-4C55-B798-96BBA414680D}"/>
                </a:ext>
              </a:extLst>
            </p:cNvPr>
            <p:cNvSpPr/>
            <p:nvPr/>
          </p:nvSpPr>
          <p:spPr>
            <a:xfrm>
              <a:off x="7863417" y="2221333"/>
              <a:ext cx="228830" cy="160016"/>
            </a:xfrm>
            <a:custGeom>
              <a:avLst/>
              <a:gdLst>
                <a:gd name="connsiteX0" fmla="*/ 191522 w 228830"/>
                <a:gd name="connsiteY0" fmla="*/ 160016 h 160016"/>
                <a:gd name="connsiteX1" fmla="*/ 38138 w 228830"/>
                <a:gd name="connsiteY1" fmla="*/ 160016 h 160016"/>
                <a:gd name="connsiteX2" fmla="*/ 17411 w 228830"/>
                <a:gd name="connsiteY2" fmla="*/ 141776 h 160016"/>
                <a:gd name="connsiteX3" fmla="*/ 0 w 228830"/>
                <a:gd name="connsiteY3" fmla="*/ 0 h 160016"/>
                <a:gd name="connsiteX4" fmla="*/ 228831 w 228830"/>
                <a:gd name="connsiteY4" fmla="*/ 0 h 160016"/>
                <a:gd name="connsiteX5" fmla="*/ 211420 w 228830"/>
                <a:gd name="connsiteY5" fmla="*/ 141776 h 160016"/>
                <a:gd name="connsiteX6" fmla="*/ 191522 w 228830"/>
                <a:gd name="connsiteY6" fmla="*/ 160016 h 16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830" h="160016">
                  <a:moveTo>
                    <a:pt x="191522" y="160016"/>
                  </a:moveTo>
                  <a:lnTo>
                    <a:pt x="38138" y="160016"/>
                  </a:lnTo>
                  <a:cubicBezTo>
                    <a:pt x="27360" y="160016"/>
                    <a:pt x="18240" y="151725"/>
                    <a:pt x="17411" y="141776"/>
                  </a:cubicBezTo>
                  <a:lnTo>
                    <a:pt x="0" y="0"/>
                  </a:lnTo>
                  <a:lnTo>
                    <a:pt x="228831" y="0"/>
                  </a:lnTo>
                  <a:lnTo>
                    <a:pt x="211420" y="141776"/>
                  </a:lnTo>
                  <a:cubicBezTo>
                    <a:pt x="210591" y="151725"/>
                    <a:pt x="202300" y="160016"/>
                    <a:pt x="191522" y="160016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DACCE08A-B7AB-42B5-A29C-5CFFB9627255}"/>
                </a:ext>
              </a:extLst>
            </p:cNvPr>
            <p:cNvSpPr/>
            <p:nvPr/>
          </p:nvSpPr>
          <p:spPr>
            <a:xfrm>
              <a:off x="7919796" y="2087019"/>
              <a:ext cx="118560" cy="213907"/>
            </a:xfrm>
            <a:custGeom>
              <a:avLst/>
              <a:gdLst>
                <a:gd name="connsiteX0" fmla="*/ 118561 w 118560"/>
                <a:gd name="connsiteY0" fmla="*/ 213907 h 213907"/>
                <a:gd name="connsiteX1" fmla="*/ 108612 w 118560"/>
                <a:gd name="connsiteY1" fmla="*/ 213907 h 213907"/>
                <a:gd name="connsiteX2" fmla="*/ 108612 w 118560"/>
                <a:gd name="connsiteY2" fmla="*/ 134314 h 213907"/>
                <a:gd name="connsiteX3" fmla="*/ 69644 w 118560"/>
                <a:gd name="connsiteY3" fmla="*/ 15753 h 213907"/>
                <a:gd name="connsiteX4" fmla="*/ 58037 w 118560"/>
                <a:gd name="connsiteY4" fmla="*/ 9120 h 213907"/>
                <a:gd name="connsiteX5" fmla="*/ 46429 w 118560"/>
                <a:gd name="connsiteY5" fmla="*/ 15753 h 213907"/>
                <a:gd name="connsiteX6" fmla="*/ 9949 w 118560"/>
                <a:gd name="connsiteY6" fmla="*/ 134314 h 213907"/>
                <a:gd name="connsiteX7" fmla="*/ 9949 w 118560"/>
                <a:gd name="connsiteY7" fmla="*/ 213907 h 213907"/>
                <a:gd name="connsiteX8" fmla="*/ 0 w 118560"/>
                <a:gd name="connsiteY8" fmla="*/ 213907 h 213907"/>
                <a:gd name="connsiteX9" fmla="*/ 0 w 118560"/>
                <a:gd name="connsiteY9" fmla="*/ 132656 h 213907"/>
                <a:gd name="connsiteX10" fmla="*/ 36480 w 118560"/>
                <a:gd name="connsiteY10" fmla="*/ 13266 h 213907"/>
                <a:gd name="connsiteX11" fmla="*/ 57207 w 118560"/>
                <a:gd name="connsiteY11" fmla="*/ 0 h 213907"/>
                <a:gd name="connsiteX12" fmla="*/ 78764 w 118560"/>
                <a:gd name="connsiteY12" fmla="*/ 13266 h 213907"/>
                <a:gd name="connsiteX13" fmla="*/ 118561 w 118560"/>
                <a:gd name="connsiteY13" fmla="*/ 133485 h 213907"/>
                <a:gd name="connsiteX14" fmla="*/ 118561 w 118560"/>
                <a:gd name="connsiteY14" fmla="*/ 213907 h 21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560" h="213907">
                  <a:moveTo>
                    <a:pt x="118561" y="213907"/>
                  </a:moveTo>
                  <a:lnTo>
                    <a:pt x="108612" y="213907"/>
                  </a:lnTo>
                  <a:lnTo>
                    <a:pt x="108612" y="134314"/>
                  </a:lnTo>
                  <a:lnTo>
                    <a:pt x="69644" y="15753"/>
                  </a:lnTo>
                  <a:cubicBezTo>
                    <a:pt x="67986" y="10778"/>
                    <a:pt x="62182" y="9120"/>
                    <a:pt x="58037" y="9120"/>
                  </a:cubicBezTo>
                  <a:cubicBezTo>
                    <a:pt x="53891" y="9120"/>
                    <a:pt x="48088" y="10778"/>
                    <a:pt x="46429" y="15753"/>
                  </a:cubicBezTo>
                  <a:lnTo>
                    <a:pt x="9949" y="134314"/>
                  </a:lnTo>
                  <a:lnTo>
                    <a:pt x="9949" y="213907"/>
                  </a:lnTo>
                  <a:lnTo>
                    <a:pt x="0" y="213907"/>
                  </a:lnTo>
                  <a:lnTo>
                    <a:pt x="0" y="132656"/>
                  </a:lnTo>
                  <a:lnTo>
                    <a:pt x="36480" y="13266"/>
                  </a:lnTo>
                  <a:cubicBezTo>
                    <a:pt x="38968" y="4975"/>
                    <a:pt x="47259" y="0"/>
                    <a:pt x="57207" y="0"/>
                  </a:cubicBezTo>
                  <a:cubicBezTo>
                    <a:pt x="67157" y="0"/>
                    <a:pt x="75448" y="4975"/>
                    <a:pt x="78764" y="13266"/>
                  </a:cubicBezTo>
                  <a:lnTo>
                    <a:pt x="118561" y="133485"/>
                  </a:lnTo>
                  <a:lnTo>
                    <a:pt x="118561" y="213907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6441FAE6-0FA1-4147-B995-072C2F711046}"/>
                </a:ext>
              </a:extLst>
            </p:cNvPr>
            <p:cNvSpPr/>
            <p:nvPr/>
          </p:nvSpPr>
          <p:spPr>
            <a:xfrm>
              <a:off x="7915650" y="2212213"/>
              <a:ext cx="19069" cy="29847"/>
            </a:xfrm>
            <a:custGeom>
              <a:avLst/>
              <a:gdLst>
                <a:gd name="connsiteX0" fmla="*/ 0 w 19069"/>
                <a:gd name="connsiteY0" fmla="*/ 0 h 29847"/>
                <a:gd name="connsiteX1" fmla="*/ 19069 w 19069"/>
                <a:gd name="connsiteY1" fmla="*/ 0 h 29847"/>
                <a:gd name="connsiteX2" fmla="*/ 19069 w 19069"/>
                <a:gd name="connsiteY2" fmla="*/ 29848 h 29847"/>
                <a:gd name="connsiteX3" fmla="*/ 0 w 19069"/>
                <a:gd name="connsiteY3" fmla="*/ 29848 h 29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9" h="29847">
                  <a:moveTo>
                    <a:pt x="0" y="0"/>
                  </a:moveTo>
                  <a:lnTo>
                    <a:pt x="19069" y="0"/>
                  </a:lnTo>
                  <a:lnTo>
                    <a:pt x="19069" y="29848"/>
                  </a:lnTo>
                  <a:lnTo>
                    <a:pt x="0" y="29848"/>
                  </a:lnTo>
                  <a:close/>
                </a:path>
              </a:pathLst>
            </a:custGeom>
            <a:solidFill>
              <a:schemeClr val="accent2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53CB714C-C9BC-4402-A56B-538CDC5D5058}"/>
                </a:ext>
              </a:extLst>
            </p:cNvPr>
            <p:cNvSpPr/>
            <p:nvPr/>
          </p:nvSpPr>
          <p:spPr>
            <a:xfrm>
              <a:off x="8023433" y="2212213"/>
              <a:ext cx="19069" cy="29847"/>
            </a:xfrm>
            <a:custGeom>
              <a:avLst/>
              <a:gdLst>
                <a:gd name="connsiteX0" fmla="*/ 0 w 19069"/>
                <a:gd name="connsiteY0" fmla="*/ 0 h 29847"/>
                <a:gd name="connsiteX1" fmla="*/ 19069 w 19069"/>
                <a:gd name="connsiteY1" fmla="*/ 0 h 29847"/>
                <a:gd name="connsiteX2" fmla="*/ 19069 w 19069"/>
                <a:gd name="connsiteY2" fmla="*/ 29848 h 29847"/>
                <a:gd name="connsiteX3" fmla="*/ 0 w 19069"/>
                <a:gd name="connsiteY3" fmla="*/ 29848 h 29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69" h="29847">
                  <a:moveTo>
                    <a:pt x="0" y="0"/>
                  </a:moveTo>
                  <a:lnTo>
                    <a:pt x="19069" y="0"/>
                  </a:lnTo>
                  <a:lnTo>
                    <a:pt x="19069" y="29848"/>
                  </a:lnTo>
                  <a:lnTo>
                    <a:pt x="0" y="29848"/>
                  </a:lnTo>
                  <a:close/>
                </a:path>
              </a:pathLst>
            </a:custGeom>
            <a:solidFill>
              <a:schemeClr val="accent2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0" name="Graphic 80">
            <a:extLst>
              <a:ext uri="{FF2B5EF4-FFF2-40B4-BE49-F238E27FC236}">
                <a16:creationId xmlns:a16="http://schemas.microsoft.com/office/drawing/2014/main" id="{3A3EF8E2-9D98-494C-B97E-F205DEEBC036}"/>
              </a:ext>
            </a:extLst>
          </p:cNvPr>
          <p:cNvGrpSpPr/>
          <p:nvPr/>
        </p:nvGrpSpPr>
        <p:grpSpPr>
          <a:xfrm>
            <a:off x="8148173" y="2154252"/>
            <a:ext cx="211988" cy="213767"/>
            <a:chOff x="8319913" y="2163296"/>
            <a:chExt cx="216239" cy="218053"/>
          </a:xfrm>
          <a:solidFill>
            <a:schemeClr val="accent1"/>
          </a:solidFill>
        </p:grpSpPr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74ACE449-4372-43B1-882E-BE4E51FF5EA5}"/>
                </a:ext>
              </a:extLst>
            </p:cNvPr>
            <p:cNvSpPr/>
            <p:nvPr/>
          </p:nvSpPr>
          <p:spPr>
            <a:xfrm>
              <a:off x="8319913" y="2228795"/>
              <a:ext cx="216239" cy="152554"/>
            </a:xfrm>
            <a:custGeom>
              <a:avLst/>
              <a:gdLst>
                <a:gd name="connsiteX0" fmla="*/ 191859 w 216239"/>
                <a:gd name="connsiteY0" fmla="*/ 152554 h 152554"/>
                <a:gd name="connsiteX1" fmla="*/ 24381 w 216239"/>
                <a:gd name="connsiteY1" fmla="*/ 152554 h 152554"/>
                <a:gd name="connsiteX2" fmla="*/ 337 w 216239"/>
                <a:gd name="connsiteY2" fmla="*/ 123536 h 152554"/>
                <a:gd name="connsiteX3" fmla="*/ 19406 w 216239"/>
                <a:gd name="connsiteY3" fmla="*/ 19898 h 152554"/>
                <a:gd name="connsiteX4" fmla="*/ 43450 w 216239"/>
                <a:gd name="connsiteY4" fmla="*/ 0 h 152554"/>
                <a:gd name="connsiteX5" fmla="*/ 172789 w 216239"/>
                <a:gd name="connsiteY5" fmla="*/ 0 h 152554"/>
                <a:gd name="connsiteX6" fmla="*/ 196833 w 216239"/>
                <a:gd name="connsiteY6" fmla="*/ 19898 h 152554"/>
                <a:gd name="connsiteX7" fmla="*/ 215903 w 216239"/>
                <a:gd name="connsiteY7" fmla="*/ 123536 h 152554"/>
                <a:gd name="connsiteX8" fmla="*/ 191859 w 216239"/>
                <a:gd name="connsiteY8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239" h="152554">
                  <a:moveTo>
                    <a:pt x="191859" y="152554"/>
                  </a:moveTo>
                  <a:lnTo>
                    <a:pt x="24381" y="152554"/>
                  </a:lnTo>
                  <a:cubicBezTo>
                    <a:pt x="9457" y="152554"/>
                    <a:pt x="-2150" y="138459"/>
                    <a:pt x="337" y="123536"/>
                  </a:cubicBezTo>
                  <a:lnTo>
                    <a:pt x="19406" y="19898"/>
                  </a:lnTo>
                  <a:cubicBezTo>
                    <a:pt x="21893" y="8291"/>
                    <a:pt x="31843" y="0"/>
                    <a:pt x="43450" y="0"/>
                  </a:cubicBezTo>
                  <a:lnTo>
                    <a:pt x="172789" y="0"/>
                  </a:lnTo>
                  <a:cubicBezTo>
                    <a:pt x="184397" y="0"/>
                    <a:pt x="194346" y="8291"/>
                    <a:pt x="196833" y="19898"/>
                  </a:cubicBezTo>
                  <a:lnTo>
                    <a:pt x="215903" y="123536"/>
                  </a:lnTo>
                  <a:cubicBezTo>
                    <a:pt x="218390" y="138459"/>
                    <a:pt x="206783" y="152554"/>
                    <a:pt x="191859" y="152554"/>
                  </a:cubicBez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11F413D8-62FA-4A1B-904D-BA813FB7802B}"/>
                </a:ext>
              </a:extLst>
            </p:cNvPr>
            <p:cNvSpPr/>
            <p:nvPr/>
          </p:nvSpPr>
          <p:spPr>
            <a:xfrm>
              <a:off x="8375800" y="2163296"/>
              <a:ext cx="107782" cy="88713"/>
            </a:xfrm>
            <a:custGeom>
              <a:avLst/>
              <a:gdLst>
                <a:gd name="connsiteX0" fmla="*/ 106124 w 107782"/>
                <a:gd name="connsiteY0" fmla="*/ 88714 h 88713"/>
                <a:gd name="connsiteX1" fmla="*/ 93688 w 107782"/>
                <a:gd name="connsiteY1" fmla="*/ 88714 h 88713"/>
                <a:gd name="connsiteX2" fmla="*/ 93688 w 107782"/>
                <a:gd name="connsiteY2" fmla="*/ 45600 h 88713"/>
                <a:gd name="connsiteX3" fmla="*/ 61353 w 107782"/>
                <a:gd name="connsiteY3" fmla="*/ 13266 h 88713"/>
                <a:gd name="connsiteX4" fmla="*/ 44771 w 107782"/>
                <a:gd name="connsiteY4" fmla="*/ 13266 h 88713"/>
                <a:gd name="connsiteX5" fmla="*/ 12436 w 107782"/>
                <a:gd name="connsiteY5" fmla="*/ 45600 h 88713"/>
                <a:gd name="connsiteX6" fmla="*/ 12436 w 107782"/>
                <a:gd name="connsiteY6" fmla="*/ 88714 h 88713"/>
                <a:gd name="connsiteX7" fmla="*/ 0 w 107782"/>
                <a:gd name="connsiteY7" fmla="*/ 88714 h 88713"/>
                <a:gd name="connsiteX8" fmla="*/ 0 w 107782"/>
                <a:gd name="connsiteY8" fmla="*/ 45600 h 88713"/>
                <a:gd name="connsiteX9" fmla="*/ 45600 w 107782"/>
                <a:gd name="connsiteY9" fmla="*/ 0 h 88713"/>
                <a:gd name="connsiteX10" fmla="*/ 62182 w 107782"/>
                <a:gd name="connsiteY10" fmla="*/ 0 h 88713"/>
                <a:gd name="connsiteX11" fmla="*/ 107783 w 107782"/>
                <a:gd name="connsiteY11" fmla="*/ 45600 h 88713"/>
                <a:gd name="connsiteX12" fmla="*/ 107783 w 107782"/>
                <a:gd name="connsiteY12" fmla="*/ 88714 h 8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82" h="88713">
                  <a:moveTo>
                    <a:pt x="106124" y="88714"/>
                  </a:moveTo>
                  <a:lnTo>
                    <a:pt x="93688" y="88714"/>
                  </a:lnTo>
                  <a:lnTo>
                    <a:pt x="93688" y="45600"/>
                  </a:lnTo>
                  <a:cubicBezTo>
                    <a:pt x="93688" y="27360"/>
                    <a:pt x="78764" y="13266"/>
                    <a:pt x="61353" y="13266"/>
                  </a:cubicBezTo>
                  <a:lnTo>
                    <a:pt x="44771" y="13266"/>
                  </a:lnTo>
                  <a:cubicBezTo>
                    <a:pt x="26531" y="13266"/>
                    <a:pt x="12436" y="28190"/>
                    <a:pt x="12436" y="45600"/>
                  </a:cubicBezTo>
                  <a:lnTo>
                    <a:pt x="12436" y="88714"/>
                  </a:lnTo>
                  <a:lnTo>
                    <a:pt x="0" y="88714"/>
                  </a:lnTo>
                  <a:lnTo>
                    <a:pt x="0" y="45600"/>
                  </a:lnTo>
                  <a:cubicBezTo>
                    <a:pt x="0" y="20727"/>
                    <a:pt x="20727" y="0"/>
                    <a:pt x="45600" y="0"/>
                  </a:cubicBezTo>
                  <a:lnTo>
                    <a:pt x="62182" y="0"/>
                  </a:lnTo>
                  <a:cubicBezTo>
                    <a:pt x="87055" y="0"/>
                    <a:pt x="107783" y="20727"/>
                    <a:pt x="107783" y="45600"/>
                  </a:cubicBezTo>
                  <a:lnTo>
                    <a:pt x="107783" y="88714"/>
                  </a:lnTo>
                  <a:close/>
                </a:path>
              </a:pathLst>
            </a:custGeom>
            <a:solidFill>
              <a:schemeClr val="accent5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B02E2E73-F525-49E5-B177-DB2A5B8A8890}"/>
                </a:ext>
              </a:extLst>
            </p:cNvPr>
            <p:cNvSpPr/>
            <p:nvPr/>
          </p:nvSpPr>
          <p:spPr>
            <a:xfrm>
              <a:off x="8371654" y="2237915"/>
              <a:ext cx="19898" cy="23214"/>
            </a:xfrm>
            <a:custGeom>
              <a:avLst/>
              <a:gdLst>
                <a:gd name="connsiteX0" fmla="*/ 9949 w 19898"/>
                <a:gd name="connsiteY0" fmla="*/ 23215 h 23214"/>
                <a:gd name="connsiteX1" fmla="*/ 9949 w 19898"/>
                <a:gd name="connsiteY1" fmla="*/ 23215 h 23214"/>
                <a:gd name="connsiteX2" fmla="*/ 0 w 19898"/>
                <a:gd name="connsiteY2" fmla="*/ 13266 h 23214"/>
                <a:gd name="connsiteX3" fmla="*/ 0 w 19898"/>
                <a:gd name="connsiteY3" fmla="*/ 0 h 23214"/>
                <a:gd name="connsiteX4" fmla="*/ 19898 w 19898"/>
                <a:gd name="connsiteY4" fmla="*/ 0 h 23214"/>
                <a:gd name="connsiteX5" fmla="*/ 19898 w 19898"/>
                <a:gd name="connsiteY5" fmla="*/ 13266 h 23214"/>
                <a:gd name="connsiteX6" fmla="*/ 9949 w 19898"/>
                <a:gd name="connsiteY6" fmla="*/ 23215 h 2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98" h="23214">
                  <a:moveTo>
                    <a:pt x="9949" y="23215"/>
                  </a:moveTo>
                  <a:lnTo>
                    <a:pt x="9949" y="23215"/>
                  </a:lnTo>
                  <a:cubicBezTo>
                    <a:pt x="4145" y="23215"/>
                    <a:pt x="0" y="19069"/>
                    <a:pt x="0" y="13266"/>
                  </a:cubicBezTo>
                  <a:lnTo>
                    <a:pt x="0" y="0"/>
                  </a:lnTo>
                  <a:lnTo>
                    <a:pt x="19898" y="0"/>
                  </a:lnTo>
                  <a:lnTo>
                    <a:pt x="19898" y="13266"/>
                  </a:lnTo>
                  <a:cubicBezTo>
                    <a:pt x="19069" y="19069"/>
                    <a:pt x="14924" y="23215"/>
                    <a:pt x="9949" y="23215"/>
                  </a:cubicBezTo>
                  <a:close/>
                </a:path>
              </a:pathLst>
            </a:custGeom>
            <a:solidFill>
              <a:srgbClr val="E3EBD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2D44DB6E-766A-4EAC-88A2-A9EC7AB7C8DB}"/>
                </a:ext>
              </a:extLst>
            </p:cNvPr>
            <p:cNvSpPr/>
            <p:nvPr/>
          </p:nvSpPr>
          <p:spPr>
            <a:xfrm>
              <a:off x="8466171" y="2239573"/>
              <a:ext cx="19898" cy="23214"/>
            </a:xfrm>
            <a:custGeom>
              <a:avLst/>
              <a:gdLst>
                <a:gd name="connsiteX0" fmla="*/ 9949 w 19898"/>
                <a:gd name="connsiteY0" fmla="*/ 23215 h 23214"/>
                <a:gd name="connsiteX1" fmla="*/ 9949 w 19898"/>
                <a:gd name="connsiteY1" fmla="*/ 23215 h 23214"/>
                <a:gd name="connsiteX2" fmla="*/ 0 w 19898"/>
                <a:gd name="connsiteY2" fmla="*/ 13266 h 23214"/>
                <a:gd name="connsiteX3" fmla="*/ 0 w 19898"/>
                <a:gd name="connsiteY3" fmla="*/ 0 h 23214"/>
                <a:gd name="connsiteX4" fmla="*/ 19899 w 19898"/>
                <a:gd name="connsiteY4" fmla="*/ 0 h 23214"/>
                <a:gd name="connsiteX5" fmla="*/ 19899 w 19898"/>
                <a:gd name="connsiteY5" fmla="*/ 13266 h 23214"/>
                <a:gd name="connsiteX6" fmla="*/ 9949 w 19898"/>
                <a:gd name="connsiteY6" fmla="*/ 23215 h 2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98" h="23214">
                  <a:moveTo>
                    <a:pt x="9949" y="23215"/>
                  </a:moveTo>
                  <a:lnTo>
                    <a:pt x="9949" y="23215"/>
                  </a:lnTo>
                  <a:cubicBezTo>
                    <a:pt x="4145" y="23215"/>
                    <a:pt x="0" y="19069"/>
                    <a:pt x="0" y="13266"/>
                  </a:cubicBezTo>
                  <a:lnTo>
                    <a:pt x="0" y="0"/>
                  </a:lnTo>
                  <a:lnTo>
                    <a:pt x="19899" y="0"/>
                  </a:lnTo>
                  <a:lnTo>
                    <a:pt x="19899" y="13266"/>
                  </a:lnTo>
                  <a:cubicBezTo>
                    <a:pt x="19899" y="18240"/>
                    <a:pt x="14924" y="23215"/>
                    <a:pt x="9949" y="23215"/>
                  </a:cubicBezTo>
                  <a:close/>
                </a:path>
              </a:pathLst>
            </a:custGeom>
            <a:solidFill>
              <a:srgbClr val="E3EBD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B4ECF51-4A85-4315-B7E1-E31CCA15CBBD}"/>
                </a:ext>
              </a:extLst>
            </p:cNvPr>
            <p:cNvSpPr/>
            <p:nvPr/>
          </p:nvSpPr>
          <p:spPr>
            <a:xfrm>
              <a:off x="8383261" y="2300097"/>
              <a:ext cx="89543" cy="14923"/>
            </a:xfrm>
            <a:custGeom>
              <a:avLst/>
              <a:gdLst>
                <a:gd name="connsiteX0" fmla="*/ 82081 w 89543"/>
                <a:gd name="connsiteY0" fmla="*/ 14924 h 14923"/>
                <a:gd name="connsiteX1" fmla="*/ 7462 w 89543"/>
                <a:gd name="connsiteY1" fmla="*/ 14924 h 14923"/>
                <a:gd name="connsiteX2" fmla="*/ 0 w 89543"/>
                <a:gd name="connsiteY2" fmla="*/ 7462 h 14923"/>
                <a:gd name="connsiteX3" fmla="*/ 0 w 89543"/>
                <a:gd name="connsiteY3" fmla="*/ 7462 h 14923"/>
                <a:gd name="connsiteX4" fmla="*/ 7462 w 89543"/>
                <a:gd name="connsiteY4" fmla="*/ 0 h 14923"/>
                <a:gd name="connsiteX5" fmla="*/ 82081 w 89543"/>
                <a:gd name="connsiteY5" fmla="*/ 0 h 14923"/>
                <a:gd name="connsiteX6" fmla="*/ 89543 w 89543"/>
                <a:gd name="connsiteY6" fmla="*/ 7462 h 14923"/>
                <a:gd name="connsiteX7" fmla="*/ 89543 w 89543"/>
                <a:gd name="connsiteY7" fmla="*/ 7462 h 14923"/>
                <a:gd name="connsiteX8" fmla="*/ 82081 w 89543"/>
                <a:gd name="connsiteY8" fmla="*/ 14924 h 1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543" h="14923">
                  <a:moveTo>
                    <a:pt x="82081" y="14924"/>
                  </a:moveTo>
                  <a:lnTo>
                    <a:pt x="7462" y="14924"/>
                  </a:lnTo>
                  <a:cubicBezTo>
                    <a:pt x="3317" y="14924"/>
                    <a:pt x="0" y="11608"/>
                    <a:pt x="0" y="7462"/>
                  </a:cubicBezTo>
                  <a:lnTo>
                    <a:pt x="0" y="7462"/>
                  </a:lnTo>
                  <a:cubicBezTo>
                    <a:pt x="0" y="3317"/>
                    <a:pt x="3317" y="0"/>
                    <a:pt x="7462" y="0"/>
                  </a:cubicBezTo>
                  <a:lnTo>
                    <a:pt x="82081" y="0"/>
                  </a:lnTo>
                  <a:cubicBezTo>
                    <a:pt x="86226" y="0"/>
                    <a:pt x="89543" y="3317"/>
                    <a:pt x="89543" y="7462"/>
                  </a:cubicBezTo>
                  <a:lnTo>
                    <a:pt x="89543" y="7462"/>
                  </a:lnTo>
                  <a:cubicBezTo>
                    <a:pt x="89543" y="11608"/>
                    <a:pt x="86226" y="14924"/>
                    <a:pt x="82081" y="14924"/>
                  </a:cubicBezTo>
                  <a:close/>
                </a:path>
              </a:pathLst>
            </a:custGeom>
            <a:solidFill>
              <a:schemeClr val="accent5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1" name="Graphic 80">
            <a:extLst>
              <a:ext uri="{FF2B5EF4-FFF2-40B4-BE49-F238E27FC236}">
                <a16:creationId xmlns:a16="http://schemas.microsoft.com/office/drawing/2014/main" id="{BE4DA4B6-AE06-4C2F-8CA6-49A58916244C}"/>
              </a:ext>
            </a:extLst>
          </p:cNvPr>
          <p:cNvGrpSpPr/>
          <p:nvPr/>
        </p:nvGrpSpPr>
        <p:grpSpPr>
          <a:xfrm>
            <a:off x="10761206" y="3568511"/>
            <a:ext cx="248829" cy="338136"/>
            <a:chOff x="10985342" y="3605915"/>
            <a:chExt cx="253819" cy="344916"/>
          </a:xfrm>
          <a:solidFill>
            <a:schemeClr val="accent1"/>
          </a:solidFill>
        </p:grpSpPr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F8B4038-963F-4672-BCE1-CDC76498F2F2}"/>
                </a:ext>
              </a:extLst>
            </p:cNvPr>
            <p:cNvSpPr/>
            <p:nvPr/>
          </p:nvSpPr>
          <p:spPr>
            <a:xfrm>
              <a:off x="10985342" y="3767601"/>
              <a:ext cx="253819" cy="183230"/>
            </a:xfrm>
            <a:custGeom>
              <a:avLst/>
              <a:gdLst>
                <a:gd name="connsiteX0" fmla="*/ 247531 w 253819"/>
                <a:gd name="connsiteY0" fmla="*/ 183231 h 183230"/>
                <a:gd name="connsiteX1" fmla="*/ 6263 w 253819"/>
                <a:gd name="connsiteY1" fmla="*/ 183231 h 183230"/>
                <a:gd name="connsiteX2" fmla="*/ 31965 w 253819"/>
                <a:gd name="connsiteY2" fmla="*/ 0 h 183230"/>
                <a:gd name="connsiteX3" fmla="*/ 222658 w 253819"/>
                <a:gd name="connsiteY3" fmla="*/ 0 h 183230"/>
                <a:gd name="connsiteX4" fmla="*/ 247531 w 253819"/>
                <a:gd name="connsiteY4" fmla="*/ 183231 h 18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819" h="183230">
                  <a:moveTo>
                    <a:pt x="247531" y="183231"/>
                  </a:moveTo>
                  <a:cubicBezTo>
                    <a:pt x="150526" y="183231"/>
                    <a:pt x="102439" y="183231"/>
                    <a:pt x="6263" y="183231"/>
                  </a:cubicBezTo>
                  <a:cubicBezTo>
                    <a:pt x="-7003" y="102808"/>
                    <a:pt x="459" y="59695"/>
                    <a:pt x="31965" y="0"/>
                  </a:cubicBezTo>
                  <a:cubicBezTo>
                    <a:pt x="108242" y="0"/>
                    <a:pt x="146380" y="0"/>
                    <a:pt x="222658" y="0"/>
                  </a:cubicBezTo>
                  <a:cubicBezTo>
                    <a:pt x="253334" y="59695"/>
                    <a:pt x="260796" y="102808"/>
                    <a:pt x="247531" y="183231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E90E84CF-1D7A-42AB-9CFD-739BE62E70AD}"/>
                </a:ext>
              </a:extLst>
            </p:cNvPr>
            <p:cNvSpPr/>
            <p:nvPr/>
          </p:nvSpPr>
          <p:spPr>
            <a:xfrm>
              <a:off x="11012332" y="3735267"/>
              <a:ext cx="198154" cy="32334"/>
            </a:xfrm>
            <a:custGeom>
              <a:avLst/>
              <a:gdLst>
                <a:gd name="connsiteX0" fmla="*/ 0 w 198154"/>
                <a:gd name="connsiteY0" fmla="*/ 0 h 32334"/>
                <a:gd name="connsiteX1" fmla="*/ 198154 w 198154"/>
                <a:gd name="connsiteY1" fmla="*/ 0 h 32334"/>
                <a:gd name="connsiteX2" fmla="*/ 198154 w 198154"/>
                <a:gd name="connsiteY2" fmla="*/ 32335 h 32334"/>
                <a:gd name="connsiteX3" fmla="*/ 0 w 198154"/>
                <a:gd name="connsiteY3" fmla="*/ 32335 h 3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154" h="32334">
                  <a:moveTo>
                    <a:pt x="0" y="0"/>
                  </a:moveTo>
                  <a:lnTo>
                    <a:pt x="198154" y="0"/>
                  </a:lnTo>
                  <a:lnTo>
                    <a:pt x="198154" y="32335"/>
                  </a:lnTo>
                  <a:lnTo>
                    <a:pt x="0" y="3233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1B0E8C45-5FF8-4B93-98E6-747A72F2D241}"/>
                </a:ext>
              </a:extLst>
            </p:cNvPr>
            <p:cNvSpPr/>
            <p:nvPr/>
          </p:nvSpPr>
          <p:spPr>
            <a:xfrm>
              <a:off x="11042180" y="3605915"/>
              <a:ext cx="139287" cy="129351"/>
            </a:xfrm>
            <a:custGeom>
              <a:avLst/>
              <a:gdLst>
                <a:gd name="connsiteX0" fmla="*/ 139288 w 139287"/>
                <a:gd name="connsiteY0" fmla="*/ 129351 h 129351"/>
                <a:gd name="connsiteX1" fmla="*/ 131826 w 139287"/>
                <a:gd name="connsiteY1" fmla="*/ 129351 h 129351"/>
                <a:gd name="connsiteX2" fmla="*/ 69643 w 139287"/>
                <a:gd name="connsiteY2" fmla="*/ 7474 h 129351"/>
                <a:gd name="connsiteX3" fmla="*/ 7461 w 139287"/>
                <a:gd name="connsiteY3" fmla="*/ 129351 h 129351"/>
                <a:gd name="connsiteX4" fmla="*/ 0 w 139287"/>
                <a:gd name="connsiteY4" fmla="*/ 129351 h 129351"/>
                <a:gd name="connsiteX5" fmla="*/ 69643 w 139287"/>
                <a:gd name="connsiteY5" fmla="*/ 12 h 129351"/>
                <a:gd name="connsiteX6" fmla="*/ 139288 w 139287"/>
                <a:gd name="connsiteY6" fmla="*/ 129351 h 129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287" h="129351">
                  <a:moveTo>
                    <a:pt x="139288" y="129351"/>
                  </a:moveTo>
                  <a:lnTo>
                    <a:pt x="131826" y="129351"/>
                  </a:lnTo>
                  <a:cubicBezTo>
                    <a:pt x="131826" y="46442"/>
                    <a:pt x="111928" y="7474"/>
                    <a:pt x="69643" y="7474"/>
                  </a:cubicBezTo>
                  <a:cubicBezTo>
                    <a:pt x="28189" y="7474"/>
                    <a:pt x="7461" y="47271"/>
                    <a:pt x="7461" y="129351"/>
                  </a:cubicBezTo>
                  <a:lnTo>
                    <a:pt x="0" y="129351"/>
                  </a:lnTo>
                  <a:cubicBezTo>
                    <a:pt x="0" y="42296"/>
                    <a:pt x="22385" y="12"/>
                    <a:pt x="69643" y="12"/>
                  </a:cubicBezTo>
                  <a:cubicBezTo>
                    <a:pt x="116074" y="-817"/>
                    <a:pt x="139288" y="41467"/>
                    <a:pt x="139288" y="129351"/>
                  </a:cubicBez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02A269F5-7A30-438C-9BC0-EB8F3EEEEF8B}"/>
                </a:ext>
              </a:extLst>
            </p:cNvPr>
            <p:cNvSpPr/>
            <p:nvPr/>
          </p:nvSpPr>
          <p:spPr>
            <a:xfrm>
              <a:off x="11086951" y="3743558"/>
              <a:ext cx="53062" cy="40625"/>
            </a:xfrm>
            <a:custGeom>
              <a:avLst/>
              <a:gdLst>
                <a:gd name="connsiteX0" fmla="*/ 0 w 53062"/>
                <a:gd name="connsiteY0" fmla="*/ 0 h 40625"/>
                <a:gd name="connsiteX1" fmla="*/ 53062 w 53062"/>
                <a:gd name="connsiteY1" fmla="*/ 0 h 40625"/>
                <a:gd name="connsiteX2" fmla="*/ 53062 w 53062"/>
                <a:gd name="connsiteY2" fmla="*/ 40626 h 40625"/>
                <a:gd name="connsiteX3" fmla="*/ 0 w 53062"/>
                <a:gd name="connsiteY3" fmla="*/ 40626 h 4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62" h="40625">
                  <a:moveTo>
                    <a:pt x="0" y="0"/>
                  </a:moveTo>
                  <a:lnTo>
                    <a:pt x="53062" y="0"/>
                  </a:lnTo>
                  <a:lnTo>
                    <a:pt x="53062" y="40626"/>
                  </a:lnTo>
                  <a:lnTo>
                    <a:pt x="0" y="40626"/>
                  </a:lnTo>
                  <a:close/>
                </a:path>
              </a:pathLst>
            </a:custGeom>
            <a:solidFill>
              <a:srgbClr val="E3EBD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E4C62104-2679-442E-9F14-10E88041B088}"/>
                </a:ext>
              </a:extLst>
            </p:cNvPr>
            <p:cNvSpPr/>
            <p:nvPr/>
          </p:nvSpPr>
          <p:spPr>
            <a:xfrm>
              <a:off x="11107679" y="3751019"/>
              <a:ext cx="14094" cy="26531"/>
            </a:xfrm>
            <a:custGeom>
              <a:avLst/>
              <a:gdLst>
                <a:gd name="connsiteX0" fmla="*/ 0 w 14094"/>
                <a:gd name="connsiteY0" fmla="*/ 0 h 26531"/>
                <a:gd name="connsiteX1" fmla="*/ 14094 w 14094"/>
                <a:gd name="connsiteY1" fmla="*/ 0 h 26531"/>
                <a:gd name="connsiteX2" fmla="*/ 14094 w 14094"/>
                <a:gd name="connsiteY2" fmla="*/ 26531 h 26531"/>
                <a:gd name="connsiteX3" fmla="*/ 0 w 14094"/>
                <a:gd name="connsiteY3" fmla="*/ 26531 h 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4" h="26531">
                  <a:moveTo>
                    <a:pt x="0" y="0"/>
                  </a:moveTo>
                  <a:lnTo>
                    <a:pt x="14094" y="0"/>
                  </a:lnTo>
                  <a:lnTo>
                    <a:pt x="14094" y="26531"/>
                  </a:lnTo>
                  <a:lnTo>
                    <a:pt x="0" y="26531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2" name="Graphic 80">
            <a:extLst>
              <a:ext uri="{FF2B5EF4-FFF2-40B4-BE49-F238E27FC236}">
                <a16:creationId xmlns:a16="http://schemas.microsoft.com/office/drawing/2014/main" id="{1FFF42B9-8613-48A4-9468-8CA9048AB092}"/>
              </a:ext>
            </a:extLst>
          </p:cNvPr>
          <p:cNvGrpSpPr/>
          <p:nvPr/>
        </p:nvGrpSpPr>
        <p:grpSpPr>
          <a:xfrm>
            <a:off x="8315183" y="2562278"/>
            <a:ext cx="288458" cy="391769"/>
            <a:chOff x="8490272" y="2579504"/>
            <a:chExt cx="294242" cy="399625"/>
          </a:xfrm>
          <a:solidFill>
            <a:schemeClr val="accent1"/>
          </a:solidFill>
        </p:grpSpPr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119665E-5654-442D-B662-800051AB7098}"/>
                </a:ext>
              </a:extLst>
            </p:cNvPr>
            <p:cNvSpPr/>
            <p:nvPr/>
          </p:nvSpPr>
          <p:spPr>
            <a:xfrm>
              <a:off x="8490272" y="2766880"/>
              <a:ext cx="294242" cy="212249"/>
            </a:xfrm>
            <a:custGeom>
              <a:avLst/>
              <a:gdLst>
                <a:gd name="connsiteX0" fmla="*/ 286811 w 294242"/>
                <a:gd name="connsiteY0" fmla="*/ 212249 h 212249"/>
                <a:gd name="connsiteX1" fmla="*/ 7406 w 294242"/>
                <a:gd name="connsiteY1" fmla="*/ 212249 h 212249"/>
                <a:gd name="connsiteX2" fmla="*/ 37253 w 294242"/>
                <a:gd name="connsiteY2" fmla="*/ 0 h 212249"/>
                <a:gd name="connsiteX3" fmla="*/ 257793 w 294242"/>
                <a:gd name="connsiteY3" fmla="*/ 0 h 212249"/>
                <a:gd name="connsiteX4" fmla="*/ 286811 w 294242"/>
                <a:gd name="connsiteY4" fmla="*/ 212249 h 21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242" h="212249">
                  <a:moveTo>
                    <a:pt x="286811" y="212249"/>
                  </a:moveTo>
                  <a:cubicBezTo>
                    <a:pt x="174883" y="212249"/>
                    <a:pt x="119334" y="212249"/>
                    <a:pt x="7406" y="212249"/>
                  </a:cubicBezTo>
                  <a:cubicBezTo>
                    <a:pt x="-8347" y="119390"/>
                    <a:pt x="772" y="68815"/>
                    <a:pt x="37253" y="0"/>
                  </a:cubicBezTo>
                  <a:cubicBezTo>
                    <a:pt x="125137" y="0"/>
                    <a:pt x="169080" y="0"/>
                    <a:pt x="257793" y="0"/>
                  </a:cubicBezTo>
                  <a:cubicBezTo>
                    <a:pt x="293445" y="69644"/>
                    <a:pt x="302564" y="119390"/>
                    <a:pt x="286811" y="21224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476AF6BB-41FD-4EFF-ACFC-3774542BA044}"/>
                </a:ext>
              </a:extLst>
            </p:cNvPr>
            <p:cNvSpPr/>
            <p:nvPr/>
          </p:nvSpPr>
          <p:spPr>
            <a:xfrm>
              <a:off x="8522550" y="2729570"/>
              <a:ext cx="229660" cy="37309"/>
            </a:xfrm>
            <a:custGeom>
              <a:avLst/>
              <a:gdLst>
                <a:gd name="connsiteX0" fmla="*/ 0 w 229660"/>
                <a:gd name="connsiteY0" fmla="*/ 0 h 37309"/>
                <a:gd name="connsiteX1" fmla="*/ 229660 w 229660"/>
                <a:gd name="connsiteY1" fmla="*/ 0 h 37309"/>
                <a:gd name="connsiteX2" fmla="*/ 229660 w 229660"/>
                <a:gd name="connsiteY2" fmla="*/ 37309 h 37309"/>
                <a:gd name="connsiteX3" fmla="*/ 0 w 229660"/>
                <a:gd name="connsiteY3" fmla="*/ 37309 h 3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660" h="37309">
                  <a:moveTo>
                    <a:pt x="0" y="0"/>
                  </a:moveTo>
                  <a:lnTo>
                    <a:pt x="229660" y="0"/>
                  </a:lnTo>
                  <a:lnTo>
                    <a:pt x="229660" y="37309"/>
                  </a:lnTo>
                  <a:lnTo>
                    <a:pt x="0" y="37309"/>
                  </a:lnTo>
                  <a:close/>
                </a:path>
              </a:pathLst>
            </a:custGeom>
            <a:solidFill>
              <a:schemeClr val="accent2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69EAB04C-B8B5-4609-AA56-3D4644E1D20D}"/>
                </a:ext>
              </a:extLst>
            </p:cNvPr>
            <p:cNvSpPr/>
            <p:nvPr/>
          </p:nvSpPr>
          <p:spPr>
            <a:xfrm>
              <a:off x="8557372" y="2579504"/>
              <a:ext cx="160845" cy="150066"/>
            </a:xfrm>
            <a:custGeom>
              <a:avLst/>
              <a:gdLst>
                <a:gd name="connsiteX0" fmla="*/ 160845 w 160845"/>
                <a:gd name="connsiteY0" fmla="*/ 150067 h 150066"/>
                <a:gd name="connsiteX1" fmla="*/ 151725 w 160845"/>
                <a:gd name="connsiteY1" fmla="*/ 150067 h 150066"/>
                <a:gd name="connsiteX2" fmla="*/ 80423 w 160845"/>
                <a:gd name="connsiteY2" fmla="*/ 9120 h 150066"/>
                <a:gd name="connsiteX3" fmla="*/ 9120 w 160845"/>
                <a:gd name="connsiteY3" fmla="*/ 150067 h 150066"/>
                <a:gd name="connsiteX4" fmla="*/ 0 w 160845"/>
                <a:gd name="connsiteY4" fmla="*/ 150067 h 150066"/>
                <a:gd name="connsiteX5" fmla="*/ 80423 w 160845"/>
                <a:gd name="connsiteY5" fmla="*/ 0 h 150066"/>
                <a:gd name="connsiteX6" fmla="*/ 160845 w 160845"/>
                <a:gd name="connsiteY6" fmla="*/ 150067 h 15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845" h="150066">
                  <a:moveTo>
                    <a:pt x="160845" y="150067"/>
                  </a:moveTo>
                  <a:lnTo>
                    <a:pt x="151725" y="150067"/>
                  </a:lnTo>
                  <a:cubicBezTo>
                    <a:pt x="151725" y="53891"/>
                    <a:pt x="129339" y="9120"/>
                    <a:pt x="80423" y="9120"/>
                  </a:cubicBezTo>
                  <a:cubicBezTo>
                    <a:pt x="32335" y="9120"/>
                    <a:pt x="9120" y="55550"/>
                    <a:pt x="9120" y="150067"/>
                  </a:cubicBezTo>
                  <a:lnTo>
                    <a:pt x="0" y="150067"/>
                  </a:lnTo>
                  <a:cubicBezTo>
                    <a:pt x="0" y="48917"/>
                    <a:pt x="26532" y="0"/>
                    <a:pt x="80423" y="0"/>
                  </a:cubicBezTo>
                  <a:cubicBezTo>
                    <a:pt x="134315" y="0"/>
                    <a:pt x="160845" y="48917"/>
                    <a:pt x="160845" y="150067"/>
                  </a:cubicBez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3" name="Graphic 80">
            <a:extLst>
              <a:ext uri="{FF2B5EF4-FFF2-40B4-BE49-F238E27FC236}">
                <a16:creationId xmlns:a16="http://schemas.microsoft.com/office/drawing/2014/main" id="{B20EF396-C674-4840-B351-2965174B09E3}"/>
              </a:ext>
            </a:extLst>
          </p:cNvPr>
          <p:cNvGrpSpPr/>
          <p:nvPr/>
        </p:nvGrpSpPr>
        <p:grpSpPr>
          <a:xfrm>
            <a:off x="10630795" y="2832939"/>
            <a:ext cx="328370" cy="396646"/>
            <a:chOff x="10852316" y="2855593"/>
            <a:chExt cx="334955" cy="404600"/>
          </a:xfrm>
          <a:solidFill>
            <a:schemeClr val="accent1"/>
          </a:solidFill>
        </p:grpSpPr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63CBCF44-5F9D-4362-BE6C-788EDDD1BF06}"/>
                </a:ext>
              </a:extLst>
            </p:cNvPr>
            <p:cNvSpPr/>
            <p:nvPr/>
          </p:nvSpPr>
          <p:spPr>
            <a:xfrm>
              <a:off x="10852316" y="3003173"/>
              <a:ext cx="334955" cy="257020"/>
            </a:xfrm>
            <a:custGeom>
              <a:avLst/>
              <a:gdLst>
                <a:gd name="connsiteX0" fmla="*/ 289356 w 334955"/>
                <a:gd name="connsiteY0" fmla="*/ 257020 h 257020"/>
                <a:gd name="connsiteX1" fmla="*/ 44772 w 334955"/>
                <a:gd name="connsiteY1" fmla="*/ 257020 h 257020"/>
                <a:gd name="connsiteX2" fmla="*/ 11608 w 334955"/>
                <a:gd name="connsiteY2" fmla="*/ 227173 h 257020"/>
                <a:gd name="connsiteX3" fmla="*/ 0 w 334955"/>
                <a:gd name="connsiteY3" fmla="*/ 128510 h 257020"/>
                <a:gd name="connsiteX4" fmla="*/ 26531 w 334955"/>
                <a:gd name="connsiteY4" fmla="*/ 0 h 257020"/>
                <a:gd name="connsiteX5" fmla="*/ 308424 w 334955"/>
                <a:gd name="connsiteY5" fmla="*/ 0 h 257020"/>
                <a:gd name="connsiteX6" fmla="*/ 334956 w 334955"/>
                <a:gd name="connsiteY6" fmla="*/ 128510 h 257020"/>
                <a:gd name="connsiteX7" fmla="*/ 323348 w 334955"/>
                <a:gd name="connsiteY7" fmla="*/ 227173 h 257020"/>
                <a:gd name="connsiteX8" fmla="*/ 289356 w 334955"/>
                <a:gd name="connsiteY8" fmla="*/ 257020 h 257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955" h="257020">
                  <a:moveTo>
                    <a:pt x="289356" y="257020"/>
                  </a:moveTo>
                  <a:lnTo>
                    <a:pt x="44772" y="257020"/>
                  </a:lnTo>
                  <a:cubicBezTo>
                    <a:pt x="27360" y="257020"/>
                    <a:pt x="13265" y="244584"/>
                    <a:pt x="11608" y="227173"/>
                  </a:cubicBezTo>
                  <a:lnTo>
                    <a:pt x="0" y="128510"/>
                  </a:lnTo>
                  <a:lnTo>
                    <a:pt x="26531" y="0"/>
                  </a:lnTo>
                  <a:lnTo>
                    <a:pt x="308424" y="0"/>
                  </a:lnTo>
                  <a:lnTo>
                    <a:pt x="334956" y="128510"/>
                  </a:lnTo>
                  <a:lnTo>
                    <a:pt x="323348" y="227173"/>
                  </a:lnTo>
                  <a:cubicBezTo>
                    <a:pt x="320861" y="244584"/>
                    <a:pt x="306766" y="257020"/>
                    <a:pt x="289356" y="25702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56BB1810-8805-4D8F-9F2D-889438B53774}"/>
                </a:ext>
              </a:extLst>
            </p:cNvPr>
            <p:cNvSpPr/>
            <p:nvPr/>
          </p:nvSpPr>
          <p:spPr>
            <a:xfrm>
              <a:off x="10926935" y="2855593"/>
              <a:ext cx="189033" cy="276919"/>
            </a:xfrm>
            <a:custGeom>
              <a:avLst/>
              <a:gdLst>
                <a:gd name="connsiteX0" fmla="*/ 189034 w 189033"/>
                <a:gd name="connsiteY0" fmla="*/ 276919 h 276919"/>
                <a:gd name="connsiteX1" fmla="*/ 173282 w 189033"/>
                <a:gd name="connsiteY1" fmla="*/ 276919 h 276919"/>
                <a:gd name="connsiteX2" fmla="*/ 173282 w 189033"/>
                <a:gd name="connsiteY2" fmla="*/ 150067 h 276919"/>
                <a:gd name="connsiteX3" fmla="*/ 139288 w 189033"/>
                <a:gd name="connsiteY3" fmla="*/ 26531 h 276919"/>
                <a:gd name="connsiteX4" fmla="*/ 88713 w 189033"/>
                <a:gd name="connsiteY4" fmla="*/ 16582 h 276919"/>
                <a:gd name="connsiteX5" fmla="*/ 41455 w 189033"/>
                <a:gd name="connsiteY5" fmla="*/ 26531 h 276919"/>
                <a:gd name="connsiteX6" fmla="*/ 15753 w 189033"/>
                <a:gd name="connsiteY6" fmla="*/ 149238 h 276919"/>
                <a:gd name="connsiteX7" fmla="*/ 15753 w 189033"/>
                <a:gd name="connsiteY7" fmla="*/ 276919 h 276919"/>
                <a:gd name="connsiteX8" fmla="*/ 0 w 189033"/>
                <a:gd name="connsiteY8" fmla="*/ 276919 h 276919"/>
                <a:gd name="connsiteX9" fmla="*/ 0 w 189033"/>
                <a:gd name="connsiteY9" fmla="*/ 146751 h 276919"/>
                <a:gd name="connsiteX10" fmla="*/ 25702 w 189033"/>
                <a:gd name="connsiteY10" fmla="*/ 21557 h 276919"/>
                <a:gd name="connsiteX11" fmla="*/ 87884 w 189033"/>
                <a:gd name="connsiteY11" fmla="*/ 0 h 276919"/>
                <a:gd name="connsiteX12" fmla="*/ 153383 w 189033"/>
                <a:gd name="connsiteY12" fmla="*/ 20727 h 276919"/>
                <a:gd name="connsiteX13" fmla="*/ 153383 w 189033"/>
                <a:gd name="connsiteY13" fmla="*/ 21557 h 276919"/>
                <a:gd name="connsiteX14" fmla="*/ 188205 w 189033"/>
                <a:gd name="connsiteY14" fmla="*/ 147580 h 276919"/>
                <a:gd name="connsiteX15" fmla="*/ 188205 w 189033"/>
                <a:gd name="connsiteY15" fmla="*/ 276919 h 27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033" h="276919">
                  <a:moveTo>
                    <a:pt x="189034" y="276919"/>
                  </a:moveTo>
                  <a:lnTo>
                    <a:pt x="173282" y="276919"/>
                  </a:lnTo>
                  <a:lnTo>
                    <a:pt x="173282" y="150067"/>
                  </a:lnTo>
                  <a:lnTo>
                    <a:pt x="139288" y="26531"/>
                  </a:lnTo>
                  <a:cubicBezTo>
                    <a:pt x="137630" y="22386"/>
                    <a:pt x="119390" y="15753"/>
                    <a:pt x="88713" y="16582"/>
                  </a:cubicBezTo>
                  <a:cubicBezTo>
                    <a:pt x="58866" y="16582"/>
                    <a:pt x="43113" y="24044"/>
                    <a:pt x="41455" y="26531"/>
                  </a:cubicBezTo>
                  <a:lnTo>
                    <a:pt x="15753" y="149238"/>
                  </a:lnTo>
                  <a:lnTo>
                    <a:pt x="15753" y="276919"/>
                  </a:lnTo>
                  <a:lnTo>
                    <a:pt x="0" y="276919"/>
                  </a:lnTo>
                  <a:lnTo>
                    <a:pt x="0" y="146751"/>
                  </a:lnTo>
                  <a:lnTo>
                    <a:pt x="25702" y="21557"/>
                  </a:lnTo>
                  <a:cubicBezTo>
                    <a:pt x="32335" y="2487"/>
                    <a:pt x="71302" y="0"/>
                    <a:pt x="87884" y="0"/>
                  </a:cubicBezTo>
                  <a:cubicBezTo>
                    <a:pt x="101150" y="0"/>
                    <a:pt x="145921" y="829"/>
                    <a:pt x="153383" y="20727"/>
                  </a:cubicBezTo>
                  <a:lnTo>
                    <a:pt x="153383" y="21557"/>
                  </a:lnTo>
                  <a:lnTo>
                    <a:pt x="188205" y="147580"/>
                  </a:lnTo>
                  <a:lnTo>
                    <a:pt x="188205" y="276919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41D25013-681D-4B02-8117-AB8C37CBA7F7}"/>
                </a:ext>
              </a:extLst>
            </p:cNvPr>
            <p:cNvSpPr/>
            <p:nvPr/>
          </p:nvSpPr>
          <p:spPr>
            <a:xfrm>
              <a:off x="10920302" y="2990736"/>
              <a:ext cx="30676" cy="47258"/>
            </a:xfrm>
            <a:custGeom>
              <a:avLst/>
              <a:gdLst>
                <a:gd name="connsiteX0" fmla="*/ 0 w 30676"/>
                <a:gd name="connsiteY0" fmla="*/ 0 h 47258"/>
                <a:gd name="connsiteX1" fmla="*/ 30676 w 30676"/>
                <a:gd name="connsiteY1" fmla="*/ 0 h 47258"/>
                <a:gd name="connsiteX2" fmla="*/ 30676 w 30676"/>
                <a:gd name="connsiteY2" fmla="*/ 47259 h 47258"/>
                <a:gd name="connsiteX3" fmla="*/ 0 w 30676"/>
                <a:gd name="connsiteY3" fmla="*/ 47259 h 4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76" h="47258">
                  <a:moveTo>
                    <a:pt x="0" y="0"/>
                  </a:moveTo>
                  <a:lnTo>
                    <a:pt x="30676" y="0"/>
                  </a:lnTo>
                  <a:lnTo>
                    <a:pt x="30676" y="47259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4032216-E438-4B43-812C-DACE517B398F}"/>
                </a:ext>
              </a:extLst>
            </p:cNvPr>
            <p:cNvSpPr/>
            <p:nvPr/>
          </p:nvSpPr>
          <p:spPr>
            <a:xfrm>
              <a:off x="11091926" y="2990736"/>
              <a:ext cx="30676" cy="47258"/>
            </a:xfrm>
            <a:custGeom>
              <a:avLst/>
              <a:gdLst>
                <a:gd name="connsiteX0" fmla="*/ 0 w 30676"/>
                <a:gd name="connsiteY0" fmla="*/ 0 h 47258"/>
                <a:gd name="connsiteX1" fmla="*/ 30677 w 30676"/>
                <a:gd name="connsiteY1" fmla="*/ 0 h 47258"/>
                <a:gd name="connsiteX2" fmla="*/ 30677 w 30676"/>
                <a:gd name="connsiteY2" fmla="*/ 47259 h 47258"/>
                <a:gd name="connsiteX3" fmla="*/ 0 w 30676"/>
                <a:gd name="connsiteY3" fmla="*/ 47259 h 4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76" h="47258">
                  <a:moveTo>
                    <a:pt x="0" y="0"/>
                  </a:moveTo>
                  <a:lnTo>
                    <a:pt x="30677" y="0"/>
                  </a:lnTo>
                  <a:lnTo>
                    <a:pt x="30677" y="47259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4" name="Graphic 80">
            <a:extLst>
              <a:ext uri="{FF2B5EF4-FFF2-40B4-BE49-F238E27FC236}">
                <a16:creationId xmlns:a16="http://schemas.microsoft.com/office/drawing/2014/main" id="{1A95E017-11B4-4B5F-9BD3-B50F5EBE856E}"/>
              </a:ext>
            </a:extLst>
          </p:cNvPr>
          <p:cNvGrpSpPr/>
          <p:nvPr/>
        </p:nvGrpSpPr>
        <p:grpSpPr>
          <a:xfrm>
            <a:off x="1483544" y="2225778"/>
            <a:ext cx="272287" cy="327558"/>
            <a:chOff x="1521644" y="2236257"/>
            <a:chExt cx="277747" cy="334126"/>
          </a:xfrm>
          <a:solidFill>
            <a:schemeClr val="accent1"/>
          </a:solidFill>
        </p:grpSpPr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7C6F72D6-4545-4C61-A029-7E4F2FDD61DD}"/>
                </a:ext>
              </a:extLst>
            </p:cNvPr>
            <p:cNvSpPr/>
            <p:nvPr/>
          </p:nvSpPr>
          <p:spPr>
            <a:xfrm>
              <a:off x="1521644" y="2358134"/>
              <a:ext cx="277747" cy="212249"/>
            </a:xfrm>
            <a:custGeom>
              <a:avLst/>
              <a:gdLst>
                <a:gd name="connsiteX0" fmla="*/ 239609 w 277747"/>
                <a:gd name="connsiteY0" fmla="*/ 212249 h 212249"/>
                <a:gd name="connsiteX1" fmla="*/ 37309 w 277747"/>
                <a:gd name="connsiteY1" fmla="*/ 212249 h 212249"/>
                <a:gd name="connsiteX2" fmla="*/ 9949 w 277747"/>
                <a:gd name="connsiteY2" fmla="*/ 187376 h 212249"/>
                <a:gd name="connsiteX3" fmla="*/ 0 w 277747"/>
                <a:gd name="connsiteY3" fmla="*/ 106125 h 212249"/>
                <a:gd name="connsiteX4" fmla="*/ 22386 w 277747"/>
                <a:gd name="connsiteY4" fmla="*/ 0 h 212249"/>
                <a:gd name="connsiteX5" fmla="*/ 255362 w 277747"/>
                <a:gd name="connsiteY5" fmla="*/ 0 h 212249"/>
                <a:gd name="connsiteX6" fmla="*/ 277748 w 277747"/>
                <a:gd name="connsiteY6" fmla="*/ 106125 h 212249"/>
                <a:gd name="connsiteX7" fmla="*/ 267799 w 277747"/>
                <a:gd name="connsiteY7" fmla="*/ 187376 h 212249"/>
                <a:gd name="connsiteX8" fmla="*/ 239609 w 277747"/>
                <a:gd name="connsiteY8" fmla="*/ 212249 h 21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747" h="212249">
                  <a:moveTo>
                    <a:pt x="239609" y="212249"/>
                  </a:moveTo>
                  <a:lnTo>
                    <a:pt x="37309" y="212249"/>
                  </a:lnTo>
                  <a:cubicBezTo>
                    <a:pt x="23215" y="212249"/>
                    <a:pt x="11607" y="201471"/>
                    <a:pt x="9949" y="187376"/>
                  </a:cubicBezTo>
                  <a:lnTo>
                    <a:pt x="0" y="106125"/>
                  </a:lnTo>
                  <a:lnTo>
                    <a:pt x="22386" y="0"/>
                  </a:lnTo>
                  <a:lnTo>
                    <a:pt x="255362" y="0"/>
                  </a:lnTo>
                  <a:lnTo>
                    <a:pt x="277748" y="106125"/>
                  </a:lnTo>
                  <a:lnTo>
                    <a:pt x="267799" y="187376"/>
                  </a:lnTo>
                  <a:cubicBezTo>
                    <a:pt x="266141" y="201471"/>
                    <a:pt x="253704" y="212249"/>
                    <a:pt x="239609" y="212249"/>
                  </a:cubicBezTo>
                  <a:close/>
                </a:path>
              </a:pathLst>
            </a:custGeom>
            <a:solidFill>
              <a:schemeClr val="accent4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FBE6992C-5589-4FFD-9A6B-8D16E93739AA}"/>
                </a:ext>
              </a:extLst>
            </p:cNvPr>
            <p:cNvSpPr/>
            <p:nvPr/>
          </p:nvSpPr>
          <p:spPr>
            <a:xfrm>
              <a:off x="1583826" y="2236257"/>
              <a:ext cx="155870" cy="228002"/>
            </a:xfrm>
            <a:custGeom>
              <a:avLst/>
              <a:gdLst>
                <a:gd name="connsiteX0" fmla="*/ 155871 w 155870"/>
                <a:gd name="connsiteY0" fmla="*/ 228002 h 228002"/>
                <a:gd name="connsiteX1" fmla="*/ 142605 w 155870"/>
                <a:gd name="connsiteY1" fmla="*/ 228002 h 228002"/>
                <a:gd name="connsiteX2" fmla="*/ 142605 w 155870"/>
                <a:gd name="connsiteY2" fmla="*/ 122706 h 228002"/>
                <a:gd name="connsiteX3" fmla="*/ 114416 w 155870"/>
                <a:gd name="connsiteY3" fmla="*/ 20727 h 228002"/>
                <a:gd name="connsiteX4" fmla="*/ 72961 w 155870"/>
                <a:gd name="connsiteY4" fmla="*/ 12436 h 228002"/>
                <a:gd name="connsiteX5" fmla="*/ 33993 w 155870"/>
                <a:gd name="connsiteY5" fmla="*/ 20727 h 228002"/>
                <a:gd name="connsiteX6" fmla="*/ 13266 w 155870"/>
                <a:gd name="connsiteY6" fmla="*/ 122706 h 228002"/>
                <a:gd name="connsiteX7" fmla="*/ 13266 w 155870"/>
                <a:gd name="connsiteY7" fmla="*/ 228002 h 228002"/>
                <a:gd name="connsiteX8" fmla="*/ 0 w 155870"/>
                <a:gd name="connsiteY8" fmla="*/ 228002 h 228002"/>
                <a:gd name="connsiteX9" fmla="*/ 0 w 155870"/>
                <a:gd name="connsiteY9" fmla="*/ 121048 h 228002"/>
                <a:gd name="connsiteX10" fmla="*/ 21557 w 155870"/>
                <a:gd name="connsiteY10" fmla="*/ 17411 h 228002"/>
                <a:gd name="connsiteX11" fmla="*/ 72961 w 155870"/>
                <a:gd name="connsiteY11" fmla="*/ 0 h 228002"/>
                <a:gd name="connsiteX12" fmla="*/ 126852 w 155870"/>
                <a:gd name="connsiteY12" fmla="*/ 17411 h 228002"/>
                <a:gd name="connsiteX13" fmla="*/ 126852 w 155870"/>
                <a:gd name="connsiteY13" fmla="*/ 18240 h 228002"/>
                <a:gd name="connsiteX14" fmla="*/ 155871 w 155870"/>
                <a:gd name="connsiteY14" fmla="*/ 122706 h 228002"/>
                <a:gd name="connsiteX15" fmla="*/ 155871 w 155870"/>
                <a:gd name="connsiteY15" fmla="*/ 228002 h 228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870" h="228002">
                  <a:moveTo>
                    <a:pt x="155871" y="228002"/>
                  </a:moveTo>
                  <a:lnTo>
                    <a:pt x="142605" y="228002"/>
                  </a:lnTo>
                  <a:lnTo>
                    <a:pt x="142605" y="122706"/>
                  </a:lnTo>
                  <a:lnTo>
                    <a:pt x="114416" y="20727"/>
                  </a:lnTo>
                  <a:cubicBezTo>
                    <a:pt x="112757" y="17411"/>
                    <a:pt x="97834" y="12436"/>
                    <a:pt x="72961" y="12436"/>
                  </a:cubicBezTo>
                  <a:cubicBezTo>
                    <a:pt x="48088" y="12436"/>
                    <a:pt x="35651" y="18240"/>
                    <a:pt x="33993" y="20727"/>
                  </a:cubicBezTo>
                  <a:lnTo>
                    <a:pt x="13266" y="122706"/>
                  </a:lnTo>
                  <a:lnTo>
                    <a:pt x="13266" y="228002"/>
                  </a:lnTo>
                  <a:lnTo>
                    <a:pt x="0" y="228002"/>
                  </a:lnTo>
                  <a:lnTo>
                    <a:pt x="0" y="121048"/>
                  </a:lnTo>
                  <a:lnTo>
                    <a:pt x="21557" y="17411"/>
                  </a:lnTo>
                  <a:cubicBezTo>
                    <a:pt x="26531" y="1658"/>
                    <a:pt x="58866" y="0"/>
                    <a:pt x="72961" y="0"/>
                  </a:cubicBezTo>
                  <a:cubicBezTo>
                    <a:pt x="84568" y="0"/>
                    <a:pt x="121048" y="829"/>
                    <a:pt x="126852" y="17411"/>
                  </a:cubicBezTo>
                  <a:lnTo>
                    <a:pt x="126852" y="18240"/>
                  </a:lnTo>
                  <a:lnTo>
                    <a:pt x="155871" y="122706"/>
                  </a:lnTo>
                  <a:lnTo>
                    <a:pt x="155871" y="228002"/>
                  </a:ln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024597A9-BF18-4F20-A2A0-E7A555285F97}"/>
                </a:ext>
              </a:extLst>
            </p:cNvPr>
            <p:cNvSpPr/>
            <p:nvPr/>
          </p:nvSpPr>
          <p:spPr>
            <a:xfrm>
              <a:off x="1578022" y="2347356"/>
              <a:ext cx="25702" cy="38967"/>
            </a:xfrm>
            <a:custGeom>
              <a:avLst/>
              <a:gdLst>
                <a:gd name="connsiteX0" fmla="*/ 0 w 25702"/>
                <a:gd name="connsiteY0" fmla="*/ 0 h 38967"/>
                <a:gd name="connsiteX1" fmla="*/ 25702 w 25702"/>
                <a:gd name="connsiteY1" fmla="*/ 0 h 38967"/>
                <a:gd name="connsiteX2" fmla="*/ 25702 w 25702"/>
                <a:gd name="connsiteY2" fmla="*/ 38968 h 38967"/>
                <a:gd name="connsiteX3" fmla="*/ 0 w 25702"/>
                <a:gd name="connsiteY3" fmla="*/ 38968 h 3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2" h="38967">
                  <a:moveTo>
                    <a:pt x="0" y="0"/>
                  </a:moveTo>
                  <a:lnTo>
                    <a:pt x="25702" y="0"/>
                  </a:lnTo>
                  <a:lnTo>
                    <a:pt x="25702" y="38968"/>
                  </a:lnTo>
                  <a:lnTo>
                    <a:pt x="0" y="38968"/>
                  </a:lnTo>
                  <a:close/>
                </a:path>
              </a:pathLst>
            </a:custGeom>
            <a:solidFill>
              <a:srgbClr val="FF745C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97AA46C5-D8B3-4107-979A-6814BCC2FCE6}"/>
                </a:ext>
              </a:extLst>
            </p:cNvPr>
            <p:cNvSpPr/>
            <p:nvPr/>
          </p:nvSpPr>
          <p:spPr>
            <a:xfrm>
              <a:off x="1720627" y="2347356"/>
              <a:ext cx="25702" cy="38967"/>
            </a:xfrm>
            <a:custGeom>
              <a:avLst/>
              <a:gdLst>
                <a:gd name="connsiteX0" fmla="*/ 0 w 25702"/>
                <a:gd name="connsiteY0" fmla="*/ 0 h 38967"/>
                <a:gd name="connsiteX1" fmla="*/ 25702 w 25702"/>
                <a:gd name="connsiteY1" fmla="*/ 0 h 38967"/>
                <a:gd name="connsiteX2" fmla="*/ 25702 w 25702"/>
                <a:gd name="connsiteY2" fmla="*/ 38968 h 38967"/>
                <a:gd name="connsiteX3" fmla="*/ 0 w 25702"/>
                <a:gd name="connsiteY3" fmla="*/ 38968 h 3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2" h="38967">
                  <a:moveTo>
                    <a:pt x="0" y="0"/>
                  </a:moveTo>
                  <a:lnTo>
                    <a:pt x="25702" y="0"/>
                  </a:lnTo>
                  <a:lnTo>
                    <a:pt x="25702" y="38968"/>
                  </a:lnTo>
                  <a:lnTo>
                    <a:pt x="0" y="38968"/>
                  </a:lnTo>
                  <a:close/>
                </a:path>
              </a:pathLst>
            </a:custGeom>
            <a:solidFill>
              <a:srgbClr val="FF745C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5" name="Graphic 80">
            <a:extLst>
              <a:ext uri="{FF2B5EF4-FFF2-40B4-BE49-F238E27FC236}">
                <a16:creationId xmlns:a16="http://schemas.microsoft.com/office/drawing/2014/main" id="{DBD9BC4A-3CA2-4AE4-B086-F7334E753153}"/>
              </a:ext>
            </a:extLst>
          </p:cNvPr>
          <p:cNvGrpSpPr/>
          <p:nvPr/>
        </p:nvGrpSpPr>
        <p:grpSpPr>
          <a:xfrm>
            <a:off x="8802807" y="2103858"/>
            <a:ext cx="217016" cy="264159"/>
            <a:chOff x="8987674" y="2111892"/>
            <a:chExt cx="221368" cy="269456"/>
          </a:xfrm>
          <a:solidFill>
            <a:schemeClr val="accent1"/>
          </a:solidFill>
        </p:grpSpPr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3E3F2E10-DB03-42F6-A8EB-240BA14DF139}"/>
                </a:ext>
              </a:extLst>
            </p:cNvPr>
            <p:cNvSpPr/>
            <p:nvPr/>
          </p:nvSpPr>
          <p:spPr>
            <a:xfrm>
              <a:off x="8987674" y="2210555"/>
              <a:ext cx="221368" cy="170794"/>
            </a:xfrm>
            <a:custGeom>
              <a:avLst/>
              <a:gdLst>
                <a:gd name="connsiteX0" fmla="*/ 192350 w 221368"/>
                <a:gd name="connsiteY0" fmla="*/ 170794 h 170794"/>
                <a:gd name="connsiteX1" fmla="*/ 29847 w 221368"/>
                <a:gd name="connsiteY1" fmla="*/ 170794 h 170794"/>
                <a:gd name="connsiteX2" fmla="*/ 7462 w 221368"/>
                <a:gd name="connsiteY2" fmla="*/ 150896 h 170794"/>
                <a:gd name="connsiteX3" fmla="*/ 0 w 221368"/>
                <a:gd name="connsiteY3" fmla="*/ 85397 h 170794"/>
                <a:gd name="connsiteX4" fmla="*/ 17411 w 221368"/>
                <a:gd name="connsiteY4" fmla="*/ 0 h 170794"/>
                <a:gd name="connsiteX5" fmla="*/ 203958 w 221368"/>
                <a:gd name="connsiteY5" fmla="*/ 0 h 170794"/>
                <a:gd name="connsiteX6" fmla="*/ 221369 w 221368"/>
                <a:gd name="connsiteY6" fmla="*/ 85397 h 170794"/>
                <a:gd name="connsiteX7" fmla="*/ 213908 w 221368"/>
                <a:gd name="connsiteY7" fmla="*/ 150896 h 170794"/>
                <a:gd name="connsiteX8" fmla="*/ 192350 w 221368"/>
                <a:gd name="connsiteY8" fmla="*/ 170794 h 17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368" h="170794">
                  <a:moveTo>
                    <a:pt x="192350" y="170794"/>
                  </a:moveTo>
                  <a:lnTo>
                    <a:pt x="29847" y="170794"/>
                  </a:lnTo>
                  <a:cubicBezTo>
                    <a:pt x="18240" y="170794"/>
                    <a:pt x="9120" y="162503"/>
                    <a:pt x="7462" y="150896"/>
                  </a:cubicBezTo>
                  <a:lnTo>
                    <a:pt x="0" y="85397"/>
                  </a:lnTo>
                  <a:lnTo>
                    <a:pt x="17411" y="0"/>
                  </a:lnTo>
                  <a:lnTo>
                    <a:pt x="203958" y="0"/>
                  </a:lnTo>
                  <a:lnTo>
                    <a:pt x="221369" y="85397"/>
                  </a:lnTo>
                  <a:lnTo>
                    <a:pt x="213908" y="150896"/>
                  </a:lnTo>
                  <a:cubicBezTo>
                    <a:pt x="213908" y="161674"/>
                    <a:pt x="203958" y="170794"/>
                    <a:pt x="192350" y="170794"/>
                  </a:cubicBezTo>
                  <a:close/>
                </a:path>
              </a:pathLst>
            </a:custGeom>
            <a:solidFill>
              <a:schemeClr val="accent5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073BEA76-C04E-4CB5-8C7C-06E9B141283A}"/>
                </a:ext>
              </a:extLst>
            </p:cNvPr>
            <p:cNvSpPr/>
            <p:nvPr/>
          </p:nvSpPr>
          <p:spPr>
            <a:xfrm>
              <a:off x="9037420" y="2111892"/>
              <a:ext cx="126022" cy="184059"/>
            </a:xfrm>
            <a:custGeom>
              <a:avLst/>
              <a:gdLst>
                <a:gd name="connsiteX0" fmla="*/ 125194 w 126022"/>
                <a:gd name="connsiteY0" fmla="*/ 184060 h 184059"/>
                <a:gd name="connsiteX1" fmla="*/ 114416 w 126022"/>
                <a:gd name="connsiteY1" fmla="*/ 184060 h 184059"/>
                <a:gd name="connsiteX2" fmla="*/ 114416 w 126022"/>
                <a:gd name="connsiteY2" fmla="*/ 99492 h 184059"/>
                <a:gd name="connsiteX3" fmla="*/ 92030 w 126022"/>
                <a:gd name="connsiteY3" fmla="*/ 17411 h 184059"/>
                <a:gd name="connsiteX4" fmla="*/ 58866 w 126022"/>
                <a:gd name="connsiteY4" fmla="*/ 10778 h 184059"/>
                <a:gd name="connsiteX5" fmla="*/ 27361 w 126022"/>
                <a:gd name="connsiteY5" fmla="*/ 17411 h 184059"/>
                <a:gd name="connsiteX6" fmla="*/ 10779 w 126022"/>
                <a:gd name="connsiteY6" fmla="*/ 99492 h 184059"/>
                <a:gd name="connsiteX7" fmla="*/ 10779 w 126022"/>
                <a:gd name="connsiteY7" fmla="*/ 184060 h 184059"/>
                <a:gd name="connsiteX8" fmla="*/ 0 w 126022"/>
                <a:gd name="connsiteY8" fmla="*/ 184060 h 184059"/>
                <a:gd name="connsiteX9" fmla="*/ 0 w 126022"/>
                <a:gd name="connsiteY9" fmla="*/ 97834 h 184059"/>
                <a:gd name="connsiteX10" fmla="*/ 17411 w 126022"/>
                <a:gd name="connsiteY10" fmla="*/ 14095 h 184059"/>
                <a:gd name="connsiteX11" fmla="*/ 58866 w 126022"/>
                <a:gd name="connsiteY11" fmla="*/ 0 h 184059"/>
                <a:gd name="connsiteX12" fmla="*/ 102808 w 126022"/>
                <a:gd name="connsiteY12" fmla="*/ 14095 h 184059"/>
                <a:gd name="connsiteX13" fmla="*/ 102808 w 126022"/>
                <a:gd name="connsiteY13" fmla="*/ 14924 h 184059"/>
                <a:gd name="connsiteX14" fmla="*/ 126023 w 126022"/>
                <a:gd name="connsiteY14" fmla="*/ 98663 h 184059"/>
                <a:gd name="connsiteX15" fmla="*/ 126023 w 126022"/>
                <a:gd name="connsiteY15" fmla="*/ 184060 h 18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022" h="184059">
                  <a:moveTo>
                    <a:pt x="125194" y="184060"/>
                  </a:moveTo>
                  <a:lnTo>
                    <a:pt x="114416" y="184060"/>
                  </a:lnTo>
                  <a:lnTo>
                    <a:pt x="114416" y="99492"/>
                  </a:lnTo>
                  <a:lnTo>
                    <a:pt x="92030" y="17411"/>
                  </a:lnTo>
                  <a:cubicBezTo>
                    <a:pt x="90372" y="14924"/>
                    <a:pt x="78764" y="10778"/>
                    <a:pt x="58866" y="10778"/>
                  </a:cubicBezTo>
                  <a:cubicBezTo>
                    <a:pt x="38967" y="10778"/>
                    <a:pt x="29018" y="15753"/>
                    <a:pt x="27361" y="17411"/>
                  </a:cubicBezTo>
                  <a:lnTo>
                    <a:pt x="10779" y="99492"/>
                  </a:lnTo>
                  <a:lnTo>
                    <a:pt x="10779" y="184060"/>
                  </a:lnTo>
                  <a:lnTo>
                    <a:pt x="0" y="184060"/>
                  </a:lnTo>
                  <a:lnTo>
                    <a:pt x="0" y="97834"/>
                  </a:lnTo>
                  <a:lnTo>
                    <a:pt x="17411" y="14095"/>
                  </a:lnTo>
                  <a:cubicBezTo>
                    <a:pt x="21556" y="1658"/>
                    <a:pt x="47258" y="0"/>
                    <a:pt x="58866" y="0"/>
                  </a:cubicBezTo>
                  <a:cubicBezTo>
                    <a:pt x="67986" y="0"/>
                    <a:pt x="97834" y="829"/>
                    <a:pt x="102808" y="14095"/>
                  </a:cubicBezTo>
                  <a:lnTo>
                    <a:pt x="102808" y="14924"/>
                  </a:lnTo>
                  <a:lnTo>
                    <a:pt x="126023" y="98663"/>
                  </a:lnTo>
                  <a:lnTo>
                    <a:pt x="126023" y="184060"/>
                  </a:ln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3AFE73A5-EF2F-46CA-B3DA-7526D60E5585}"/>
                </a:ext>
              </a:extLst>
            </p:cNvPr>
            <p:cNvSpPr/>
            <p:nvPr/>
          </p:nvSpPr>
          <p:spPr>
            <a:xfrm>
              <a:off x="9033274" y="2202264"/>
              <a:ext cx="20727" cy="31505"/>
            </a:xfrm>
            <a:custGeom>
              <a:avLst/>
              <a:gdLst>
                <a:gd name="connsiteX0" fmla="*/ 0 w 20727"/>
                <a:gd name="connsiteY0" fmla="*/ 0 h 31505"/>
                <a:gd name="connsiteX1" fmla="*/ 20727 w 20727"/>
                <a:gd name="connsiteY1" fmla="*/ 0 h 31505"/>
                <a:gd name="connsiteX2" fmla="*/ 20727 w 20727"/>
                <a:gd name="connsiteY2" fmla="*/ 31506 h 31505"/>
                <a:gd name="connsiteX3" fmla="*/ 0 w 20727"/>
                <a:gd name="connsiteY3" fmla="*/ 31506 h 3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27" h="31505">
                  <a:moveTo>
                    <a:pt x="0" y="0"/>
                  </a:moveTo>
                  <a:lnTo>
                    <a:pt x="20727" y="0"/>
                  </a:lnTo>
                  <a:lnTo>
                    <a:pt x="20727" y="31506"/>
                  </a:lnTo>
                  <a:lnTo>
                    <a:pt x="0" y="31506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B6A227C5-A3E9-4932-BA76-9E82225A3502}"/>
                </a:ext>
              </a:extLst>
            </p:cNvPr>
            <p:cNvSpPr/>
            <p:nvPr/>
          </p:nvSpPr>
          <p:spPr>
            <a:xfrm>
              <a:off x="9147690" y="2202264"/>
              <a:ext cx="20727" cy="31505"/>
            </a:xfrm>
            <a:custGeom>
              <a:avLst/>
              <a:gdLst>
                <a:gd name="connsiteX0" fmla="*/ 0 w 20727"/>
                <a:gd name="connsiteY0" fmla="*/ 0 h 31505"/>
                <a:gd name="connsiteX1" fmla="*/ 20728 w 20727"/>
                <a:gd name="connsiteY1" fmla="*/ 0 h 31505"/>
                <a:gd name="connsiteX2" fmla="*/ 20728 w 20727"/>
                <a:gd name="connsiteY2" fmla="*/ 31506 h 31505"/>
                <a:gd name="connsiteX3" fmla="*/ 0 w 20727"/>
                <a:gd name="connsiteY3" fmla="*/ 31506 h 3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27" h="31505">
                  <a:moveTo>
                    <a:pt x="0" y="0"/>
                  </a:moveTo>
                  <a:lnTo>
                    <a:pt x="20728" y="0"/>
                  </a:lnTo>
                  <a:lnTo>
                    <a:pt x="20728" y="31506"/>
                  </a:lnTo>
                  <a:lnTo>
                    <a:pt x="0" y="31506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6" name="Graphic 80">
            <a:extLst>
              <a:ext uri="{FF2B5EF4-FFF2-40B4-BE49-F238E27FC236}">
                <a16:creationId xmlns:a16="http://schemas.microsoft.com/office/drawing/2014/main" id="{E51CB060-D2E7-4039-9FAC-599CCAC68E49}"/>
              </a:ext>
            </a:extLst>
          </p:cNvPr>
          <p:cNvGrpSpPr/>
          <p:nvPr/>
        </p:nvGrpSpPr>
        <p:grpSpPr>
          <a:xfrm>
            <a:off x="4019479" y="2574469"/>
            <a:ext cx="314554" cy="379578"/>
            <a:chOff x="4108430" y="2591940"/>
            <a:chExt cx="320861" cy="387189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A44E73F3-DEA6-4D96-887C-9C506FA680AC}"/>
                </a:ext>
              </a:extLst>
            </p:cNvPr>
            <p:cNvSpPr/>
            <p:nvPr/>
          </p:nvSpPr>
          <p:spPr>
            <a:xfrm>
              <a:off x="4108430" y="2734545"/>
              <a:ext cx="320861" cy="244583"/>
            </a:xfrm>
            <a:custGeom>
              <a:avLst/>
              <a:gdLst>
                <a:gd name="connsiteX0" fmla="*/ 276919 w 320861"/>
                <a:gd name="connsiteY0" fmla="*/ 244584 h 244583"/>
                <a:gd name="connsiteX1" fmla="*/ 43113 w 320861"/>
                <a:gd name="connsiteY1" fmla="*/ 244584 h 244583"/>
                <a:gd name="connsiteX2" fmla="*/ 10778 w 320861"/>
                <a:gd name="connsiteY2" fmla="*/ 216394 h 244583"/>
                <a:gd name="connsiteX3" fmla="*/ 0 w 320861"/>
                <a:gd name="connsiteY3" fmla="*/ 122706 h 244583"/>
                <a:gd name="connsiteX4" fmla="*/ 25702 w 320861"/>
                <a:gd name="connsiteY4" fmla="*/ 0 h 244583"/>
                <a:gd name="connsiteX5" fmla="*/ 295159 w 320861"/>
                <a:gd name="connsiteY5" fmla="*/ 0 h 244583"/>
                <a:gd name="connsiteX6" fmla="*/ 320861 w 320861"/>
                <a:gd name="connsiteY6" fmla="*/ 122706 h 244583"/>
                <a:gd name="connsiteX7" fmla="*/ 309254 w 320861"/>
                <a:gd name="connsiteY7" fmla="*/ 217224 h 244583"/>
                <a:gd name="connsiteX8" fmla="*/ 276919 w 320861"/>
                <a:gd name="connsiteY8" fmla="*/ 244584 h 244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861" h="244583">
                  <a:moveTo>
                    <a:pt x="276919" y="244584"/>
                  </a:moveTo>
                  <a:lnTo>
                    <a:pt x="43113" y="244584"/>
                  </a:lnTo>
                  <a:cubicBezTo>
                    <a:pt x="26531" y="244584"/>
                    <a:pt x="13266" y="232148"/>
                    <a:pt x="10778" y="216394"/>
                  </a:cubicBezTo>
                  <a:lnTo>
                    <a:pt x="0" y="122706"/>
                  </a:lnTo>
                  <a:lnTo>
                    <a:pt x="25702" y="0"/>
                  </a:lnTo>
                  <a:lnTo>
                    <a:pt x="295159" y="0"/>
                  </a:lnTo>
                  <a:lnTo>
                    <a:pt x="320861" y="122706"/>
                  </a:lnTo>
                  <a:lnTo>
                    <a:pt x="309254" y="217224"/>
                  </a:lnTo>
                  <a:cubicBezTo>
                    <a:pt x="307595" y="232976"/>
                    <a:pt x="293501" y="244584"/>
                    <a:pt x="276919" y="244584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05628EC3-D262-4D5F-B6C8-40FC30FD8D04}"/>
                </a:ext>
              </a:extLst>
            </p:cNvPr>
            <p:cNvSpPr/>
            <p:nvPr/>
          </p:nvSpPr>
          <p:spPr>
            <a:xfrm>
              <a:off x="4181391" y="2591940"/>
              <a:ext cx="180743" cy="265311"/>
            </a:xfrm>
            <a:custGeom>
              <a:avLst/>
              <a:gdLst>
                <a:gd name="connsiteX0" fmla="*/ 179086 w 180743"/>
                <a:gd name="connsiteY0" fmla="*/ 265311 h 265311"/>
                <a:gd name="connsiteX1" fmla="*/ 164161 w 180743"/>
                <a:gd name="connsiteY1" fmla="*/ 265311 h 265311"/>
                <a:gd name="connsiteX2" fmla="*/ 164161 w 180743"/>
                <a:gd name="connsiteY2" fmla="*/ 143434 h 265311"/>
                <a:gd name="connsiteX3" fmla="*/ 131827 w 180743"/>
                <a:gd name="connsiteY3" fmla="*/ 25702 h 265311"/>
                <a:gd name="connsiteX4" fmla="*/ 83739 w 180743"/>
                <a:gd name="connsiteY4" fmla="*/ 15753 h 265311"/>
                <a:gd name="connsiteX5" fmla="*/ 38968 w 180743"/>
                <a:gd name="connsiteY5" fmla="*/ 25702 h 265311"/>
                <a:gd name="connsiteX6" fmla="*/ 14924 w 180743"/>
                <a:gd name="connsiteY6" fmla="*/ 143434 h 265311"/>
                <a:gd name="connsiteX7" fmla="*/ 14924 w 180743"/>
                <a:gd name="connsiteY7" fmla="*/ 265311 h 265311"/>
                <a:gd name="connsiteX8" fmla="*/ 0 w 180743"/>
                <a:gd name="connsiteY8" fmla="*/ 265311 h 265311"/>
                <a:gd name="connsiteX9" fmla="*/ 0 w 180743"/>
                <a:gd name="connsiteY9" fmla="*/ 140947 h 265311"/>
                <a:gd name="connsiteX10" fmla="*/ 24873 w 180743"/>
                <a:gd name="connsiteY10" fmla="*/ 20727 h 265311"/>
                <a:gd name="connsiteX11" fmla="*/ 84568 w 180743"/>
                <a:gd name="connsiteY11" fmla="*/ 0 h 265311"/>
                <a:gd name="connsiteX12" fmla="*/ 147579 w 180743"/>
                <a:gd name="connsiteY12" fmla="*/ 19898 h 265311"/>
                <a:gd name="connsiteX13" fmla="*/ 147579 w 180743"/>
                <a:gd name="connsiteY13" fmla="*/ 20727 h 265311"/>
                <a:gd name="connsiteX14" fmla="*/ 180743 w 180743"/>
                <a:gd name="connsiteY14" fmla="*/ 140947 h 265311"/>
                <a:gd name="connsiteX15" fmla="*/ 180743 w 180743"/>
                <a:gd name="connsiteY15" fmla="*/ 265311 h 26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743" h="265311">
                  <a:moveTo>
                    <a:pt x="179086" y="265311"/>
                  </a:moveTo>
                  <a:lnTo>
                    <a:pt x="164161" y="265311"/>
                  </a:lnTo>
                  <a:lnTo>
                    <a:pt x="164161" y="143434"/>
                  </a:lnTo>
                  <a:lnTo>
                    <a:pt x="131827" y="25702"/>
                  </a:lnTo>
                  <a:cubicBezTo>
                    <a:pt x="130169" y="21557"/>
                    <a:pt x="112757" y="15753"/>
                    <a:pt x="83739" y="15753"/>
                  </a:cubicBezTo>
                  <a:cubicBezTo>
                    <a:pt x="54721" y="15753"/>
                    <a:pt x="40626" y="22386"/>
                    <a:pt x="38968" y="25702"/>
                  </a:cubicBezTo>
                  <a:lnTo>
                    <a:pt x="14924" y="143434"/>
                  </a:lnTo>
                  <a:lnTo>
                    <a:pt x="14924" y="265311"/>
                  </a:lnTo>
                  <a:lnTo>
                    <a:pt x="0" y="265311"/>
                  </a:lnTo>
                  <a:lnTo>
                    <a:pt x="0" y="140947"/>
                  </a:lnTo>
                  <a:lnTo>
                    <a:pt x="24873" y="20727"/>
                  </a:lnTo>
                  <a:cubicBezTo>
                    <a:pt x="30677" y="2487"/>
                    <a:pt x="68815" y="829"/>
                    <a:pt x="84568" y="0"/>
                  </a:cubicBezTo>
                  <a:cubicBezTo>
                    <a:pt x="97834" y="0"/>
                    <a:pt x="140118" y="829"/>
                    <a:pt x="147579" y="19898"/>
                  </a:cubicBezTo>
                  <a:lnTo>
                    <a:pt x="147579" y="20727"/>
                  </a:lnTo>
                  <a:lnTo>
                    <a:pt x="180743" y="140947"/>
                  </a:lnTo>
                  <a:lnTo>
                    <a:pt x="180743" y="26531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F0EF665E-5CFB-40A9-9528-482D1607D55E}"/>
                </a:ext>
              </a:extLst>
            </p:cNvPr>
            <p:cNvSpPr/>
            <p:nvPr/>
          </p:nvSpPr>
          <p:spPr>
            <a:xfrm>
              <a:off x="4173929" y="2721279"/>
              <a:ext cx="29018" cy="44771"/>
            </a:xfrm>
            <a:custGeom>
              <a:avLst/>
              <a:gdLst>
                <a:gd name="connsiteX0" fmla="*/ 0 w 29018"/>
                <a:gd name="connsiteY0" fmla="*/ 0 h 44771"/>
                <a:gd name="connsiteX1" fmla="*/ 29018 w 29018"/>
                <a:gd name="connsiteY1" fmla="*/ 0 h 44771"/>
                <a:gd name="connsiteX2" fmla="*/ 29018 w 29018"/>
                <a:gd name="connsiteY2" fmla="*/ 44771 h 44771"/>
                <a:gd name="connsiteX3" fmla="*/ 0 w 29018"/>
                <a:gd name="connsiteY3" fmla="*/ 44771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18" h="44771">
                  <a:moveTo>
                    <a:pt x="0" y="0"/>
                  </a:moveTo>
                  <a:lnTo>
                    <a:pt x="29018" y="0"/>
                  </a:lnTo>
                  <a:lnTo>
                    <a:pt x="29018" y="44771"/>
                  </a:lnTo>
                  <a:lnTo>
                    <a:pt x="0" y="4477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471EBDCE-CB63-4689-9349-5DF8CF15ABA2}"/>
                </a:ext>
              </a:extLst>
            </p:cNvPr>
            <p:cNvSpPr/>
            <p:nvPr/>
          </p:nvSpPr>
          <p:spPr>
            <a:xfrm>
              <a:off x="4338091" y="2721279"/>
              <a:ext cx="29018" cy="44771"/>
            </a:xfrm>
            <a:custGeom>
              <a:avLst/>
              <a:gdLst>
                <a:gd name="connsiteX0" fmla="*/ 0 w 29018"/>
                <a:gd name="connsiteY0" fmla="*/ 0 h 44771"/>
                <a:gd name="connsiteX1" fmla="*/ 29019 w 29018"/>
                <a:gd name="connsiteY1" fmla="*/ 0 h 44771"/>
                <a:gd name="connsiteX2" fmla="*/ 29019 w 29018"/>
                <a:gd name="connsiteY2" fmla="*/ 44771 h 44771"/>
                <a:gd name="connsiteX3" fmla="*/ 0 w 29018"/>
                <a:gd name="connsiteY3" fmla="*/ 44771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18" h="44771">
                  <a:moveTo>
                    <a:pt x="0" y="0"/>
                  </a:moveTo>
                  <a:lnTo>
                    <a:pt x="29019" y="0"/>
                  </a:lnTo>
                  <a:lnTo>
                    <a:pt x="29019" y="44771"/>
                  </a:lnTo>
                  <a:lnTo>
                    <a:pt x="0" y="4477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7" name="Graphic 80">
            <a:extLst>
              <a:ext uri="{FF2B5EF4-FFF2-40B4-BE49-F238E27FC236}">
                <a16:creationId xmlns:a16="http://schemas.microsoft.com/office/drawing/2014/main" id="{73298316-66BD-48EA-A7C9-51FDAEBB0F05}"/>
              </a:ext>
            </a:extLst>
          </p:cNvPr>
          <p:cNvGrpSpPr/>
          <p:nvPr/>
        </p:nvGrpSpPr>
        <p:grpSpPr>
          <a:xfrm>
            <a:off x="3793521" y="2606981"/>
            <a:ext cx="286918" cy="347066"/>
            <a:chOff x="3877941" y="2625104"/>
            <a:chExt cx="292671" cy="354025"/>
          </a:xfrm>
          <a:solidFill>
            <a:schemeClr val="accent1"/>
          </a:solidFill>
        </p:grpSpPr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D9FE8811-5ABD-4957-952D-4101EA38EA05}"/>
                </a:ext>
              </a:extLst>
            </p:cNvPr>
            <p:cNvSpPr/>
            <p:nvPr/>
          </p:nvSpPr>
          <p:spPr>
            <a:xfrm>
              <a:off x="3877941" y="2755273"/>
              <a:ext cx="292671" cy="223856"/>
            </a:xfrm>
            <a:custGeom>
              <a:avLst/>
              <a:gdLst>
                <a:gd name="connsiteX0" fmla="*/ 252875 w 292671"/>
                <a:gd name="connsiteY0" fmla="*/ 223857 h 223856"/>
                <a:gd name="connsiteX1" fmla="*/ 38967 w 292671"/>
                <a:gd name="connsiteY1" fmla="*/ 223857 h 223856"/>
                <a:gd name="connsiteX2" fmla="*/ 9949 w 292671"/>
                <a:gd name="connsiteY2" fmla="*/ 198154 h 223856"/>
                <a:gd name="connsiteX3" fmla="*/ 0 w 292671"/>
                <a:gd name="connsiteY3" fmla="*/ 111928 h 223856"/>
                <a:gd name="connsiteX4" fmla="*/ 23215 w 292671"/>
                <a:gd name="connsiteY4" fmla="*/ 0 h 223856"/>
                <a:gd name="connsiteX5" fmla="*/ 269457 w 292671"/>
                <a:gd name="connsiteY5" fmla="*/ 0 h 223856"/>
                <a:gd name="connsiteX6" fmla="*/ 292672 w 292671"/>
                <a:gd name="connsiteY6" fmla="*/ 111928 h 223856"/>
                <a:gd name="connsiteX7" fmla="*/ 282722 w 292671"/>
                <a:gd name="connsiteY7" fmla="*/ 198154 h 223856"/>
                <a:gd name="connsiteX8" fmla="*/ 252875 w 292671"/>
                <a:gd name="connsiteY8" fmla="*/ 223857 h 223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2671" h="223856">
                  <a:moveTo>
                    <a:pt x="252875" y="223857"/>
                  </a:moveTo>
                  <a:lnTo>
                    <a:pt x="38967" y="223857"/>
                  </a:lnTo>
                  <a:cubicBezTo>
                    <a:pt x="24044" y="223857"/>
                    <a:pt x="11607" y="213078"/>
                    <a:pt x="9949" y="198154"/>
                  </a:cubicBezTo>
                  <a:lnTo>
                    <a:pt x="0" y="111928"/>
                  </a:lnTo>
                  <a:lnTo>
                    <a:pt x="23215" y="0"/>
                  </a:lnTo>
                  <a:lnTo>
                    <a:pt x="269457" y="0"/>
                  </a:lnTo>
                  <a:lnTo>
                    <a:pt x="292672" y="111928"/>
                  </a:lnTo>
                  <a:lnTo>
                    <a:pt x="282722" y="198154"/>
                  </a:lnTo>
                  <a:cubicBezTo>
                    <a:pt x="280235" y="213078"/>
                    <a:pt x="267799" y="223857"/>
                    <a:pt x="252875" y="223857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7EF951ED-EC64-4AF0-A201-7AFC5F905AEA}"/>
                </a:ext>
              </a:extLst>
            </p:cNvPr>
            <p:cNvSpPr/>
            <p:nvPr/>
          </p:nvSpPr>
          <p:spPr>
            <a:xfrm>
              <a:off x="3942611" y="2625104"/>
              <a:ext cx="164990" cy="242096"/>
            </a:xfrm>
            <a:custGeom>
              <a:avLst/>
              <a:gdLst>
                <a:gd name="connsiteX0" fmla="*/ 164991 w 164990"/>
                <a:gd name="connsiteY0" fmla="*/ 242097 h 242096"/>
                <a:gd name="connsiteX1" fmla="*/ 150896 w 164990"/>
                <a:gd name="connsiteY1" fmla="*/ 242097 h 242096"/>
                <a:gd name="connsiteX2" fmla="*/ 150896 w 164990"/>
                <a:gd name="connsiteY2" fmla="*/ 130997 h 242096"/>
                <a:gd name="connsiteX3" fmla="*/ 121048 w 164990"/>
                <a:gd name="connsiteY3" fmla="*/ 23215 h 242096"/>
                <a:gd name="connsiteX4" fmla="*/ 77106 w 164990"/>
                <a:gd name="connsiteY4" fmla="*/ 14095 h 242096"/>
                <a:gd name="connsiteX5" fmla="*/ 35651 w 164990"/>
                <a:gd name="connsiteY5" fmla="*/ 23215 h 242096"/>
                <a:gd name="connsiteX6" fmla="*/ 13266 w 164990"/>
                <a:gd name="connsiteY6" fmla="*/ 130997 h 242096"/>
                <a:gd name="connsiteX7" fmla="*/ 13266 w 164990"/>
                <a:gd name="connsiteY7" fmla="*/ 242097 h 242096"/>
                <a:gd name="connsiteX8" fmla="*/ 0 w 164990"/>
                <a:gd name="connsiteY8" fmla="*/ 242097 h 242096"/>
                <a:gd name="connsiteX9" fmla="*/ 0 w 164990"/>
                <a:gd name="connsiteY9" fmla="*/ 128510 h 242096"/>
                <a:gd name="connsiteX10" fmla="*/ 22386 w 164990"/>
                <a:gd name="connsiteY10" fmla="*/ 19069 h 242096"/>
                <a:gd name="connsiteX11" fmla="*/ 76277 w 164990"/>
                <a:gd name="connsiteY11" fmla="*/ 0 h 242096"/>
                <a:gd name="connsiteX12" fmla="*/ 133485 w 164990"/>
                <a:gd name="connsiteY12" fmla="*/ 18240 h 242096"/>
                <a:gd name="connsiteX13" fmla="*/ 133485 w 164990"/>
                <a:gd name="connsiteY13" fmla="*/ 19069 h 242096"/>
                <a:gd name="connsiteX14" fmla="*/ 164161 w 164990"/>
                <a:gd name="connsiteY14" fmla="*/ 129339 h 242096"/>
                <a:gd name="connsiteX15" fmla="*/ 164161 w 164990"/>
                <a:gd name="connsiteY15" fmla="*/ 242097 h 24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4990" h="242096">
                  <a:moveTo>
                    <a:pt x="164991" y="242097"/>
                  </a:moveTo>
                  <a:lnTo>
                    <a:pt x="150896" y="242097"/>
                  </a:lnTo>
                  <a:lnTo>
                    <a:pt x="150896" y="130997"/>
                  </a:lnTo>
                  <a:lnTo>
                    <a:pt x="121048" y="23215"/>
                  </a:lnTo>
                  <a:cubicBezTo>
                    <a:pt x="119390" y="19898"/>
                    <a:pt x="103637" y="14095"/>
                    <a:pt x="77106" y="14095"/>
                  </a:cubicBezTo>
                  <a:cubicBezTo>
                    <a:pt x="50575" y="14095"/>
                    <a:pt x="37309" y="20727"/>
                    <a:pt x="35651" y="23215"/>
                  </a:cubicBezTo>
                  <a:lnTo>
                    <a:pt x="13266" y="130997"/>
                  </a:lnTo>
                  <a:lnTo>
                    <a:pt x="13266" y="242097"/>
                  </a:lnTo>
                  <a:lnTo>
                    <a:pt x="0" y="242097"/>
                  </a:lnTo>
                  <a:lnTo>
                    <a:pt x="0" y="128510"/>
                  </a:lnTo>
                  <a:lnTo>
                    <a:pt x="22386" y="19069"/>
                  </a:lnTo>
                  <a:cubicBezTo>
                    <a:pt x="28189" y="2487"/>
                    <a:pt x="62182" y="829"/>
                    <a:pt x="76277" y="0"/>
                  </a:cubicBezTo>
                  <a:cubicBezTo>
                    <a:pt x="87884" y="0"/>
                    <a:pt x="126852" y="829"/>
                    <a:pt x="133485" y="18240"/>
                  </a:cubicBezTo>
                  <a:lnTo>
                    <a:pt x="133485" y="19069"/>
                  </a:lnTo>
                  <a:lnTo>
                    <a:pt x="164161" y="129339"/>
                  </a:lnTo>
                  <a:lnTo>
                    <a:pt x="164161" y="242097"/>
                  </a:lnTo>
                  <a:close/>
                </a:path>
              </a:pathLst>
            </a:custGeom>
            <a:solidFill>
              <a:srgbClr val="6B331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07F77823-DA3D-4FB5-9053-6C8C6C7F0A5B}"/>
                </a:ext>
              </a:extLst>
            </p:cNvPr>
            <p:cNvSpPr/>
            <p:nvPr/>
          </p:nvSpPr>
          <p:spPr>
            <a:xfrm>
              <a:off x="3936807" y="2743665"/>
              <a:ext cx="26531" cy="41454"/>
            </a:xfrm>
            <a:custGeom>
              <a:avLst/>
              <a:gdLst>
                <a:gd name="connsiteX0" fmla="*/ 0 w 26531"/>
                <a:gd name="connsiteY0" fmla="*/ 0 h 41454"/>
                <a:gd name="connsiteX1" fmla="*/ 26531 w 26531"/>
                <a:gd name="connsiteY1" fmla="*/ 0 h 41454"/>
                <a:gd name="connsiteX2" fmla="*/ 26531 w 26531"/>
                <a:gd name="connsiteY2" fmla="*/ 41455 h 41454"/>
                <a:gd name="connsiteX3" fmla="*/ 0 w 26531"/>
                <a:gd name="connsiteY3" fmla="*/ 41455 h 4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1" h="41454">
                  <a:moveTo>
                    <a:pt x="0" y="0"/>
                  </a:moveTo>
                  <a:lnTo>
                    <a:pt x="26531" y="0"/>
                  </a:lnTo>
                  <a:lnTo>
                    <a:pt x="26531" y="41455"/>
                  </a:lnTo>
                  <a:lnTo>
                    <a:pt x="0" y="41455"/>
                  </a:ln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3031D19-541C-4B62-909F-E6E83F09F4B7}"/>
                </a:ext>
              </a:extLst>
            </p:cNvPr>
            <p:cNvSpPr/>
            <p:nvPr/>
          </p:nvSpPr>
          <p:spPr>
            <a:xfrm>
              <a:off x="4086874" y="2743665"/>
              <a:ext cx="26531" cy="41454"/>
            </a:xfrm>
            <a:custGeom>
              <a:avLst/>
              <a:gdLst>
                <a:gd name="connsiteX0" fmla="*/ 0 w 26531"/>
                <a:gd name="connsiteY0" fmla="*/ 0 h 41454"/>
                <a:gd name="connsiteX1" fmla="*/ 26531 w 26531"/>
                <a:gd name="connsiteY1" fmla="*/ 0 h 41454"/>
                <a:gd name="connsiteX2" fmla="*/ 26531 w 26531"/>
                <a:gd name="connsiteY2" fmla="*/ 41455 h 41454"/>
                <a:gd name="connsiteX3" fmla="*/ 0 w 26531"/>
                <a:gd name="connsiteY3" fmla="*/ 41455 h 4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1" h="41454">
                  <a:moveTo>
                    <a:pt x="0" y="0"/>
                  </a:moveTo>
                  <a:lnTo>
                    <a:pt x="26531" y="0"/>
                  </a:lnTo>
                  <a:lnTo>
                    <a:pt x="26531" y="41455"/>
                  </a:lnTo>
                  <a:lnTo>
                    <a:pt x="0" y="41455"/>
                  </a:ln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8" name="Graphic 80">
            <a:extLst>
              <a:ext uri="{FF2B5EF4-FFF2-40B4-BE49-F238E27FC236}">
                <a16:creationId xmlns:a16="http://schemas.microsoft.com/office/drawing/2014/main" id="{4C5A3424-2BF7-4C74-8AED-F281B6F5A4CB}"/>
              </a:ext>
            </a:extLst>
          </p:cNvPr>
          <p:cNvGrpSpPr/>
          <p:nvPr/>
        </p:nvGrpSpPr>
        <p:grpSpPr>
          <a:xfrm>
            <a:off x="1482730" y="3585593"/>
            <a:ext cx="250342" cy="321055"/>
            <a:chOff x="1520814" y="3623338"/>
            <a:chExt cx="255362" cy="327493"/>
          </a:xfrm>
          <a:solidFill>
            <a:schemeClr val="accent1"/>
          </a:solidFill>
        </p:grpSpPr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FC7B9029-98A6-462B-A532-1B518875E0FC}"/>
                </a:ext>
              </a:extLst>
            </p:cNvPr>
            <p:cNvSpPr/>
            <p:nvPr/>
          </p:nvSpPr>
          <p:spPr>
            <a:xfrm>
              <a:off x="1520814" y="3771747"/>
              <a:ext cx="255362" cy="179085"/>
            </a:xfrm>
            <a:custGeom>
              <a:avLst/>
              <a:gdLst>
                <a:gd name="connsiteX0" fmla="*/ 198984 w 255362"/>
                <a:gd name="connsiteY0" fmla="*/ 179085 h 179085"/>
                <a:gd name="connsiteX1" fmla="*/ 56379 w 255362"/>
                <a:gd name="connsiteY1" fmla="*/ 179085 h 179085"/>
                <a:gd name="connsiteX2" fmla="*/ 17411 w 255362"/>
                <a:gd name="connsiteY2" fmla="*/ 144263 h 179085"/>
                <a:gd name="connsiteX3" fmla="*/ 0 w 255362"/>
                <a:gd name="connsiteY3" fmla="*/ 0 h 179085"/>
                <a:gd name="connsiteX4" fmla="*/ 255362 w 255362"/>
                <a:gd name="connsiteY4" fmla="*/ 0 h 179085"/>
                <a:gd name="connsiteX5" fmla="*/ 237951 w 255362"/>
                <a:gd name="connsiteY5" fmla="*/ 144263 h 179085"/>
                <a:gd name="connsiteX6" fmla="*/ 198984 w 255362"/>
                <a:gd name="connsiteY6" fmla="*/ 179085 h 1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362" h="179085">
                  <a:moveTo>
                    <a:pt x="198984" y="179085"/>
                  </a:moveTo>
                  <a:lnTo>
                    <a:pt x="56379" y="179085"/>
                  </a:lnTo>
                  <a:cubicBezTo>
                    <a:pt x="36480" y="179085"/>
                    <a:pt x="19898" y="164162"/>
                    <a:pt x="17411" y="144263"/>
                  </a:cubicBezTo>
                  <a:lnTo>
                    <a:pt x="0" y="0"/>
                  </a:lnTo>
                  <a:lnTo>
                    <a:pt x="255362" y="0"/>
                  </a:lnTo>
                  <a:lnTo>
                    <a:pt x="237951" y="144263"/>
                  </a:lnTo>
                  <a:cubicBezTo>
                    <a:pt x="235464" y="164162"/>
                    <a:pt x="218882" y="179085"/>
                    <a:pt x="198984" y="179085"/>
                  </a:cubicBezTo>
                  <a:close/>
                </a:path>
              </a:pathLst>
            </a:custGeom>
            <a:solidFill>
              <a:srgbClr val="7F220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5A26893C-F531-478F-8656-EEB9F53484A2}"/>
                </a:ext>
              </a:extLst>
            </p:cNvPr>
            <p:cNvSpPr/>
            <p:nvPr/>
          </p:nvSpPr>
          <p:spPr>
            <a:xfrm>
              <a:off x="1583826" y="3623338"/>
              <a:ext cx="131826" cy="238780"/>
            </a:xfrm>
            <a:custGeom>
              <a:avLst/>
              <a:gdLst>
                <a:gd name="connsiteX0" fmla="*/ 131827 w 131826"/>
                <a:gd name="connsiteY0" fmla="*/ 237951 h 238780"/>
                <a:gd name="connsiteX1" fmla="*/ 120219 w 131826"/>
                <a:gd name="connsiteY1" fmla="*/ 237951 h 238780"/>
                <a:gd name="connsiteX2" fmla="*/ 120219 w 131826"/>
                <a:gd name="connsiteY2" fmla="*/ 149238 h 238780"/>
                <a:gd name="connsiteX3" fmla="*/ 77106 w 131826"/>
                <a:gd name="connsiteY3" fmla="*/ 17411 h 238780"/>
                <a:gd name="connsiteX4" fmla="*/ 63841 w 131826"/>
                <a:gd name="connsiteY4" fmla="*/ 10778 h 238780"/>
                <a:gd name="connsiteX5" fmla="*/ 51404 w 131826"/>
                <a:gd name="connsiteY5" fmla="*/ 18240 h 238780"/>
                <a:gd name="connsiteX6" fmla="*/ 10778 w 131826"/>
                <a:gd name="connsiteY6" fmla="*/ 150067 h 238780"/>
                <a:gd name="connsiteX7" fmla="*/ 10778 w 131826"/>
                <a:gd name="connsiteY7" fmla="*/ 238780 h 238780"/>
                <a:gd name="connsiteX8" fmla="*/ 0 w 131826"/>
                <a:gd name="connsiteY8" fmla="*/ 238780 h 238780"/>
                <a:gd name="connsiteX9" fmla="*/ 0 w 131826"/>
                <a:gd name="connsiteY9" fmla="*/ 148409 h 238780"/>
                <a:gd name="connsiteX10" fmla="*/ 40626 w 131826"/>
                <a:gd name="connsiteY10" fmla="*/ 14924 h 238780"/>
                <a:gd name="connsiteX11" fmla="*/ 63841 w 131826"/>
                <a:gd name="connsiteY11" fmla="*/ 0 h 238780"/>
                <a:gd name="connsiteX12" fmla="*/ 87055 w 131826"/>
                <a:gd name="connsiteY12" fmla="*/ 14924 h 238780"/>
                <a:gd name="connsiteX13" fmla="*/ 130998 w 131826"/>
                <a:gd name="connsiteY13" fmla="*/ 149238 h 238780"/>
                <a:gd name="connsiteX14" fmla="*/ 130998 w 131826"/>
                <a:gd name="connsiteY14" fmla="*/ 237951 h 23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1826" h="238780">
                  <a:moveTo>
                    <a:pt x="131827" y="237951"/>
                  </a:moveTo>
                  <a:lnTo>
                    <a:pt x="120219" y="237951"/>
                  </a:lnTo>
                  <a:lnTo>
                    <a:pt x="120219" y="149238"/>
                  </a:lnTo>
                  <a:lnTo>
                    <a:pt x="77106" y="17411"/>
                  </a:lnTo>
                  <a:cubicBezTo>
                    <a:pt x="75448" y="12436"/>
                    <a:pt x="68815" y="9949"/>
                    <a:pt x="63841" y="10778"/>
                  </a:cubicBezTo>
                  <a:cubicBezTo>
                    <a:pt x="58866" y="10778"/>
                    <a:pt x="53062" y="12436"/>
                    <a:pt x="51404" y="18240"/>
                  </a:cubicBezTo>
                  <a:lnTo>
                    <a:pt x="10778" y="150067"/>
                  </a:lnTo>
                  <a:lnTo>
                    <a:pt x="10778" y="238780"/>
                  </a:lnTo>
                  <a:lnTo>
                    <a:pt x="0" y="238780"/>
                  </a:lnTo>
                  <a:lnTo>
                    <a:pt x="0" y="148409"/>
                  </a:lnTo>
                  <a:lnTo>
                    <a:pt x="40626" y="14924"/>
                  </a:lnTo>
                  <a:cubicBezTo>
                    <a:pt x="43942" y="5804"/>
                    <a:pt x="53062" y="0"/>
                    <a:pt x="63841" y="0"/>
                  </a:cubicBezTo>
                  <a:cubicBezTo>
                    <a:pt x="74619" y="0"/>
                    <a:pt x="83739" y="5804"/>
                    <a:pt x="87055" y="14924"/>
                  </a:cubicBezTo>
                  <a:lnTo>
                    <a:pt x="130998" y="149238"/>
                  </a:lnTo>
                  <a:lnTo>
                    <a:pt x="130998" y="237951"/>
                  </a:lnTo>
                  <a:close/>
                </a:path>
              </a:pathLst>
            </a:custGeom>
            <a:solidFill>
              <a:srgbClr val="FF745C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2BF08197-E183-4476-9152-AF4F2491E611}"/>
                </a:ext>
              </a:extLst>
            </p:cNvPr>
            <p:cNvSpPr/>
            <p:nvPr/>
          </p:nvSpPr>
          <p:spPr>
            <a:xfrm>
              <a:off x="1579680" y="3762627"/>
              <a:ext cx="21556" cy="33163"/>
            </a:xfrm>
            <a:custGeom>
              <a:avLst/>
              <a:gdLst>
                <a:gd name="connsiteX0" fmla="*/ 0 w 21556"/>
                <a:gd name="connsiteY0" fmla="*/ 0 h 33163"/>
                <a:gd name="connsiteX1" fmla="*/ 21557 w 21556"/>
                <a:gd name="connsiteY1" fmla="*/ 0 h 33163"/>
                <a:gd name="connsiteX2" fmla="*/ 21557 w 21556"/>
                <a:gd name="connsiteY2" fmla="*/ 33164 h 33163"/>
                <a:gd name="connsiteX3" fmla="*/ 0 w 21556"/>
                <a:gd name="connsiteY3" fmla="*/ 33164 h 3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56" h="33163">
                  <a:moveTo>
                    <a:pt x="0" y="0"/>
                  </a:moveTo>
                  <a:lnTo>
                    <a:pt x="21557" y="0"/>
                  </a:lnTo>
                  <a:lnTo>
                    <a:pt x="21557" y="33164"/>
                  </a:lnTo>
                  <a:lnTo>
                    <a:pt x="0" y="33164"/>
                  </a:ln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723957E7-8EDE-4322-9FBF-9EC2E6417DCC}"/>
                </a:ext>
              </a:extLst>
            </p:cNvPr>
            <p:cNvSpPr/>
            <p:nvPr/>
          </p:nvSpPr>
          <p:spPr>
            <a:xfrm>
              <a:off x="1699071" y="3762627"/>
              <a:ext cx="21556" cy="33163"/>
            </a:xfrm>
            <a:custGeom>
              <a:avLst/>
              <a:gdLst>
                <a:gd name="connsiteX0" fmla="*/ 0 w 21556"/>
                <a:gd name="connsiteY0" fmla="*/ 0 h 33163"/>
                <a:gd name="connsiteX1" fmla="*/ 21557 w 21556"/>
                <a:gd name="connsiteY1" fmla="*/ 0 h 33163"/>
                <a:gd name="connsiteX2" fmla="*/ 21557 w 21556"/>
                <a:gd name="connsiteY2" fmla="*/ 33164 h 33163"/>
                <a:gd name="connsiteX3" fmla="*/ 0 w 21556"/>
                <a:gd name="connsiteY3" fmla="*/ 33164 h 3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56" h="33163">
                  <a:moveTo>
                    <a:pt x="0" y="0"/>
                  </a:moveTo>
                  <a:lnTo>
                    <a:pt x="21557" y="0"/>
                  </a:lnTo>
                  <a:lnTo>
                    <a:pt x="21557" y="33164"/>
                  </a:lnTo>
                  <a:lnTo>
                    <a:pt x="0" y="33164"/>
                  </a:ln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9" name="Graphic 80">
            <a:extLst>
              <a:ext uri="{FF2B5EF4-FFF2-40B4-BE49-F238E27FC236}">
                <a16:creationId xmlns:a16="http://schemas.microsoft.com/office/drawing/2014/main" id="{DD88D5EF-9A17-4EB3-AFFC-75D697DCEFC0}"/>
              </a:ext>
            </a:extLst>
          </p:cNvPr>
          <p:cNvGrpSpPr/>
          <p:nvPr/>
        </p:nvGrpSpPr>
        <p:grpSpPr>
          <a:xfrm>
            <a:off x="10907960" y="2967865"/>
            <a:ext cx="204012" cy="261721"/>
            <a:chOff x="11135039" y="2993224"/>
            <a:chExt cx="208103" cy="266969"/>
          </a:xfrm>
          <a:solidFill>
            <a:schemeClr val="accent1"/>
          </a:solidFill>
        </p:grpSpPr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CC2C4AA7-DF28-4BDE-95A6-06B79D6631AB}"/>
                </a:ext>
              </a:extLst>
            </p:cNvPr>
            <p:cNvSpPr/>
            <p:nvPr/>
          </p:nvSpPr>
          <p:spPr>
            <a:xfrm>
              <a:off x="11135039" y="3115101"/>
              <a:ext cx="208103" cy="145092"/>
            </a:xfrm>
            <a:custGeom>
              <a:avLst/>
              <a:gdLst>
                <a:gd name="connsiteX0" fmla="*/ 174111 w 208103"/>
                <a:gd name="connsiteY0" fmla="*/ 145092 h 145092"/>
                <a:gd name="connsiteX1" fmla="*/ 34822 w 208103"/>
                <a:gd name="connsiteY1" fmla="*/ 145092 h 145092"/>
                <a:gd name="connsiteX2" fmla="*/ 15753 w 208103"/>
                <a:gd name="connsiteY2" fmla="*/ 128510 h 145092"/>
                <a:gd name="connsiteX3" fmla="*/ 0 w 208103"/>
                <a:gd name="connsiteY3" fmla="*/ 0 h 145092"/>
                <a:gd name="connsiteX4" fmla="*/ 208103 w 208103"/>
                <a:gd name="connsiteY4" fmla="*/ 0 h 145092"/>
                <a:gd name="connsiteX5" fmla="*/ 192350 w 208103"/>
                <a:gd name="connsiteY5" fmla="*/ 128510 h 145092"/>
                <a:gd name="connsiteX6" fmla="*/ 174111 w 208103"/>
                <a:gd name="connsiteY6" fmla="*/ 145092 h 145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8103" h="145092">
                  <a:moveTo>
                    <a:pt x="174111" y="145092"/>
                  </a:moveTo>
                  <a:lnTo>
                    <a:pt x="34822" y="145092"/>
                  </a:lnTo>
                  <a:cubicBezTo>
                    <a:pt x="24873" y="145092"/>
                    <a:pt x="16582" y="137630"/>
                    <a:pt x="15753" y="128510"/>
                  </a:cubicBezTo>
                  <a:lnTo>
                    <a:pt x="0" y="0"/>
                  </a:lnTo>
                  <a:lnTo>
                    <a:pt x="208103" y="0"/>
                  </a:lnTo>
                  <a:lnTo>
                    <a:pt x="192350" y="128510"/>
                  </a:lnTo>
                  <a:cubicBezTo>
                    <a:pt x="191522" y="138459"/>
                    <a:pt x="184059" y="145092"/>
                    <a:pt x="174111" y="145092"/>
                  </a:cubicBezTo>
                  <a:close/>
                </a:path>
              </a:pathLst>
            </a:custGeom>
            <a:solidFill>
              <a:schemeClr val="tx2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6C4C8BCA-5C67-487C-9716-4EE8760525F8}"/>
                </a:ext>
              </a:extLst>
            </p:cNvPr>
            <p:cNvSpPr/>
            <p:nvPr/>
          </p:nvSpPr>
          <p:spPr>
            <a:xfrm>
              <a:off x="11186442" y="2993224"/>
              <a:ext cx="107782" cy="194838"/>
            </a:xfrm>
            <a:custGeom>
              <a:avLst/>
              <a:gdLst>
                <a:gd name="connsiteX0" fmla="*/ 107783 w 107782"/>
                <a:gd name="connsiteY0" fmla="*/ 194838 h 194838"/>
                <a:gd name="connsiteX1" fmla="*/ 98663 w 107782"/>
                <a:gd name="connsiteY1" fmla="*/ 194838 h 194838"/>
                <a:gd name="connsiteX2" fmla="*/ 98663 w 107782"/>
                <a:gd name="connsiteY2" fmla="*/ 122707 h 194838"/>
                <a:gd name="connsiteX3" fmla="*/ 63012 w 107782"/>
                <a:gd name="connsiteY3" fmla="*/ 14924 h 194838"/>
                <a:gd name="connsiteX4" fmla="*/ 52234 w 107782"/>
                <a:gd name="connsiteY4" fmla="*/ 9120 h 194838"/>
                <a:gd name="connsiteX5" fmla="*/ 42285 w 107782"/>
                <a:gd name="connsiteY5" fmla="*/ 14924 h 194838"/>
                <a:gd name="connsiteX6" fmla="*/ 9121 w 107782"/>
                <a:gd name="connsiteY6" fmla="*/ 121878 h 194838"/>
                <a:gd name="connsiteX7" fmla="*/ 9121 w 107782"/>
                <a:gd name="connsiteY7" fmla="*/ 194009 h 194838"/>
                <a:gd name="connsiteX8" fmla="*/ 0 w 107782"/>
                <a:gd name="connsiteY8" fmla="*/ 194009 h 194838"/>
                <a:gd name="connsiteX9" fmla="*/ 0 w 107782"/>
                <a:gd name="connsiteY9" fmla="*/ 121048 h 194838"/>
                <a:gd name="connsiteX10" fmla="*/ 33164 w 107782"/>
                <a:gd name="connsiteY10" fmla="*/ 12436 h 194838"/>
                <a:gd name="connsiteX11" fmla="*/ 52234 w 107782"/>
                <a:gd name="connsiteY11" fmla="*/ 0 h 194838"/>
                <a:gd name="connsiteX12" fmla="*/ 52234 w 107782"/>
                <a:gd name="connsiteY12" fmla="*/ 0 h 194838"/>
                <a:gd name="connsiteX13" fmla="*/ 71303 w 107782"/>
                <a:gd name="connsiteY13" fmla="*/ 11607 h 194838"/>
                <a:gd name="connsiteX14" fmla="*/ 106954 w 107782"/>
                <a:gd name="connsiteY14" fmla="*/ 121048 h 194838"/>
                <a:gd name="connsiteX15" fmla="*/ 106954 w 107782"/>
                <a:gd name="connsiteY15" fmla="*/ 194838 h 19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7782" h="194838">
                  <a:moveTo>
                    <a:pt x="107783" y="194838"/>
                  </a:moveTo>
                  <a:lnTo>
                    <a:pt x="98663" y="194838"/>
                  </a:lnTo>
                  <a:lnTo>
                    <a:pt x="98663" y="122707"/>
                  </a:lnTo>
                  <a:lnTo>
                    <a:pt x="63012" y="14924"/>
                  </a:lnTo>
                  <a:cubicBezTo>
                    <a:pt x="61353" y="10778"/>
                    <a:pt x="56379" y="9120"/>
                    <a:pt x="52234" y="9120"/>
                  </a:cubicBezTo>
                  <a:cubicBezTo>
                    <a:pt x="48088" y="9120"/>
                    <a:pt x="43114" y="10778"/>
                    <a:pt x="42285" y="14924"/>
                  </a:cubicBezTo>
                  <a:lnTo>
                    <a:pt x="9121" y="121878"/>
                  </a:lnTo>
                  <a:lnTo>
                    <a:pt x="9121" y="194009"/>
                  </a:lnTo>
                  <a:lnTo>
                    <a:pt x="0" y="194009"/>
                  </a:lnTo>
                  <a:lnTo>
                    <a:pt x="0" y="121048"/>
                  </a:lnTo>
                  <a:lnTo>
                    <a:pt x="33164" y="12436"/>
                  </a:lnTo>
                  <a:cubicBezTo>
                    <a:pt x="35652" y="4975"/>
                    <a:pt x="43114" y="0"/>
                    <a:pt x="52234" y="0"/>
                  </a:cubicBezTo>
                  <a:cubicBezTo>
                    <a:pt x="52234" y="0"/>
                    <a:pt x="52234" y="0"/>
                    <a:pt x="52234" y="0"/>
                  </a:cubicBezTo>
                  <a:cubicBezTo>
                    <a:pt x="61353" y="0"/>
                    <a:pt x="68816" y="4975"/>
                    <a:pt x="71303" y="11607"/>
                  </a:cubicBezTo>
                  <a:lnTo>
                    <a:pt x="106954" y="121048"/>
                  </a:lnTo>
                  <a:lnTo>
                    <a:pt x="106954" y="194838"/>
                  </a:lnTo>
                  <a:close/>
                </a:path>
              </a:pathLst>
            </a:custGeom>
            <a:solidFill>
              <a:srgbClr val="6B331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78E19875-4387-4ECC-B1F7-C307AA1E8FC8}"/>
                </a:ext>
              </a:extLst>
            </p:cNvPr>
            <p:cNvSpPr/>
            <p:nvPr/>
          </p:nvSpPr>
          <p:spPr>
            <a:xfrm>
              <a:off x="11183126" y="3106810"/>
              <a:ext cx="17411" cy="26531"/>
            </a:xfrm>
            <a:custGeom>
              <a:avLst/>
              <a:gdLst>
                <a:gd name="connsiteX0" fmla="*/ 0 w 17411"/>
                <a:gd name="connsiteY0" fmla="*/ 0 h 26531"/>
                <a:gd name="connsiteX1" fmla="*/ 17411 w 17411"/>
                <a:gd name="connsiteY1" fmla="*/ 0 h 26531"/>
                <a:gd name="connsiteX2" fmla="*/ 17411 w 17411"/>
                <a:gd name="connsiteY2" fmla="*/ 26531 h 26531"/>
                <a:gd name="connsiteX3" fmla="*/ 0 w 17411"/>
                <a:gd name="connsiteY3" fmla="*/ 26531 h 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" h="26531">
                  <a:moveTo>
                    <a:pt x="0" y="0"/>
                  </a:moveTo>
                  <a:lnTo>
                    <a:pt x="17411" y="0"/>
                  </a:lnTo>
                  <a:lnTo>
                    <a:pt x="17411" y="26531"/>
                  </a:lnTo>
                  <a:lnTo>
                    <a:pt x="0" y="26531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183F0762-43CA-4830-A5BF-D6155864A3B1}"/>
                </a:ext>
              </a:extLst>
            </p:cNvPr>
            <p:cNvSpPr/>
            <p:nvPr/>
          </p:nvSpPr>
          <p:spPr>
            <a:xfrm>
              <a:off x="11280960" y="3106810"/>
              <a:ext cx="17411" cy="26531"/>
            </a:xfrm>
            <a:custGeom>
              <a:avLst/>
              <a:gdLst>
                <a:gd name="connsiteX0" fmla="*/ 0 w 17411"/>
                <a:gd name="connsiteY0" fmla="*/ 0 h 26531"/>
                <a:gd name="connsiteX1" fmla="*/ 17411 w 17411"/>
                <a:gd name="connsiteY1" fmla="*/ 0 h 26531"/>
                <a:gd name="connsiteX2" fmla="*/ 17411 w 17411"/>
                <a:gd name="connsiteY2" fmla="*/ 26531 h 26531"/>
                <a:gd name="connsiteX3" fmla="*/ 0 w 17411"/>
                <a:gd name="connsiteY3" fmla="*/ 26531 h 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" h="26531">
                  <a:moveTo>
                    <a:pt x="0" y="0"/>
                  </a:moveTo>
                  <a:lnTo>
                    <a:pt x="17411" y="0"/>
                  </a:lnTo>
                  <a:lnTo>
                    <a:pt x="17411" y="26531"/>
                  </a:lnTo>
                  <a:lnTo>
                    <a:pt x="0" y="26531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0" name="Graphic 80">
            <a:extLst>
              <a:ext uri="{FF2B5EF4-FFF2-40B4-BE49-F238E27FC236}">
                <a16:creationId xmlns:a16="http://schemas.microsoft.com/office/drawing/2014/main" id="{F635EACC-CAD3-42F3-A747-79ED75188112}"/>
              </a:ext>
            </a:extLst>
          </p:cNvPr>
          <p:cNvGrpSpPr/>
          <p:nvPr/>
        </p:nvGrpSpPr>
        <p:grpSpPr>
          <a:xfrm>
            <a:off x="10722676" y="2203832"/>
            <a:ext cx="346995" cy="349504"/>
            <a:chOff x="10946040" y="2213871"/>
            <a:chExt cx="353953" cy="356512"/>
          </a:xfrm>
          <a:solidFill>
            <a:schemeClr val="accent1"/>
          </a:solidFill>
        </p:grpSpPr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CCBFDC99-5ED8-4067-AAB6-3532855FA10D}"/>
                </a:ext>
              </a:extLst>
            </p:cNvPr>
            <p:cNvSpPr/>
            <p:nvPr/>
          </p:nvSpPr>
          <p:spPr>
            <a:xfrm>
              <a:off x="10946040" y="2320825"/>
              <a:ext cx="353953" cy="249558"/>
            </a:xfrm>
            <a:custGeom>
              <a:avLst/>
              <a:gdLst>
                <a:gd name="connsiteX0" fmla="*/ 314192 w 353953"/>
                <a:gd name="connsiteY0" fmla="*/ 249559 h 249558"/>
                <a:gd name="connsiteX1" fmla="*/ 39761 w 353953"/>
                <a:gd name="connsiteY1" fmla="*/ 249559 h 249558"/>
                <a:gd name="connsiteX2" fmla="*/ 794 w 353953"/>
                <a:gd name="connsiteY2" fmla="*/ 202300 h 249558"/>
                <a:gd name="connsiteX3" fmla="*/ 32299 w 353953"/>
                <a:gd name="connsiteY3" fmla="*/ 32335 h 249558"/>
                <a:gd name="connsiteX4" fmla="*/ 71267 w 353953"/>
                <a:gd name="connsiteY4" fmla="*/ 0 h 249558"/>
                <a:gd name="connsiteX5" fmla="*/ 282687 w 353953"/>
                <a:gd name="connsiteY5" fmla="*/ 0 h 249558"/>
                <a:gd name="connsiteX6" fmla="*/ 321654 w 353953"/>
                <a:gd name="connsiteY6" fmla="*/ 32335 h 249558"/>
                <a:gd name="connsiteX7" fmla="*/ 353160 w 353953"/>
                <a:gd name="connsiteY7" fmla="*/ 202300 h 249558"/>
                <a:gd name="connsiteX8" fmla="*/ 314192 w 353953"/>
                <a:gd name="connsiteY8" fmla="*/ 249559 h 24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953" h="249558">
                  <a:moveTo>
                    <a:pt x="314192" y="249559"/>
                  </a:moveTo>
                  <a:lnTo>
                    <a:pt x="39761" y="249559"/>
                  </a:lnTo>
                  <a:cubicBezTo>
                    <a:pt x="14888" y="249559"/>
                    <a:pt x="-4182" y="227173"/>
                    <a:pt x="794" y="202300"/>
                  </a:cubicBezTo>
                  <a:lnTo>
                    <a:pt x="32299" y="32335"/>
                  </a:lnTo>
                  <a:cubicBezTo>
                    <a:pt x="35615" y="13266"/>
                    <a:pt x="52197" y="0"/>
                    <a:pt x="71267" y="0"/>
                  </a:cubicBezTo>
                  <a:lnTo>
                    <a:pt x="282687" y="0"/>
                  </a:lnTo>
                  <a:cubicBezTo>
                    <a:pt x="301756" y="0"/>
                    <a:pt x="318338" y="13266"/>
                    <a:pt x="321654" y="32335"/>
                  </a:cubicBezTo>
                  <a:lnTo>
                    <a:pt x="353160" y="202300"/>
                  </a:lnTo>
                  <a:cubicBezTo>
                    <a:pt x="358135" y="227173"/>
                    <a:pt x="339065" y="249559"/>
                    <a:pt x="314192" y="24955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01140BFB-68AA-4B3B-9EF1-71FBF0B0F06F}"/>
                </a:ext>
              </a:extLst>
            </p:cNvPr>
            <p:cNvSpPr/>
            <p:nvPr/>
          </p:nvSpPr>
          <p:spPr>
            <a:xfrm>
              <a:off x="11037205" y="2213871"/>
              <a:ext cx="175769" cy="145092"/>
            </a:xfrm>
            <a:custGeom>
              <a:avLst/>
              <a:gdLst>
                <a:gd name="connsiteX0" fmla="*/ 175769 w 175769"/>
                <a:gd name="connsiteY0" fmla="*/ 145092 h 145092"/>
                <a:gd name="connsiteX1" fmla="*/ 155042 w 175769"/>
                <a:gd name="connsiteY1" fmla="*/ 145092 h 145092"/>
                <a:gd name="connsiteX2" fmla="*/ 155042 w 175769"/>
                <a:gd name="connsiteY2" fmla="*/ 74619 h 145092"/>
                <a:gd name="connsiteX3" fmla="*/ 101151 w 175769"/>
                <a:gd name="connsiteY3" fmla="*/ 20727 h 145092"/>
                <a:gd name="connsiteX4" fmla="*/ 74619 w 175769"/>
                <a:gd name="connsiteY4" fmla="*/ 20727 h 145092"/>
                <a:gd name="connsiteX5" fmla="*/ 20727 w 175769"/>
                <a:gd name="connsiteY5" fmla="*/ 74619 h 145092"/>
                <a:gd name="connsiteX6" fmla="*/ 20727 w 175769"/>
                <a:gd name="connsiteY6" fmla="*/ 145092 h 145092"/>
                <a:gd name="connsiteX7" fmla="*/ 0 w 175769"/>
                <a:gd name="connsiteY7" fmla="*/ 145092 h 145092"/>
                <a:gd name="connsiteX8" fmla="*/ 0 w 175769"/>
                <a:gd name="connsiteY8" fmla="*/ 74619 h 145092"/>
                <a:gd name="connsiteX9" fmla="*/ 74619 w 175769"/>
                <a:gd name="connsiteY9" fmla="*/ 0 h 145092"/>
                <a:gd name="connsiteX10" fmla="*/ 101151 w 175769"/>
                <a:gd name="connsiteY10" fmla="*/ 0 h 145092"/>
                <a:gd name="connsiteX11" fmla="*/ 175769 w 175769"/>
                <a:gd name="connsiteY11" fmla="*/ 74619 h 145092"/>
                <a:gd name="connsiteX12" fmla="*/ 175769 w 175769"/>
                <a:gd name="connsiteY12" fmla="*/ 145092 h 145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5769" h="145092">
                  <a:moveTo>
                    <a:pt x="175769" y="145092"/>
                  </a:moveTo>
                  <a:lnTo>
                    <a:pt x="155042" y="145092"/>
                  </a:lnTo>
                  <a:lnTo>
                    <a:pt x="155042" y="74619"/>
                  </a:lnTo>
                  <a:cubicBezTo>
                    <a:pt x="155042" y="44771"/>
                    <a:pt x="130998" y="20727"/>
                    <a:pt x="101151" y="20727"/>
                  </a:cubicBezTo>
                  <a:lnTo>
                    <a:pt x="74619" y="20727"/>
                  </a:lnTo>
                  <a:cubicBezTo>
                    <a:pt x="44772" y="20727"/>
                    <a:pt x="20727" y="44771"/>
                    <a:pt x="20727" y="74619"/>
                  </a:cubicBezTo>
                  <a:lnTo>
                    <a:pt x="20727" y="145092"/>
                  </a:lnTo>
                  <a:lnTo>
                    <a:pt x="0" y="145092"/>
                  </a:lnTo>
                  <a:lnTo>
                    <a:pt x="0" y="74619"/>
                  </a:lnTo>
                  <a:cubicBezTo>
                    <a:pt x="0" y="33164"/>
                    <a:pt x="33164" y="0"/>
                    <a:pt x="74619" y="0"/>
                  </a:cubicBezTo>
                  <a:lnTo>
                    <a:pt x="101151" y="0"/>
                  </a:lnTo>
                  <a:cubicBezTo>
                    <a:pt x="142606" y="0"/>
                    <a:pt x="175769" y="33164"/>
                    <a:pt x="175769" y="74619"/>
                  </a:cubicBezTo>
                  <a:lnTo>
                    <a:pt x="175769" y="145092"/>
                  </a:lnTo>
                  <a:close/>
                </a:path>
              </a:pathLst>
            </a:custGeom>
            <a:solidFill>
              <a:srgbClr val="000000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C3CF4D5D-8C26-4252-A815-A2F3A983D822}"/>
                </a:ext>
              </a:extLst>
            </p:cNvPr>
            <p:cNvSpPr/>
            <p:nvPr/>
          </p:nvSpPr>
          <p:spPr>
            <a:xfrm>
              <a:off x="11186442" y="2339065"/>
              <a:ext cx="32335" cy="37309"/>
            </a:xfrm>
            <a:custGeom>
              <a:avLst/>
              <a:gdLst>
                <a:gd name="connsiteX0" fmla="*/ 15753 w 32335"/>
                <a:gd name="connsiteY0" fmla="*/ 37309 h 37309"/>
                <a:gd name="connsiteX1" fmla="*/ 15753 w 32335"/>
                <a:gd name="connsiteY1" fmla="*/ 37309 h 37309"/>
                <a:gd name="connsiteX2" fmla="*/ 0 w 32335"/>
                <a:gd name="connsiteY2" fmla="*/ 21557 h 37309"/>
                <a:gd name="connsiteX3" fmla="*/ 0 w 32335"/>
                <a:gd name="connsiteY3" fmla="*/ 0 h 37309"/>
                <a:gd name="connsiteX4" fmla="*/ 32335 w 32335"/>
                <a:gd name="connsiteY4" fmla="*/ 0 h 37309"/>
                <a:gd name="connsiteX5" fmla="*/ 32335 w 32335"/>
                <a:gd name="connsiteY5" fmla="*/ 21557 h 37309"/>
                <a:gd name="connsiteX6" fmla="*/ 15753 w 32335"/>
                <a:gd name="connsiteY6" fmla="*/ 37309 h 3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35" h="37309">
                  <a:moveTo>
                    <a:pt x="15753" y="37309"/>
                  </a:moveTo>
                  <a:lnTo>
                    <a:pt x="15753" y="37309"/>
                  </a:lnTo>
                  <a:cubicBezTo>
                    <a:pt x="6633" y="37309"/>
                    <a:pt x="0" y="29848"/>
                    <a:pt x="0" y="21557"/>
                  </a:cubicBezTo>
                  <a:lnTo>
                    <a:pt x="0" y="0"/>
                  </a:lnTo>
                  <a:lnTo>
                    <a:pt x="32335" y="0"/>
                  </a:lnTo>
                  <a:lnTo>
                    <a:pt x="32335" y="21557"/>
                  </a:lnTo>
                  <a:cubicBezTo>
                    <a:pt x="31506" y="29848"/>
                    <a:pt x="24873" y="37309"/>
                    <a:pt x="15753" y="37309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A33D851F-6EAF-4BDB-87C2-38E4C6F9677A}"/>
                </a:ext>
              </a:extLst>
            </p:cNvPr>
            <p:cNvSpPr/>
            <p:nvPr/>
          </p:nvSpPr>
          <p:spPr>
            <a:xfrm>
              <a:off x="11031401" y="2339065"/>
              <a:ext cx="32335" cy="37309"/>
            </a:xfrm>
            <a:custGeom>
              <a:avLst/>
              <a:gdLst>
                <a:gd name="connsiteX0" fmla="*/ 15753 w 32335"/>
                <a:gd name="connsiteY0" fmla="*/ 37309 h 37309"/>
                <a:gd name="connsiteX1" fmla="*/ 15753 w 32335"/>
                <a:gd name="connsiteY1" fmla="*/ 37309 h 37309"/>
                <a:gd name="connsiteX2" fmla="*/ 0 w 32335"/>
                <a:gd name="connsiteY2" fmla="*/ 21557 h 37309"/>
                <a:gd name="connsiteX3" fmla="*/ 0 w 32335"/>
                <a:gd name="connsiteY3" fmla="*/ 0 h 37309"/>
                <a:gd name="connsiteX4" fmla="*/ 32335 w 32335"/>
                <a:gd name="connsiteY4" fmla="*/ 0 h 37309"/>
                <a:gd name="connsiteX5" fmla="*/ 32335 w 32335"/>
                <a:gd name="connsiteY5" fmla="*/ 21557 h 37309"/>
                <a:gd name="connsiteX6" fmla="*/ 15753 w 32335"/>
                <a:gd name="connsiteY6" fmla="*/ 37309 h 3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35" h="37309">
                  <a:moveTo>
                    <a:pt x="15753" y="37309"/>
                  </a:moveTo>
                  <a:lnTo>
                    <a:pt x="15753" y="37309"/>
                  </a:lnTo>
                  <a:cubicBezTo>
                    <a:pt x="6633" y="37309"/>
                    <a:pt x="0" y="29848"/>
                    <a:pt x="0" y="21557"/>
                  </a:cubicBezTo>
                  <a:lnTo>
                    <a:pt x="0" y="0"/>
                  </a:lnTo>
                  <a:lnTo>
                    <a:pt x="32335" y="0"/>
                  </a:lnTo>
                  <a:lnTo>
                    <a:pt x="32335" y="21557"/>
                  </a:lnTo>
                  <a:cubicBezTo>
                    <a:pt x="32335" y="29848"/>
                    <a:pt x="24873" y="37309"/>
                    <a:pt x="15753" y="37309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6928B533-D1DE-498B-9E44-D7801C49A4FC}"/>
                </a:ext>
              </a:extLst>
            </p:cNvPr>
            <p:cNvSpPr/>
            <p:nvPr/>
          </p:nvSpPr>
          <p:spPr>
            <a:xfrm>
              <a:off x="11050471" y="2438557"/>
              <a:ext cx="145921" cy="23214"/>
            </a:xfrm>
            <a:custGeom>
              <a:avLst/>
              <a:gdLst>
                <a:gd name="connsiteX0" fmla="*/ 134314 w 145921"/>
                <a:gd name="connsiteY0" fmla="*/ 23215 h 23214"/>
                <a:gd name="connsiteX1" fmla="*/ 11607 w 145921"/>
                <a:gd name="connsiteY1" fmla="*/ 23215 h 23214"/>
                <a:gd name="connsiteX2" fmla="*/ 0 w 145921"/>
                <a:gd name="connsiteY2" fmla="*/ 11607 h 23214"/>
                <a:gd name="connsiteX3" fmla="*/ 0 w 145921"/>
                <a:gd name="connsiteY3" fmla="*/ 11607 h 23214"/>
                <a:gd name="connsiteX4" fmla="*/ 11607 w 145921"/>
                <a:gd name="connsiteY4" fmla="*/ 0 h 23214"/>
                <a:gd name="connsiteX5" fmla="*/ 134314 w 145921"/>
                <a:gd name="connsiteY5" fmla="*/ 0 h 23214"/>
                <a:gd name="connsiteX6" fmla="*/ 145921 w 145921"/>
                <a:gd name="connsiteY6" fmla="*/ 11607 h 23214"/>
                <a:gd name="connsiteX7" fmla="*/ 145921 w 145921"/>
                <a:gd name="connsiteY7" fmla="*/ 11607 h 23214"/>
                <a:gd name="connsiteX8" fmla="*/ 134314 w 145921"/>
                <a:gd name="connsiteY8" fmla="*/ 23215 h 2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921" h="23214">
                  <a:moveTo>
                    <a:pt x="134314" y="23215"/>
                  </a:moveTo>
                  <a:lnTo>
                    <a:pt x="11607" y="23215"/>
                  </a:lnTo>
                  <a:cubicBezTo>
                    <a:pt x="4974" y="23215"/>
                    <a:pt x="0" y="18240"/>
                    <a:pt x="0" y="11607"/>
                  </a:cubicBezTo>
                  <a:lnTo>
                    <a:pt x="0" y="11607"/>
                  </a:lnTo>
                  <a:cubicBezTo>
                    <a:pt x="0" y="4975"/>
                    <a:pt x="4974" y="0"/>
                    <a:pt x="11607" y="0"/>
                  </a:cubicBezTo>
                  <a:lnTo>
                    <a:pt x="134314" y="0"/>
                  </a:lnTo>
                  <a:cubicBezTo>
                    <a:pt x="140947" y="0"/>
                    <a:pt x="145921" y="4975"/>
                    <a:pt x="145921" y="11607"/>
                  </a:cubicBezTo>
                  <a:lnTo>
                    <a:pt x="145921" y="11607"/>
                  </a:lnTo>
                  <a:cubicBezTo>
                    <a:pt x="145921" y="18240"/>
                    <a:pt x="140947" y="23215"/>
                    <a:pt x="134314" y="23215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1" name="Graphic 80">
            <a:extLst>
              <a:ext uri="{FF2B5EF4-FFF2-40B4-BE49-F238E27FC236}">
                <a16:creationId xmlns:a16="http://schemas.microsoft.com/office/drawing/2014/main" id="{393FD5A9-58A5-4A2B-B022-7CACAAE44EAD}"/>
              </a:ext>
            </a:extLst>
          </p:cNvPr>
          <p:cNvGrpSpPr/>
          <p:nvPr/>
        </p:nvGrpSpPr>
        <p:grpSpPr>
          <a:xfrm>
            <a:off x="1377227" y="2931288"/>
            <a:ext cx="295757" cy="298298"/>
            <a:chOff x="1413196" y="2955914"/>
            <a:chExt cx="301688" cy="304279"/>
          </a:xfrm>
          <a:solidFill>
            <a:schemeClr val="accent1"/>
          </a:solidFill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F1ECFEC5-CA9F-4967-918E-8AE847C56989}"/>
                </a:ext>
              </a:extLst>
            </p:cNvPr>
            <p:cNvSpPr/>
            <p:nvPr/>
          </p:nvSpPr>
          <p:spPr>
            <a:xfrm>
              <a:off x="1413196" y="3047115"/>
              <a:ext cx="301688" cy="213078"/>
            </a:xfrm>
            <a:custGeom>
              <a:avLst/>
              <a:gdLst>
                <a:gd name="connsiteX0" fmla="*/ 268463 w 301688"/>
                <a:gd name="connsiteY0" fmla="*/ 213078 h 213078"/>
                <a:gd name="connsiteX1" fmla="*/ 33829 w 301688"/>
                <a:gd name="connsiteY1" fmla="*/ 213078 h 213078"/>
                <a:gd name="connsiteX2" fmla="*/ 665 w 301688"/>
                <a:gd name="connsiteY2" fmla="*/ 173281 h 213078"/>
                <a:gd name="connsiteX3" fmla="*/ 27196 w 301688"/>
                <a:gd name="connsiteY3" fmla="*/ 28189 h 213078"/>
                <a:gd name="connsiteX4" fmla="*/ 60360 w 301688"/>
                <a:gd name="connsiteY4" fmla="*/ 0 h 213078"/>
                <a:gd name="connsiteX5" fmla="*/ 241103 w 301688"/>
                <a:gd name="connsiteY5" fmla="*/ 0 h 213078"/>
                <a:gd name="connsiteX6" fmla="*/ 274267 w 301688"/>
                <a:gd name="connsiteY6" fmla="*/ 28189 h 213078"/>
                <a:gd name="connsiteX7" fmla="*/ 300798 w 301688"/>
                <a:gd name="connsiteY7" fmla="*/ 173281 h 213078"/>
                <a:gd name="connsiteX8" fmla="*/ 268463 w 301688"/>
                <a:gd name="connsiteY8" fmla="*/ 213078 h 21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688" h="213078">
                  <a:moveTo>
                    <a:pt x="268463" y="213078"/>
                  </a:moveTo>
                  <a:lnTo>
                    <a:pt x="33829" y="213078"/>
                  </a:lnTo>
                  <a:cubicBezTo>
                    <a:pt x="12272" y="213078"/>
                    <a:pt x="-3481" y="194009"/>
                    <a:pt x="665" y="173281"/>
                  </a:cubicBezTo>
                  <a:lnTo>
                    <a:pt x="27196" y="28189"/>
                  </a:lnTo>
                  <a:cubicBezTo>
                    <a:pt x="30512" y="12436"/>
                    <a:pt x="44607" y="0"/>
                    <a:pt x="60360" y="0"/>
                  </a:cubicBezTo>
                  <a:lnTo>
                    <a:pt x="241103" y="0"/>
                  </a:lnTo>
                  <a:cubicBezTo>
                    <a:pt x="257685" y="0"/>
                    <a:pt x="271780" y="11607"/>
                    <a:pt x="274267" y="28189"/>
                  </a:cubicBezTo>
                  <a:lnTo>
                    <a:pt x="300798" y="173281"/>
                  </a:lnTo>
                  <a:cubicBezTo>
                    <a:pt x="305773" y="194009"/>
                    <a:pt x="289191" y="213078"/>
                    <a:pt x="268463" y="21307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00715655-F9ED-43B9-AA96-0CE421B1DA66}"/>
                </a:ext>
              </a:extLst>
            </p:cNvPr>
            <p:cNvSpPr/>
            <p:nvPr/>
          </p:nvSpPr>
          <p:spPr>
            <a:xfrm>
              <a:off x="1489309" y="2955914"/>
              <a:ext cx="150895" cy="123535"/>
            </a:xfrm>
            <a:custGeom>
              <a:avLst/>
              <a:gdLst>
                <a:gd name="connsiteX0" fmla="*/ 150896 w 150895"/>
                <a:gd name="connsiteY0" fmla="*/ 123536 h 123535"/>
                <a:gd name="connsiteX1" fmla="*/ 132656 w 150895"/>
                <a:gd name="connsiteY1" fmla="*/ 123536 h 123535"/>
                <a:gd name="connsiteX2" fmla="*/ 132656 w 150895"/>
                <a:gd name="connsiteY2" fmla="*/ 63841 h 123535"/>
                <a:gd name="connsiteX3" fmla="*/ 87055 w 150895"/>
                <a:gd name="connsiteY3" fmla="*/ 18240 h 123535"/>
                <a:gd name="connsiteX4" fmla="*/ 63841 w 150895"/>
                <a:gd name="connsiteY4" fmla="*/ 18240 h 123535"/>
                <a:gd name="connsiteX5" fmla="*/ 18240 w 150895"/>
                <a:gd name="connsiteY5" fmla="*/ 63841 h 123535"/>
                <a:gd name="connsiteX6" fmla="*/ 18240 w 150895"/>
                <a:gd name="connsiteY6" fmla="*/ 123536 h 123535"/>
                <a:gd name="connsiteX7" fmla="*/ 0 w 150895"/>
                <a:gd name="connsiteY7" fmla="*/ 123536 h 123535"/>
                <a:gd name="connsiteX8" fmla="*/ 0 w 150895"/>
                <a:gd name="connsiteY8" fmla="*/ 63841 h 123535"/>
                <a:gd name="connsiteX9" fmla="*/ 63841 w 150895"/>
                <a:gd name="connsiteY9" fmla="*/ 0 h 123535"/>
                <a:gd name="connsiteX10" fmla="*/ 87055 w 150895"/>
                <a:gd name="connsiteY10" fmla="*/ 0 h 123535"/>
                <a:gd name="connsiteX11" fmla="*/ 150896 w 150895"/>
                <a:gd name="connsiteY11" fmla="*/ 63841 h 123535"/>
                <a:gd name="connsiteX12" fmla="*/ 150896 w 150895"/>
                <a:gd name="connsiteY12" fmla="*/ 123536 h 12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895" h="123535">
                  <a:moveTo>
                    <a:pt x="150896" y="123536"/>
                  </a:moveTo>
                  <a:lnTo>
                    <a:pt x="132656" y="123536"/>
                  </a:lnTo>
                  <a:lnTo>
                    <a:pt x="132656" y="63841"/>
                  </a:lnTo>
                  <a:cubicBezTo>
                    <a:pt x="132656" y="38968"/>
                    <a:pt x="111928" y="18240"/>
                    <a:pt x="87055" y="18240"/>
                  </a:cubicBezTo>
                  <a:lnTo>
                    <a:pt x="63841" y="18240"/>
                  </a:lnTo>
                  <a:cubicBezTo>
                    <a:pt x="38968" y="18240"/>
                    <a:pt x="18240" y="38968"/>
                    <a:pt x="18240" y="63841"/>
                  </a:cubicBezTo>
                  <a:lnTo>
                    <a:pt x="18240" y="123536"/>
                  </a:lnTo>
                  <a:lnTo>
                    <a:pt x="0" y="123536"/>
                  </a:lnTo>
                  <a:lnTo>
                    <a:pt x="0" y="63841"/>
                  </a:lnTo>
                  <a:cubicBezTo>
                    <a:pt x="0" y="29018"/>
                    <a:pt x="28189" y="0"/>
                    <a:pt x="63841" y="0"/>
                  </a:cubicBezTo>
                  <a:lnTo>
                    <a:pt x="87055" y="0"/>
                  </a:lnTo>
                  <a:cubicBezTo>
                    <a:pt x="121877" y="0"/>
                    <a:pt x="150896" y="29018"/>
                    <a:pt x="150896" y="63841"/>
                  </a:cubicBezTo>
                  <a:lnTo>
                    <a:pt x="150896" y="123536"/>
                  </a:lnTo>
                  <a:close/>
                </a:path>
              </a:pathLst>
            </a:custGeom>
            <a:solidFill>
              <a:srgbClr val="6B331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4CD38AB0-A17C-4B81-812A-5CB4A5D70593}"/>
                </a:ext>
              </a:extLst>
            </p:cNvPr>
            <p:cNvSpPr/>
            <p:nvPr/>
          </p:nvSpPr>
          <p:spPr>
            <a:xfrm>
              <a:off x="1617819" y="3062039"/>
              <a:ext cx="27360" cy="32334"/>
            </a:xfrm>
            <a:custGeom>
              <a:avLst/>
              <a:gdLst>
                <a:gd name="connsiteX0" fmla="*/ 14095 w 27360"/>
                <a:gd name="connsiteY0" fmla="*/ 32335 h 32334"/>
                <a:gd name="connsiteX1" fmla="*/ 14095 w 27360"/>
                <a:gd name="connsiteY1" fmla="*/ 32335 h 32334"/>
                <a:gd name="connsiteX2" fmla="*/ 0 w 27360"/>
                <a:gd name="connsiteY2" fmla="*/ 18240 h 32334"/>
                <a:gd name="connsiteX3" fmla="*/ 0 w 27360"/>
                <a:gd name="connsiteY3" fmla="*/ 0 h 32334"/>
                <a:gd name="connsiteX4" fmla="*/ 27360 w 27360"/>
                <a:gd name="connsiteY4" fmla="*/ 0 h 32334"/>
                <a:gd name="connsiteX5" fmla="*/ 27360 w 27360"/>
                <a:gd name="connsiteY5" fmla="*/ 18240 h 32334"/>
                <a:gd name="connsiteX6" fmla="*/ 14095 w 27360"/>
                <a:gd name="connsiteY6" fmla="*/ 32335 h 3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60" h="32334">
                  <a:moveTo>
                    <a:pt x="14095" y="32335"/>
                  </a:moveTo>
                  <a:lnTo>
                    <a:pt x="14095" y="32335"/>
                  </a:lnTo>
                  <a:cubicBezTo>
                    <a:pt x="6633" y="32335"/>
                    <a:pt x="0" y="26531"/>
                    <a:pt x="0" y="18240"/>
                  </a:cubicBezTo>
                  <a:lnTo>
                    <a:pt x="0" y="0"/>
                  </a:lnTo>
                  <a:lnTo>
                    <a:pt x="27360" y="0"/>
                  </a:lnTo>
                  <a:lnTo>
                    <a:pt x="27360" y="18240"/>
                  </a:lnTo>
                  <a:cubicBezTo>
                    <a:pt x="27360" y="26531"/>
                    <a:pt x="21556" y="32335"/>
                    <a:pt x="14095" y="32335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FED060C9-52A1-4A6C-8A84-E1EE89138E72}"/>
                </a:ext>
              </a:extLst>
            </p:cNvPr>
            <p:cNvSpPr/>
            <p:nvPr/>
          </p:nvSpPr>
          <p:spPr>
            <a:xfrm>
              <a:off x="1486821" y="3063697"/>
              <a:ext cx="27360" cy="32334"/>
            </a:xfrm>
            <a:custGeom>
              <a:avLst/>
              <a:gdLst>
                <a:gd name="connsiteX0" fmla="*/ 14095 w 27360"/>
                <a:gd name="connsiteY0" fmla="*/ 32335 h 32334"/>
                <a:gd name="connsiteX1" fmla="*/ 14095 w 27360"/>
                <a:gd name="connsiteY1" fmla="*/ 32335 h 32334"/>
                <a:gd name="connsiteX2" fmla="*/ 0 w 27360"/>
                <a:gd name="connsiteY2" fmla="*/ 18240 h 32334"/>
                <a:gd name="connsiteX3" fmla="*/ 0 w 27360"/>
                <a:gd name="connsiteY3" fmla="*/ 0 h 32334"/>
                <a:gd name="connsiteX4" fmla="*/ 27360 w 27360"/>
                <a:gd name="connsiteY4" fmla="*/ 0 h 32334"/>
                <a:gd name="connsiteX5" fmla="*/ 27360 w 27360"/>
                <a:gd name="connsiteY5" fmla="*/ 18240 h 32334"/>
                <a:gd name="connsiteX6" fmla="*/ 14095 w 27360"/>
                <a:gd name="connsiteY6" fmla="*/ 32335 h 3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60" h="32334">
                  <a:moveTo>
                    <a:pt x="14095" y="32335"/>
                  </a:moveTo>
                  <a:lnTo>
                    <a:pt x="14095" y="32335"/>
                  </a:lnTo>
                  <a:cubicBezTo>
                    <a:pt x="6633" y="32335"/>
                    <a:pt x="0" y="26531"/>
                    <a:pt x="0" y="18240"/>
                  </a:cubicBezTo>
                  <a:lnTo>
                    <a:pt x="0" y="0"/>
                  </a:lnTo>
                  <a:lnTo>
                    <a:pt x="27360" y="0"/>
                  </a:lnTo>
                  <a:lnTo>
                    <a:pt x="27360" y="18240"/>
                  </a:lnTo>
                  <a:cubicBezTo>
                    <a:pt x="27360" y="26531"/>
                    <a:pt x="21556" y="32335"/>
                    <a:pt x="14095" y="32335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F9A92505-71F2-4BE4-BF3A-D5D2428D7686}"/>
                </a:ext>
              </a:extLst>
            </p:cNvPr>
            <p:cNvSpPr/>
            <p:nvPr/>
          </p:nvSpPr>
          <p:spPr>
            <a:xfrm>
              <a:off x="1501745" y="3147436"/>
              <a:ext cx="125193" cy="19898"/>
            </a:xfrm>
            <a:custGeom>
              <a:avLst/>
              <a:gdLst>
                <a:gd name="connsiteX0" fmla="*/ 115245 w 125193"/>
                <a:gd name="connsiteY0" fmla="*/ 19898 h 19898"/>
                <a:gd name="connsiteX1" fmla="*/ 9949 w 125193"/>
                <a:gd name="connsiteY1" fmla="*/ 19898 h 19898"/>
                <a:gd name="connsiteX2" fmla="*/ 0 w 125193"/>
                <a:gd name="connsiteY2" fmla="*/ 9949 h 19898"/>
                <a:gd name="connsiteX3" fmla="*/ 0 w 125193"/>
                <a:gd name="connsiteY3" fmla="*/ 9949 h 19898"/>
                <a:gd name="connsiteX4" fmla="*/ 9949 w 125193"/>
                <a:gd name="connsiteY4" fmla="*/ 0 h 19898"/>
                <a:gd name="connsiteX5" fmla="*/ 115245 w 125193"/>
                <a:gd name="connsiteY5" fmla="*/ 0 h 19898"/>
                <a:gd name="connsiteX6" fmla="*/ 125194 w 125193"/>
                <a:gd name="connsiteY6" fmla="*/ 9949 h 19898"/>
                <a:gd name="connsiteX7" fmla="*/ 125194 w 125193"/>
                <a:gd name="connsiteY7" fmla="*/ 9949 h 19898"/>
                <a:gd name="connsiteX8" fmla="*/ 115245 w 125193"/>
                <a:gd name="connsiteY8" fmla="*/ 19898 h 19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193" h="19898">
                  <a:moveTo>
                    <a:pt x="115245" y="19898"/>
                  </a:moveTo>
                  <a:lnTo>
                    <a:pt x="9949" y="19898"/>
                  </a:lnTo>
                  <a:cubicBezTo>
                    <a:pt x="4145" y="19898"/>
                    <a:pt x="0" y="15753"/>
                    <a:pt x="0" y="9949"/>
                  </a:cubicBezTo>
                  <a:lnTo>
                    <a:pt x="0" y="9949"/>
                  </a:lnTo>
                  <a:cubicBezTo>
                    <a:pt x="0" y="4145"/>
                    <a:pt x="4145" y="0"/>
                    <a:pt x="9949" y="0"/>
                  </a:cubicBezTo>
                  <a:lnTo>
                    <a:pt x="115245" y="0"/>
                  </a:lnTo>
                  <a:cubicBezTo>
                    <a:pt x="121048" y="0"/>
                    <a:pt x="125194" y="4145"/>
                    <a:pt x="125194" y="9949"/>
                  </a:cubicBezTo>
                  <a:lnTo>
                    <a:pt x="125194" y="9949"/>
                  </a:lnTo>
                  <a:cubicBezTo>
                    <a:pt x="125194" y="15753"/>
                    <a:pt x="120219" y="19898"/>
                    <a:pt x="115245" y="19898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2" name="Graphic 80">
            <a:extLst>
              <a:ext uri="{FF2B5EF4-FFF2-40B4-BE49-F238E27FC236}">
                <a16:creationId xmlns:a16="http://schemas.microsoft.com/office/drawing/2014/main" id="{7CE2A338-FCC3-4504-AA73-ACFE0F8BEEC0}"/>
              </a:ext>
            </a:extLst>
          </p:cNvPr>
          <p:cNvGrpSpPr/>
          <p:nvPr/>
        </p:nvGrpSpPr>
        <p:grpSpPr>
          <a:xfrm>
            <a:off x="1382755" y="4226892"/>
            <a:ext cx="295046" cy="356005"/>
            <a:chOff x="1418835" y="4277497"/>
            <a:chExt cx="300962" cy="363144"/>
          </a:xfrm>
          <a:solidFill>
            <a:schemeClr val="accent1"/>
          </a:solidFill>
        </p:grpSpPr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0D571290-2B27-45F6-A21A-C3008D885A45}"/>
                </a:ext>
              </a:extLst>
            </p:cNvPr>
            <p:cNvSpPr/>
            <p:nvPr/>
          </p:nvSpPr>
          <p:spPr>
            <a:xfrm>
              <a:off x="1418835" y="4410153"/>
              <a:ext cx="300962" cy="230489"/>
            </a:xfrm>
            <a:custGeom>
              <a:avLst/>
              <a:gdLst>
                <a:gd name="connsiteX0" fmla="*/ 260337 w 300962"/>
                <a:gd name="connsiteY0" fmla="*/ 230489 h 230489"/>
                <a:gd name="connsiteX1" fmla="*/ 40626 w 300962"/>
                <a:gd name="connsiteY1" fmla="*/ 230489 h 230489"/>
                <a:gd name="connsiteX2" fmla="*/ 10778 w 300962"/>
                <a:gd name="connsiteY2" fmla="*/ 203958 h 230489"/>
                <a:gd name="connsiteX3" fmla="*/ 0 w 300962"/>
                <a:gd name="connsiteY3" fmla="*/ 115245 h 230489"/>
                <a:gd name="connsiteX4" fmla="*/ 24044 w 300962"/>
                <a:gd name="connsiteY4" fmla="*/ 0 h 230489"/>
                <a:gd name="connsiteX5" fmla="*/ 276919 w 300962"/>
                <a:gd name="connsiteY5" fmla="*/ 0 h 230489"/>
                <a:gd name="connsiteX6" fmla="*/ 300963 w 300962"/>
                <a:gd name="connsiteY6" fmla="*/ 115245 h 230489"/>
                <a:gd name="connsiteX7" fmla="*/ 290184 w 300962"/>
                <a:gd name="connsiteY7" fmla="*/ 203958 h 230489"/>
                <a:gd name="connsiteX8" fmla="*/ 260337 w 300962"/>
                <a:gd name="connsiteY8" fmla="*/ 230489 h 23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962" h="230489">
                  <a:moveTo>
                    <a:pt x="260337" y="230489"/>
                  </a:moveTo>
                  <a:lnTo>
                    <a:pt x="40626" y="230489"/>
                  </a:lnTo>
                  <a:cubicBezTo>
                    <a:pt x="25702" y="230489"/>
                    <a:pt x="12436" y="218882"/>
                    <a:pt x="10778" y="203958"/>
                  </a:cubicBezTo>
                  <a:lnTo>
                    <a:pt x="0" y="115245"/>
                  </a:lnTo>
                  <a:lnTo>
                    <a:pt x="24044" y="0"/>
                  </a:lnTo>
                  <a:lnTo>
                    <a:pt x="276919" y="0"/>
                  </a:lnTo>
                  <a:lnTo>
                    <a:pt x="300963" y="115245"/>
                  </a:lnTo>
                  <a:lnTo>
                    <a:pt x="290184" y="203958"/>
                  </a:lnTo>
                  <a:cubicBezTo>
                    <a:pt x="288526" y="219711"/>
                    <a:pt x="276090" y="230489"/>
                    <a:pt x="260337" y="23048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FCD47B9D-1613-4E2F-9658-05641022E022}"/>
                </a:ext>
              </a:extLst>
            </p:cNvPr>
            <p:cNvSpPr/>
            <p:nvPr/>
          </p:nvSpPr>
          <p:spPr>
            <a:xfrm>
              <a:off x="1487651" y="4277497"/>
              <a:ext cx="169136" cy="248729"/>
            </a:xfrm>
            <a:custGeom>
              <a:avLst/>
              <a:gdLst>
                <a:gd name="connsiteX0" fmla="*/ 168307 w 169136"/>
                <a:gd name="connsiteY0" fmla="*/ 248729 h 248729"/>
                <a:gd name="connsiteX1" fmla="*/ 154212 w 169136"/>
                <a:gd name="connsiteY1" fmla="*/ 248729 h 248729"/>
                <a:gd name="connsiteX2" fmla="*/ 154212 w 169136"/>
                <a:gd name="connsiteY2" fmla="*/ 134314 h 248729"/>
                <a:gd name="connsiteX3" fmla="*/ 123536 w 169136"/>
                <a:gd name="connsiteY3" fmla="*/ 23215 h 248729"/>
                <a:gd name="connsiteX4" fmla="*/ 78764 w 169136"/>
                <a:gd name="connsiteY4" fmla="*/ 14095 h 248729"/>
                <a:gd name="connsiteX5" fmla="*/ 36480 w 169136"/>
                <a:gd name="connsiteY5" fmla="*/ 23215 h 248729"/>
                <a:gd name="connsiteX6" fmla="*/ 14095 w 169136"/>
                <a:gd name="connsiteY6" fmla="*/ 133485 h 248729"/>
                <a:gd name="connsiteX7" fmla="*/ 14095 w 169136"/>
                <a:gd name="connsiteY7" fmla="*/ 247901 h 248729"/>
                <a:gd name="connsiteX8" fmla="*/ 0 w 169136"/>
                <a:gd name="connsiteY8" fmla="*/ 247901 h 248729"/>
                <a:gd name="connsiteX9" fmla="*/ 0 w 169136"/>
                <a:gd name="connsiteY9" fmla="*/ 131827 h 248729"/>
                <a:gd name="connsiteX10" fmla="*/ 23215 w 169136"/>
                <a:gd name="connsiteY10" fmla="*/ 19069 h 248729"/>
                <a:gd name="connsiteX11" fmla="*/ 78764 w 169136"/>
                <a:gd name="connsiteY11" fmla="*/ 0 h 248729"/>
                <a:gd name="connsiteX12" fmla="*/ 137630 w 169136"/>
                <a:gd name="connsiteY12" fmla="*/ 19069 h 248729"/>
                <a:gd name="connsiteX13" fmla="*/ 137630 w 169136"/>
                <a:gd name="connsiteY13" fmla="*/ 19899 h 248729"/>
                <a:gd name="connsiteX14" fmla="*/ 169136 w 169136"/>
                <a:gd name="connsiteY14" fmla="*/ 132656 h 248729"/>
                <a:gd name="connsiteX15" fmla="*/ 169136 w 169136"/>
                <a:gd name="connsiteY15" fmla="*/ 248729 h 248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9136" h="248729">
                  <a:moveTo>
                    <a:pt x="168307" y="248729"/>
                  </a:moveTo>
                  <a:lnTo>
                    <a:pt x="154212" y="248729"/>
                  </a:lnTo>
                  <a:lnTo>
                    <a:pt x="154212" y="134314"/>
                  </a:lnTo>
                  <a:lnTo>
                    <a:pt x="123536" y="23215"/>
                  </a:lnTo>
                  <a:cubicBezTo>
                    <a:pt x="121878" y="19899"/>
                    <a:pt x="106125" y="14095"/>
                    <a:pt x="78764" y="14095"/>
                  </a:cubicBezTo>
                  <a:cubicBezTo>
                    <a:pt x="51404" y="14095"/>
                    <a:pt x="38139" y="20727"/>
                    <a:pt x="36480" y="23215"/>
                  </a:cubicBezTo>
                  <a:lnTo>
                    <a:pt x="14095" y="133485"/>
                  </a:lnTo>
                  <a:lnTo>
                    <a:pt x="14095" y="247901"/>
                  </a:lnTo>
                  <a:lnTo>
                    <a:pt x="0" y="247901"/>
                  </a:lnTo>
                  <a:lnTo>
                    <a:pt x="0" y="131827"/>
                  </a:lnTo>
                  <a:lnTo>
                    <a:pt x="23215" y="19069"/>
                  </a:lnTo>
                  <a:cubicBezTo>
                    <a:pt x="29018" y="2487"/>
                    <a:pt x="63841" y="0"/>
                    <a:pt x="78764" y="0"/>
                  </a:cubicBezTo>
                  <a:cubicBezTo>
                    <a:pt x="91201" y="0"/>
                    <a:pt x="130998" y="829"/>
                    <a:pt x="137630" y="19069"/>
                  </a:cubicBezTo>
                  <a:lnTo>
                    <a:pt x="137630" y="19899"/>
                  </a:lnTo>
                  <a:lnTo>
                    <a:pt x="169136" y="132656"/>
                  </a:lnTo>
                  <a:lnTo>
                    <a:pt x="169136" y="24872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4D3C23CD-B3AE-49BE-9D5D-A0C4BB2B72D3}"/>
                </a:ext>
              </a:extLst>
            </p:cNvPr>
            <p:cNvSpPr/>
            <p:nvPr/>
          </p:nvSpPr>
          <p:spPr>
            <a:xfrm>
              <a:off x="1480189" y="4398545"/>
              <a:ext cx="27360" cy="42284"/>
            </a:xfrm>
            <a:custGeom>
              <a:avLst/>
              <a:gdLst>
                <a:gd name="connsiteX0" fmla="*/ 0 w 27360"/>
                <a:gd name="connsiteY0" fmla="*/ 0 h 42284"/>
                <a:gd name="connsiteX1" fmla="*/ 27360 w 27360"/>
                <a:gd name="connsiteY1" fmla="*/ 0 h 42284"/>
                <a:gd name="connsiteX2" fmla="*/ 27360 w 27360"/>
                <a:gd name="connsiteY2" fmla="*/ 42284 h 42284"/>
                <a:gd name="connsiteX3" fmla="*/ 0 w 27360"/>
                <a:gd name="connsiteY3" fmla="*/ 42284 h 4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60" h="42284">
                  <a:moveTo>
                    <a:pt x="0" y="0"/>
                  </a:moveTo>
                  <a:lnTo>
                    <a:pt x="27360" y="0"/>
                  </a:lnTo>
                  <a:lnTo>
                    <a:pt x="27360" y="42284"/>
                  </a:lnTo>
                  <a:lnTo>
                    <a:pt x="0" y="42284"/>
                  </a:lnTo>
                  <a:close/>
                </a:path>
              </a:pathLst>
            </a:custGeom>
            <a:solidFill>
              <a:schemeClr val="accent1">
                <a:lumMod val="9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49B3897A-E2E0-444F-A675-AD865CD87124}"/>
                </a:ext>
              </a:extLst>
            </p:cNvPr>
            <p:cNvSpPr/>
            <p:nvPr/>
          </p:nvSpPr>
          <p:spPr>
            <a:xfrm>
              <a:off x="1635230" y="4398545"/>
              <a:ext cx="27360" cy="42284"/>
            </a:xfrm>
            <a:custGeom>
              <a:avLst/>
              <a:gdLst>
                <a:gd name="connsiteX0" fmla="*/ 0 w 27360"/>
                <a:gd name="connsiteY0" fmla="*/ 0 h 42284"/>
                <a:gd name="connsiteX1" fmla="*/ 27360 w 27360"/>
                <a:gd name="connsiteY1" fmla="*/ 0 h 42284"/>
                <a:gd name="connsiteX2" fmla="*/ 27360 w 27360"/>
                <a:gd name="connsiteY2" fmla="*/ 42284 h 42284"/>
                <a:gd name="connsiteX3" fmla="*/ 0 w 27360"/>
                <a:gd name="connsiteY3" fmla="*/ 42284 h 4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60" h="42284">
                  <a:moveTo>
                    <a:pt x="0" y="0"/>
                  </a:moveTo>
                  <a:lnTo>
                    <a:pt x="27360" y="0"/>
                  </a:lnTo>
                  <a:lnTo>
                    <a:pt x="27360" y="42284"/>
                  </a:lnTo>
                  <a:lnTo>
                    <a:pt x="0" y="42284"/>
                  </a:lnTo>
                  <a:close/>
                </a:path>
              </a:pathLst>
            </a:custGeom>
            <a:solidFill>
              <a:schemeClr val="accent1">
                <a:lumMod val="9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3" name="Graphic 80">
            <a:extLst>
              <a:ext uri="{FF2B5EF4-FFF2-40B4-BE49-F238E27FC236}">
                <a16:creationId xmlns:a16="http://schemas.microsoft.com/office/drawing/2014/main" id="{72BF5954-E6A6-4045-8EEF-2EA260553472}"/>
              </a:ext>
            </a:extLst>
          </p:cNvPr>
          <p:cNvGrpSpPr/>
          <p:nvPr/>
        </p:nvGrpSpPr>
        <p:grpSpPr>
          <a:xfrm>
            <a:off x="7781930" y="2811807"/>
            <a:ext cx="349504" cy="142240"/>
            <a:chOff x="7946327" y="2834037"/>
            <a:chExt cx="356512" cy="145092"/>
          </a:xfrm>
          <a:solidFill>
            <a:schemeClr val="accent1"/>
          </a:solidFill>
        </p:grpSpPr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120348BC-4EA1-4BFF-9E32-9D305B80D8F8}"/>
                </a:ext>
              </a:extLst>
            </p:cNvPr>
            <p:cNvSpPr/>
            <p:nvPr/>
          </p:nvSpPr>
          <p:spPr>
            <a:xfrm>
              <a:off x="7946327" y="2920263"/>
              <a:ext cx="356512" cy="58865"/>
            </a:xfrm>
            <a:custGeom>
              <a:avLst/>
              <a:gdLst>
                <a:gd name="connsiteX0" fmla="*/ 0 w 356512"/>
                <a:gd name="connsiteY0" fmla="*/ 0 h 58865"/>
                <a:gd name="connsiteX1" fmla="*/ 356513 w 356512"/>
                <a:gd name="connsiteY1" fmla="*/ 0 h 58865"/>
                <a:gd name="connsiteX2" fmla="*/ 356513 w 356512"/>
                <a:gd name="connsiteY2" fmla="*/ 58866 h 58865"/>
                <a:gd name="connsiteX3" fmla="*/ 0 w 356512"/>
                <a:gd name="connsiteY3" fmla="*/ 58866 h 5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512" h="58865">
                  <a:moveTo>
                    <a:pt x="0" y="0"/>
                  </a:moveTo>
                  <a:lnTo>
                    <a:pt x="356513" y="0"/>
                  </a:lnTo>
                  <a:lnTo>
                    <a:pt x="356513" y="58866"/>
                  </a:lnTo>
                  <a:lnTo>
                    <a:pt x="0" y="58866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4B4E8F14-2E1C-4432-BF20-70724629D0CD}"/>
                </a:ext>
              </a:extLst>
            </p:cNvPr>
            <p:cNvSpPr/>
            <p:nvPr/>
          </p:nvSpPr>
          <p:spPr>
            <a:xfrm>
              <a:off x="7980320" y="2877150"/>
              <a:ext cx="275260" cy="43113"/>
            </a:xfrm>
            <a:custGeom>
              <a:avLst/>
              <a:gdLst>
                <a:gd name="connsiteX0" fmla="*/ 0 w 275260"/>
                <a:gd name="connsiteY0" fmla="*/ 0 h 43113"/>
                <a:gd name="connsiteX1" fmla="*/ 275261 w 275260"/>
                <a:gd name="connsiteY1" fmla="*/ 0 h 43113"/>
                <a:gd name="connsiteX2" fmla="*/ 275261 w 275260"/>
                <a:gd name="connsiteY2" fmla="*/ 43113 h 43113"/>
                <a:gd name="connsiteX3" fmla="*/ 0 w 275260"/>
                <a:gd name="connsiteY3" fmla="*/ 43113 h 4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60" h="43113">
                  <a:moveTo>
                    <a:pt x="0" y="0"/>
                  </a:moveTo>
                  <a:lnTo>
                    <a:pt x="275261" y="0"/>
                  </a:lnTo>
                  <a:lnTo>
                    <a:pt x="275261" y="43113"/>
                  </a:lnTo>
                  <a:lnTo>
                    <a:pt x="0" y="4311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3942B9D3-4B19-4C98-97DF-2DCA9C24FB05}"/>
                </a:ext>
              </a:extLst>
            </p:cNvPr>
            <p:cNvSpPr/>
            <p:nvPr/>
          </p:nvSpPr>
          <p:spPr>
            <a:xfrm>
              <a:off x="7958763" y="2834037"/>
              <a:ext cx="307595" cy="46429"/>
            </a:xfrm>
            <a:custGeom>
              <a:avLst/>
              <a:gdLst>
                <a:gd name="connsiteX0" fmla="*/ 0 w 307595"/>
                <a:gd name="connsiteY0" fmla="*/ 0 h 46429"/>
                <a:gd name="connsiteX1" fmla="*/ 307595 w 307595"/>
                <a:gd name="connsiteY1" fmla="*/ 0 h 46429"/>
                <a:gd name="connsiteX2" fmla="*/ 307595 w 307595"/>
                <a:gd name="connsiteY2" fmla="*/ 46430 h 46429"/>
                <a:gd name="connsiteX3" fmla="*/ 0 w 307595"/>
                <a:gd name="connsiteY3" fmla="*/ 46430 h 4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7595" h="46429">
                  <a:moveTo>
                    <a:pt x="0" y="0"/>
                  </a:moveTo>
                  <a:lnTo>
                    <a:pt x="307595" y="0"/>
                  </a:lnTo>
                  <a:lnTo>
                    <a:pt x="307595" y="46430"/>
                  </a:lnTo>
                  <a:lnTo>
                    <a:pt x="0" y="46430"/>
                  </a:lnTo>
                  <a:close/>
                </a:path>
              </a:pathLst>
            </a:custGeom>
            <a:solidFill>
              <a:schemeClr val="accent1">
                <a:lumMod val="9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4" name="Graphic 80">
            <a:extLst>
              <a:ext uri="{FF2B5EF4-FFF2-40B4-BE49-F238E27FC236}">
                <a16:creationId xmlns:a16="http://schemas.microsoft.com/office/drawing/2014/main" id="{C400BB0C-DEDE-4889-AEA1-451DEAD2A72A}"/>
              </a:ext>
            </a:extLst>
          </p:cNvPr>
          <p:cNvGrpSpPr/>
          <p:nvPr/>
        </p:nvGrpSpPr>
        <p:grpSpPr>
          <a:xfrm>
            <a:off x="1282781" y="2442796"/>
            <a:ext cx="253593" cy="110540"/>
            <a:chOff x="1316856" y="2457626"/>
            <a:chExt cx="258678" cy="112757"/>
          </a:xfrm>
          <a:solidFill>
            <a:schemeClr val="accent1"/>
          </a:solidFill>
        </p:grpSpPr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E6F18336-99DF-4D7D-B09F-CAC79A2B685C}"/>
                </a:ext>
              </a:extLst>
            </p:cNvPr>
            <p:cNvSpPr/>
            <p:nvPr/>
          </p:nvSpPr>
          <p:spPr>
            <a:xfrm>
              <a:off x="1316856" y="2480012"/>
              <a:ext cx="258678" cy="90371"/>
            </a:xfrm>
            <a:custGeom>
              <a:avLst/>
              <a:gdLst>
                <a:gd name="connsiteX0" fmla="*/ 0 w 258678"/>
                <a:gd name="connsiteY0" fmla="*/ 72961 h 90371"/>
                <a:gd name="connsiteX1" fmla="*/ 0 w 258678"/>
                <a:gd name="connsiteY1" fmla="*/ 17411 h 90371"/>
                <a:gd name="connsiteX2" fmla="*/ 17411 w 258678"/>
                <a:gd name="connsiteY2" fmla="*/ 0 h 90371"/>
                <a:gd name="connsiteX3" fmla="*/ 241268 w 258678"/>
                <a:gd name="connsiteY3" fmla="*/ 0 h 90371"/>
                <a:gd name="connsiteX4" fmla="*/ 258679 w 258678"/>
                <a:gd name="connsiteY4" fmla="*/ 17411 h 90371"/>
                <a:gd name="connsiteX5" fmla="*/ 258679 w 258678"/>
                <a:gd name="connsiteY5" fmla="*/ 72961 h 90371"/>
                <a:gd name="connsiteX6" fmla="*/ 241268 w 258678"/>
                <a:gd name="connsiteY6" fmla="*/ 90372 h 90371"/>
                <a:gd name="connsiteX7" fmla="*/ 17411 w 258678"/>
                <a:gd name="connsiteY7" fmla="*/ 90372 h 90371"/>
                <a:gd name="connsiteX8" fmla="*/ 0 w 258678"/>
                <a:gd name="connsiteY8" fmla="*/ 72961 h 9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678" h="90371">
                  <a:moveTo>
                    <a:pt x="0" y="72961"/>
                  </a:moveTo>
                  <a:lnTo>
                    <a:pt x="0" y="17411"/>
                  </a:lnTo>
                  <a:cubicBezTo>
                    <a:pt x="0" y="7462"/>
                    <a:pt x="7462" y="0"/>
                    <a:pt x="17411" y="0"/>
                  </a:cubicBezTo>
                  <a:lnTo>
                    <a:pt x="241268" y="0"/>
                  </a:lnTo>
                  <a:cubicBezTo>
                    <a:pt x="251217" y="0"/>
                    <a:pt x="258679" y="7462"/>
                    <a:pt x="258679" y="17411"/>
                  </a:cubicBezTo>
                  <a:lnTo>
                    <a:pt x="258679" y="72961"/>
                  </a:lnTo>
                  <a:cubicBezTo>
                    <a:pt x="258679" y="82910"/>
                    <a:pt x="251217" y="90372"/>
                    <a:pt x="241268" y="90372"/>
                  </a:cubicBezTo>
                  <a:lnTo>
                    <a:pt x="17411" y="90372"/>
                  </a:lnTo>
                  <a:cubicBezTo>
                    <a:pt x="8291" y="90372"/>
                    <a:pt x="0" y="82910"/>
                    <a:pt x="0" y="72961"/>
                  </a:cubicBezTo>
                  <a:close/>
                </a:path>
              </a:pathLst>
            </a:custGeom>
            <a:solidFill>
              <a:srgbClr val="00A395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3AA003CB-598D-421B-BCA0-B2E5F9AF0A33}"/>
                </a:ext>
              </a:extLst>
            </p:cNvPr>
            <p:cNvSpPr/>
            <p:nvPr/>
          </p:nvSpPr>
          <p:spPr>
            <a:xfrm>
              <a:off x="1316856" y="2457626"/>
              <a:ext cx="258678" cy="72158"/>
            </a:xfrm>
            <a:custGeom>
              <a:avLst/>
              <a:gdLst>
                <a:gd name="connsiteX0" fmla="*/ 0 w 258678"/>
                <a:gd name="connsiteY0" fmla="*/ 31506 h 72158"/>
                <a:gd name="connsiteX1" fmla="*/ 0 w 258678"/>
                <a:gd name="connsiteY1" fmla="*/ 17411 h 72158"/>
                <a:gd name="connsiteX2" fmla="*/ 17411 w 258678"/>
                <a:gd name="connsiteY2" fmla="*/ 0 h 72158"/>
                <a:gd name="connsiteX3" fmla="*/ 241268 w 258678"/>
                <a:gd name="connsiteY3" fmla="*/ 0 h 72158"/>
                <a:gd name="connsiteX4" fmla="*/ 258679 w 258678"/>
                <a:gd name="connsiteY4" fmla="*/ 17411 h 72158"/>
                <a:gd name="connsiteX5" fmla="*/ 258679 w 258678"/>
                <a:gd name="connsiteY5" fmla="*/ 31506 h 72158"/>
                <a:gd name="connsiteX6" fmla="*/ 218053 w 258678"/>
                <a:gd name="connsiteY6" fmla="*/ 72132 h 72158"/>
                <a:gd name="connsiteX7" fmla="*/ 41455 w 258678"/>
                <a:gd name="connsiteY7" fmla="*/ 72132 h 72158"/>
                <a:gd name="connsiteX8" fmla="*/ 0 w 258678"/>
                <a:gd name="connsiteY8" fmla="*/ 31506 h 7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678" h="72158">
                  <a:moveTo>
                    <a:pt x="0" y="31506"/>
                  </a:moveTo>
                  <a:lnTo>
                    <a:pt x="0" y="17411"/>
                  </a:lnTo>
                  <a:cubicBezTo>
                    <a:pt x="0" y="7462"/>
                    <a:pt x="7462" y="0"/>
                    <a:pt x="17411" y="0"/>
                  </a:cubicBezTo>
                  <a:lnTo>
                    <a:pt x="241268" y="0"/>
                  </a:lnTo>
                  <a:cubicBezTo>
                    <a:pt x="251217" y="0"/>
                    <a:pt x="258679" y="7462"/>
                    <a:pt x="258679" y="17411"/>
                  </a:cubicBezTo>
                  <a:lnTo>
                    <a:pt x="258679" y="31506"/>
                  </a:lnTo>
                  <a:cubicBezTo>
                    <a:pt x="258679" y="53891"/>
                    <a:pt x="240439" y="72132"/>
                    <a:pt x="218053" y="72132"/>
                  </a:cubicBezTo>
                  <a:lnTo>
                    <a:pt x="41455" y="72132"/>
                  </a:lnTo>
                  <a:cubicBezTo>
                    <a:pt x="18240" y="72961"/>
                    <a:pt x="0" y="54721"/>
                    <a:pt x="0" y="31506"/>
                  </a:cubicBezTo>
                  <a:close/>
                </a:path>
              </a:pathLst>
            </a:custGeom>
            <a:solidFill>
              <a:srgbClr val="07B898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5" name="Graphic 80">
            <a:extLst>
              <a:ext uri="{FF2B5EF4-FFF2-40B4-BE49-F238E27FC236}">
                <a16:creationId xmlns:a16="http://schemas.microsoft.com/office/drawing/2014/main" id="{4FC47A9C-3E9F-4447-9DAB-078BBC72AFFA}"/>
              </a:ext>
            </a:extLst>
          </p:cNvPr>
          <p:cNvGrpSpPr/>
          <p:nvPr/>
        </p:nvGrpSpPr>
        <p:grpSpPr>
          <a:xfrm>
            <a:off x="1332362" y="3680691"/>
            <a:ext cx="98348" cy="225958"/>
            <a:chOff x="1367431" y="3720343"/>
            <a:chExt cx="100320" cy="230489"/>
          </a:xfrm>
          <a:solidFill>
            <a:schemeClr val="accent1"/>
          </a:solidFill>
        </p:grpSpPr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E919866F-3712-441D-AF2E-5DE51BD390F6}"/>
                </a:ext>
              </a:extLst>
            </p:cNvPr>
            <p:cNvSpPr/>
            <p:nvPr/>
          </p:nvSpPr>
          <p:spPr>
            <a:xfrm>
              <a:off x="1387330" y="3720343"/>
              <a:ext cx="80422" cy="230489"/>
            </a:xfrm>
            <a:custGeom>
              <a:avLst/>
              <a:gdLst>
                <a:gd name="connsiteX0" fmla="*/ 64670 w 80422"/>
                <a:gd name="connsiteY0" fmla="*/ 230489 h 230489"/>
                <a:gd name="connsiteX1" fmla="*/ 15753 w 80422"/>
                <a:gd name="connsiteY1" fmla="*/ 230489 h 230489"/>
                <a:gd name="connsiteX2" fmla="*/ 0 w 80422"/>
                <a:gd name="connsiteY2" fmla="*/ 214736 h 230489"/>
                <a:gd name="connsiteX3" fmla="*/ 0 w 80422"/>
                <a:gd name="connsiteY3" fmla="*/ 15753 h 230489"/>
                <a:gd name="connsiteX4" fmla="*/ 15753 w 80422"/>
                <a:gd name="connsiteY4" fmla="*/ 0 h 230489"/>
                <a:gd name="connsiteX5" fmla="*/ 64670 w 80422"/>
                <a:gd name="connsiteY5" fmla="*/ 0 h 230489"/>
                <a:gd name="connsiteX6" fmla="*/ 80423 w 80422"/>
                <a:gd name="connsiteY6" fmla="*/ 15753 h 230489"/>
                <a:gd name="connsiteX7" fmla="*/ 80423 w 80422"/>
                <a:gd name="connsiteY7" fmla="*/ 214736 h 230489"/>
                <a:gd name="connsiteX8" fmla="*/ 64670 w 80422"/>
                <a:gd name="connsiteY8" fmla="*/ 230489 h 23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422" h="230489">
                  <a:moveTo>
                    <a:pt x="64670" y="230489"/>
                  </a:moveTo>
                  <a:lnTo>
                    <a:pt x="15753" y="230489"/>
                  </a:lnTo>
                  <a:cubicBezTo>
                    <a:pt x="7462" y="230489"/>
                    <a:pt x="0" y="223857"/>
                    <a:pt x="0" y="214736"/>
                  </a:cubicBezTo>
                  <a:lnTo>
                    <a:pt x="0" y="15753"/>
                  </a:lnTo>
                  <a:cubicBezTo>
                    <a:pt x="0" y="7462"/>
                    <a:pt x="6633" y="0"/>
                    <a:pt x="15753" y="0"/>
                  </a:cubicBezTo>
                  <a:lnTo>
                    <a:pt x="64670" y="0"/>
                  </a:lnTo>
                  <a:cubicBezTo>
                    <a:pt x="72961" y="0"/>
                    <a:pt x="80423" y="6633"/>
                    <a:pt x="80423" y="15753"/>
                  </a:cubicBezTo>
                  <a:lnTo>
                    <a:pt x="80423" y="214736"/>
                  </a:lnTo>
                  <a:cubicBezTo>
                    <a:pt x="79593" y="223857"/>
                    <a:pt x="72961" y="230489"/>
                    <a:pt x="64670" y="230489"/>
                  </a:cubicBezTo>
                  <a:close/>
                </a:path>
              </a:pathLst>
            </a:custGeom>
            <a:solidFill>
              <a:srgbClr val="7F220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B7D101B1-7951-4C65-9180-742F9E3975D7}"/>
                </a:ext>
              </a:extLst>
            </p:cNvPr>
            <p:cNvSpPr/>
            <p:nvPr/>
          </p:nvSpPr>
          <p:spPr>
            <a:xfrm>
              <a:off x="1367431" y="3720343"/>
              <a:ext cx="64669" cy="230489"/>
            </a:xfrm>
            <a:custGeom>
              <a:avLst/>
              <a:gdLst>
                <a:gd name="connsiteX0" fmla="*/ 28189 w 64669"/>
                <a:gd name="connsiteY0" fmla="*/ 230489 h 230489"/>
                <a:gd name="connsiteX1" fmla="*/ 15753 w 64669"/>
                <a:gd name="connsiteY1" fmla="*/ 230489 h 230489"/>
                <a:gd name="connsiteX2" fmla="*/ 0 w 64669"/>
                <a:gd name="connsiteY2" fmla="*/ 214736 h 230489"/>
                <a:gd name="connsiteX3" fmla="*/ 0 w 64669"/>
                <a:gd name="connsiteY3" fmla="*/ 15753 h 230489"/>
                <a:gd name="connsiteX4" fmla="*/ 15753 w 64669"/>
                <a:gd name="connsiteY4" fmla="*/ 0 h 230489"/>
                <a:gd name="connsiteX5" fmla="*/ 28189 w 64669"/>
                <a:gd name="connsiteY5" fmla="*/ 0 h 230489"/>
                <a:gd name="connsiteX6" fmla="*/ 64670 w 64669"/>
                <a:gd name="connsiteY6" fmla="*/ 36480 h 230489"/>
                <a:gd name="connsiteX7" fmla="*/ 64670 w 64669"/>
                <a:gd name="connsiteY7" fmla="*/ 193180 h 230489"/>
                <a:gd name="connsiteX8" fmla="*/ 28189 w 64669"/>
                <a:gd name="connsiteY8" fmla="*/ 230489 h 23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669" h="230489">
                  <a:moveTo>
                    <a:pt x="28189" y="230489"/>
                  </a:moveTo>
                  <a:lnTo>
                    <a:pt x="15753" y="230489"/>
                  </a:lnTo>
                  <a:cubicBezTo>
                    <a:pt x="7462" y="230489"/>
                    <a:pt x="0" y="223857"/>
                    <a:pt x="0" y="214736"/>
                  </a:cubicBezTo>
                  <a:lnTo>
                    <a:pt x="0" y="15753"/>
                  </a:lnTo>
                  <a:cubicBezTo>
                    <a:pt x="0" y="7462"/>
                    <a:pt x="6633" y="0"/>
                    <a:pt x="15753" y="0"/>
                  </a:cubicBezTo>
                  <a:lnTo>
                    <a:pt x="28189" y="0"/>
                  </a:lnTo>
                  <a:cubicBezTo>
                    <a:pt x="48088" y="0"/>
                    <a:pt x="64670" y="16582"/>
                    <a:pt x="64670" y="36480"/>
                  </a:cubicBezTo>
                  <a:lnTo>
                    <a:pt x="64670" y="193180"/>
                  </a:lnTo>
                  <a:cubicBezTo>
                    <a:pt x="64670" y="213907"/>
                    <a:pt x="48088" y="230489"/>
                    <a:pt x="28189" y="230489"/>
                  </a:cubicBezTo>
                  <a:close/>
                </a:path>
              </a:pathLst>
            </a:custGeom>
            <a:solidFill>
              <a:srgbClr val="FF0000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6" name="Graphic 80">
            <a:extLst>
              <a:ext uri="{FF2B5EF4-FFF2-40B4-BE49-F238E27FC236}">
                <a16:creationId xmlns:a16="http://schemas.microsoft.com/office/drawing/2014/main" id="{991A9E32-71CF-4D8C-B509-831C837B54FC}"/>
              </a:ext>
            </a:extLst>
          </p:cNvPr>
          <p:cNvGrpSpPr/>
          <p:nvPr/>
        </p:nvGrpSpPr>
        <p:grpSpPr>
          <a:xfrm>
            <a:off x="8552927" y="2756537"/>
            <a:ext cx="195775" cy="197511"/>
            <a:chOff x="8732783" y="2777658"/>
            <a:chExt cx="199701" cy="201471"/>
          </a:xfrm>
          <a:solidFill>
            <a:schemeClr val="accent1"/>
          </a:solidFill>
        </p:grpSpPr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C5BC9B8-D38B-45C0-B775-5260D9EE8FF7}"/>
                </a:ext>
              </a:extLst>
            </p:cNvPr>
            <p:cNvSpPr/>
            <p:nvPr/>
          </p:nvSpPr>
          <p:spPr>
            <a:xfrm>
              <a:off x="8732783" y="2838182"/>
              <a:ext cx="199701" cy="140946"/>
            </a:xfrm>
            <a:custGeom>
              <a:avLst/>
              <a:gdLst>
                <a:gd name="connsiteX0" fmla="*/ 177785 w 199701"/>
                <a:gd name="connsiteY0" fmla="*/ 140947 h 140946"/>
                <a:gd name="connsiteX1" fmla="*/ 22744 w 199701"/>
                <a:gd name="connsiteY1" fmla="*/ 140947 h 140946"/>
                <a:gd name="connsiteX2" fmla="*/ 359 w 199701"/>
                <a:gd name="connsiteY2" fmla="*/ 114415 h 140946"/>
                <a:gd name="connsiteX3" fmla="*/ 17769 w 199701"/>
                <a:gd name="connsiteY3" fmla="*/ 18240 h 140946"/>
                <a:gd name="connsiteX4" fmla="*/ 40155 w 199701"/>
                <a:gd name="connsiteY4" fmla="*/ 0 h 140946"/>
                <a:gd name="connsiteX5" fmla="*/ 159545 w 199701"/>
                <a:gd name="connsiteY5" fmla="*/ 0 h 140946"/>
                <a:gd name="connsiteX6" fmla="*/ 181930 w 199701"/>
                <a:gd name="connsiteY6" fmla="*/ 18240 h 140946"/>
                <a:gd name="connsiteX7" fmla="*/ 199342 w 199701"/>
                <a:gd name="connsiteY7" fmla="*/ 114415 h 140946"/>
                <a:gd name="connsiteX8" fmla="*/ 177785 w 199701"/>
                <a:gd name="connsiteY8" fmla="*/ 140947 h 140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701" h="140946">
                  <a:moveTo>
                    <a:pt x="177785" y="140947"/>
                  </a:moveTo>
                  <a:lnTo>
                    <a:pt x="22744" y="140947"/>
                  </a:lnTo>
                  <a:cubicBezTo>
                    <a:pt x="8650" y="140947"/>
                    <a:pt x="-2129" y="128510"/>
                    <a:pt x="359" y="114415"/>
                  </a:cubicBezTo>
                  <a:lnTo>
                    <a:pt x="17769" y="18240"/>
                  </a:lnTo>
                  <a:cubicBezTo>
                    <a:pt x="19427" y="7462"/>
                    <a:pt x="29377" y="0"/>
                    <a:pt x="40155" y="0"/>
                  </a:cubicBezTo>
                  <a:lnTo>
                    <a:pt x="159545" y="0"/>
                  </a:lnTo>
                  <a:cubicBezTo>
                    <a:pt x="170324" y="0"/>
                    <a:pt x="179444" y="7462"/>
                    <a:pt x="181930" y="18240"/>
                  </a:cubicBezTo>
                  <a:lnTo>
                    <a:pt x="199342" y="114415"/>
                  </a:lnTo>
                  <a:cubicBezTo>
                    <a:pt x="201829" y="128510"/>
                    <a:pt x="191051" y="140947"/>
                    <a:pt x="177785" y="140947"/>
                  </a:cubicBezTo>
                  <a:close/>
                </a:path>
              </a:pathLst>
            </a:custGeom>
            <a:solidFill>
              <a:schemeClr val="tx2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ACA0B6C1-45C6-4326-BB08-93639C9EA193}"/>
                </a:ext>
              </a:extLst>
            </p:cNvPr>
            <p:cNvSpPr/>
            <p:nvPr/>
          </p:nvSpPr>
          <p:spPr>
            <a:xfrm>
              <a:off x="8784545" y="2777658"/>
              <a:ext cx="99491" cy="82080"/>
            </a:xfrm>
            <a:custGeom>
              <a:avLst/>
              <a:gdLst>
                <a:gd name="connsiteX0" fmla="*/ 98663 w 99491"/>
                <a:gd name="connsiteY0" fmla="*/ 82081 h 82080"/>
                <a:gd name="connsiteX1" fmla="*/ 87055 w 99491"/>
                <a:gd name="connsiteY1" fmla="*/ 82081 h 82080"/>
                <a:gd name="connsiteX2" fmla="*/ 87055 w 99491"/>
                <a:gd name="connsiteY2" fmla="*/ 42284 h 82080"/>
                <a:gd name="connsiteX3" fmla="*/ 56379 w 99491"/>
                <a:gd name="connsiteY3" fmla="*/ 12436 h 82080"/>
                <a:gd name="connsiteX4" fmla="*/ 41455 w 99491"/>
                <a:gd name="connsiteY4" fmla="*/ 12436 h 82080"/>
                <a:gd name="connsiteX5" fmla="*/ 11608 w 99491"/>
                <a:gd name="connsiteY5" fmla="*/ 42284 h 82080"/>
                <a:gd name="connsiteX6" fmla="*/ 11608 w 99491"/>
                <a:gd name="connsiteY6" fmla="*/ 82081 h 82080"/>
                <a:gd name="connsiteX7" fmla="*/ 0 w 99491"/>
                <a:gd name="connsiteY7" fmla="*/ 82081 h 82080"/>
                <a:gd name="connsiteX8" fmla="*/ 0 w 99491"/>
                <a:gd name="connsiteY8" fmla="*/ 42284 h 82080"/>
                <a:gd name="connsiteX9" fmla="*/ 42284 w 99491"/>
                <a:gd name="connsiteY9" fmla="*/ 0 h 82080"/>
                <a:gd name="connsiteX10" fmla="*/ 57208 w 99491"/>
                <a:gd name="connsiteY10" fmla="*/ 0 h 82080"/>
                <a:gd name="connsiteX11" fmla="*/ 99492 w 99491"/>
                <a:gd name="connsiteY11" fmla="*/ 42284 h 82080"/>
                <a:gd name="connsiteX12" fmla="*/ 99492 w 99491"/>
                <a:gd name="connsiteY12" fmla="*/ 82081 h 8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491" h="82080">
                  <a:moveTo>
                    <a:pt x="98663" y="82081"/>
                  </a:moveTo>
                  <a:lnTo>
                    <a:pt x="87055" y="82081"/>
                  </a:lnTo>
                  <a:lnTo>
                    <a:pt x="87055" y="42284"/>
                  </a:lnTo>
                  <a:cubicBezTo>
                    <a:pt x="87055" y="25702"/>
                    <a:pt x="73790" y="12436"/>
                    <a:pt x="56379" y="12436"/>
                  </a:cubicBezTo>
                  <a:lnTo>
                    <a:pt x="41455" y="12436"/>
                  </a:lnTo>
                  <a:cubicBezTo>
                    <a:pt x="24873" y="12436"/>
                    <a:pt x="11608" y="25702"/>
                    <a:pt x="11608" y="42284"/>
                  </a:cubicBezTo>
                  <a:lnTo>
                    <a:pt x="11608" y="82081"/>
                  </a:lnTo>
                  <a:lnTo>
                    <a:pt x="0" y="82081"/>
                  </a:lnTo>
                  <a:lnTo>
                    <a:pt x="0" y="42284"/>
                  </a:lnTo>
                  <a:cubicBezTo>
                    <a:pt x="0" y="19069"/>
                    <a:pt x="19070" y="0"/>
                    <a:pt x="42284" y="0"/>
                  </a:cubicBezTo>
                  <a:lnTo>
                    <a:pt x="57208" y="0"/>
                  </a:lnTo>
                  <a:cubicBezTo>
                    <a:pt x="80422" y="0"/>
                    <a:pt x="99492" y="19069"/>
                    <a:pt x="99492" y="42284"/>
                  </a:cubicBezTo>
                  <a:lnTo>
                    <a:pt x="99492" y="8208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26F9D9C7-3476-433D-844E-9EE348BD85F6}"/>
                </a:ext>
              </a:extLst>
            </p:cNvPr>
            <p:cNvSpPr/>
            <p:nvPr/>
          </p:nvSpPr>
          <p:spPr>
            <a:xfrm>
              <a:off x="8780399" y="2847302"/>
              <a:ext cx="18239" cy="21556"/>
            </a:xfrm>
            <a:custGeom>
              <a:avLst/>
              <a:gdLst>
                <a:gd name="connsiteX0" fmla="*/ 9120 w 18239"/>
                <a:gd name="connsiteY0" fmla="*/ 21557 h 21556"/>
                <a:gd name="connsiteX1" fmla="*/ 9120 w 18239"/>
                <a:gd name="connsiteY1" fmla="*/ 21557 h 21556"/>
                <a:gd name="connsiteX2" fmla="*/ 0 w 18239"/>
                <a:gd name="connsiteY2" fmla="*/ 12436 h 21556"/>
                <a:gd name="connsiteX3" fmla="*/ 0 w 18239"/>
                <a:gd name="connsiteY3" fmla="*/ 0 h 21556"/>
                <a:gd name="connsiteX4" fmla="*/ 18240 w 18239"/>
                <a:gd name="connsiteY4" fmla="*/ 0 h 21556"/>
                <a:gd name="connsiteX5" fmla="*/ 18240 w 18239"/>
                <a:gd name="connsiteY5" fmla="*/ 12436 h 21556"/>
                <a:gd name="connsiteX6" fmla="*/ 9120 w 18239"/>
                <a:gd name="connsiteY6" fmla="*/ 21557 h 2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39" h="21556">
                  <a:moveTo>
                    <a:pt x="9120" y="21557"/>
                  </a:moveTo>
                  <a:lnTo>
                    <a:pt x="9120" y="21557"/>
                  </a:lnTo>
                  <a:cubicBezTo>
                    <a:pt x="4145" y="21557"/>
                    <a:pt x="0" y="17411"/>
                    <a:pt x="0" y="12436"/>
                  </a:cubicBezTo>
                  <a:lnTo>
                    <a:pt x="0" y="0"/>
                  </a:lnTo>
                  <a:lnTo>
                    <a:pt x="18240" y="0"/>
                  </a:lnTo>
                  <a:lnTo>
                    <a:pt x="18240" y="12436"/>
                  </a:lnTo>
                  <a:cubicBezTo>
                    <a:pt x="18240" y="17411"/>
                    <a:pt x="14094" y="21557"/>
                    <a:pt x="9120" y="2155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AFEE45E4-13C7-483F-8799-9FC9F197C314}"/>
                </a:ext>
              </a:extLst>
            </p:cNvPr>
            <p:cNvSpPr/>
            <p:nvPr/>
          </p:nvSpPr>
          <p:spPr>
            <a:xfrm>
              <a:off x="8868284" y="2848131"/>
              <a:ext cx="18240" cy="21556"/>
            </a:xfrm>
            <a:custGeom>
              <a:avLst/>
              <a:gdLst>
                <a:gd name="connsiteX0" fmla="*/ 9120 w 18240"/>
                <a:gd name="connsiteY0" fmla="*/ 21557 h 21556"/>
                <a:gd name="connsiteX1" fmla="*/ 9120 w 18240"/>
                <a:gd name="connsiteY1" fmla="*/ 21557 h 21556"/>
                <a:gd name="connsiteX2" fmla="*/ 0 w 18240"/>
                <a:gd name="connsiteY2" fmla="*/ 12436 h 21556"/>
                <a:gd name="connsiteX3" fmla="*/ 0 w 18240"/>
                <a:gd name="connsiteY3" fmla="*/ 0 h 21556"/>
                <a:gd name="connsiteX4" fmla="*/ 18241 w 18240"/>
                <a:gd name="connsiteY4" fmla="*/ 0 h 21556"/>
                <a:gd name="connsiteX5" fmla="*/ 18241 w 18240"/>
                <a:gd name="connsiteY5" fmla="*/ 12436 h 21556"/>
                <a:gd name="connsiteX6" fmla="*/ 9120 w 18240"/>
                <a:gd name="connsiteY6" fmla="*/ 21557 h 2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40" h="21556">
                  <a:moveTo>
                    <a:pt x="9120" y="21557"/>
                  </a:moveTo>
                  <a:lnTo>
                    <a:pt x="9120" y="21557"/>
                  </a:lnTo>
                  <a:cubicBezTo>
                    <a:pt x="4145" y="21557"/>
                    <a:pt x="0" y="17411"/>
                    <a:pt x="0" y="12436"/>
                  </a:cubicBezTo>
                  <a:lnTo>
                    <a:pt x="0" y="0"/>
                  </a:lnTo>
                  <a:lnTo>
                    <a:pt x="18241" y="0"/>
                  </a:lnTo>
                  <a:lnTo>
                    <a:pt x="18241" y="12436"/>
                  </a:lnTo>
                  <a:cubicBezTo>
                    <a:pt x="18241" y="17411"/>
                    <a:pt x="14095" y="21557"/>
                    <a:pt x="9120" y="2155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BCF7B596-0288-47A6-866E-F89B0417201C}"/>
                </a:ext>
              </a:extLst>
            </p:cNvPr>
            <p:cNvSpPr/>
            <p:nvPr/>
          </p:nvSpPr>
          <p:spPr>
            <a:xfrm>
              <a:off x="8791178" y="2904510"/>
              <a:ext cx="82909" cy="13265"/>
            </a:xfrm>
            <a:custGeom>
              <a:avLst/>
              <a:gdLst>
                <a:gd name="connsiteX0" fmla="*/ 76277 w 82909"/>
                <a:gd name="connsiteY0" fmla="*/ 13265 h 13265"/>
                <a:gd name="connsiteX1" fmla="*/ 6632 w 82909"/>
                <a:gd name="connsiteY1" fmla="*/ 13265 h 13265"/>
                <a:gd name="connsiteX2" fmla="*/ 0 w 82909"/>
                <a:gd name="connsiteY2" fmla="*/ 6633 h 13265"/>
                <a:gd name="connsiteX3" fmla="*/ 0 w 82909"/>
                <a:gd name="connsiteY3" fmla="*/ 6633 h 13265"/>
                <a:gd name="connsiteX4" fmla="*/ 6632 w 82909"/>
                <a:gd name="connsiteY4" fmla="*/ 0 h 13265"/>
                <a:gd name="connsiteX5" fmla="*/ 76277 w 82909"/>
                <a:gd name="connsiteY5" fmla="*/ 0 h 13265"/>
                <a:gd name="connsiteX6" fmla="*/ 82910 w 82909"/>
                <a:gd name="connsiteY6" fmla="*/ 6633 h 13265"/>
                <a:gd name="connsiteX7" fmla="*/ 82910 w 82909"/>
                <a:gd name="connsiteY7" fmla="*/ 6633 h 13265"/>
                <a:gd name="connsiteX8" fmla="*/ 76277 w 82909"/>
                <a:gd name="connsiteY8" fmla="*/ 13265 h 1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909" h="13265">
                  <a:moveTo>
                    <a:pt x="76277" y="13265"/>
                  </a:moveTo>
                  <a:lnTo>
                    <a:pt x="6632" y="13265"/>
                  </a:lnTo>
                  <a:cubicBezTo>
                    <a:pt x="3316" y="13265"/>
                    <a:pt x="0" y="9949"/>
                    <a:pt x="0" y="6633"/>
                  </a:cubicBezTo>
                  <a:lnTo>
                    <a:pt x="0" y="6633"/>
                  </a:lnTo>
                  <a:cubicBezTo>
                    <a:pt x="0" y="3316"/>
                    <a:pt x="3316" y="0"/>
                    <a:pt x="6632" y="0"/>
                  </a:cubicBezTo>
                  <a:lnTo>
                    <a:pt x="76277" y="0"/>
                  </a:lnTo>
                  <a:cubicBezTo>
                    <a:pt x="79593" y="0"/>
                    <a:pt x="82910" y="3316"/>
                    <a:pt x="82910" y="6633"/>
                  </a:cubicBezTo>
                  <a:lnTo>
                    <a:pt x="82910" y="6633"/>
                  </a:lnTo>
                  <a:cubicBezTo>
                    <a:pt x="82910" y="10778"/>
                    <a:pt x="79593" y="13265"/>
                    <a:pt x="76277" y="1326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7" name="Graphic 80">
            <a:extLst>
              <a:ext uri="{FF2B5EF4-FFF2-40B4-BE49-F238E27FC236}">
                <a16:creationId xmlns:a16="http://schemas.microsoft.com/office/drawing/2014/main" id="{EAA994ED-D91A-48CE-B5CF-361E28B2592A}"/>
              </a:ext>
            </a:extLst>
          </p:cNvPr>
          <p:cNvGrpSpPr/>
          <p:nvPr/>
        </p:nvGrpSpPr>
        <p:grpSpPr>
          <a:xfrm>
            <a:off x="3233025" y="2691513"/>
            <a:ext cx="262477" cy="263346"/>
            <a:chOff x="3306207" y="2711330"/>
            <a:chExt cx="267740" cy="268627"/>
          </a:xfrm>
          <a:solidFill>
            <a:schemeClr val="accent1"/>
          </a:solidFill>
        </p:grpSpPr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6E4C390A-22C7-425C-AB24-E137224B27D8}"/>
                </a:ext>
              </a:extLst>
            </p:cNvPr>
            <p:cNvSpPr/>
            <p:nvPr/>
          </p:nvSpPr>
          <p:spPr>
            <a:xfrm>
              <a:off x="3306207" y="2791753"/>
              <a:ext cx="267740" cy="188205"/>
            </a:xfrm>
            <a:custGeom>
              <a:avLst/>
              <a:gdLst>
                <a:gd name="connsiteX0" fmla="*/ 237607 w 267740"/>
                <a:gd name="connsiteY0" fmla="*/ 188205 h 188205"/>
                <a:gd name="connsiteX1" fmla="*/ 30333 w 267740"/>
                <a:gd name="connsiteY1" fmla="*/ 188205 h 188205"/>
                <a:gd name="connsiteX2" fmla="*/ 485 w 267740"/>
                <a:gd name="connsiteY2" fmla="*/ 152554 h 188205"/>
                <a:gd name="connsiteX3" fmla="*/ 24529 w 267740"/>
                <a:gd name="connsiteY3" fmla="*/ 24873 h 188205"/>
                <a:gd name="connsiteX4" fmla="*/ 54376 w 267740"/>
                <a:gd name="connsiteY4" fmla="*/ 0 h 188205"/>
                <a:gd name="connsiteX5" fmla="*/ 213563 w 267740"/>
                <a:gd name="connsiteY5" fmla="*/ 0 h 188205"/>
                <a:gd name="connsiteX6" fmla="*/ 243411 w 267740"/>
                <a:gd name="connsiteY6" fmla="*/ 24873 h 188205"/>
                <a:gd name="connsiteX7" fmla="*/ 267455 w 267740"/>
                <a:gd name="connsiteY7" fmla="*/ 152554 h 188205"/>
                <a:gd name="connsiteX8" fmla="*/ 237607 w 267740"/>
                <a:gd name="connsiteY8" fmla="*/ 188205 h 18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740" h="188205">
                  <a:moveTo>
                    <a:pt x="237607" y="188205"/>
                  </a:moveTo>
                  <a:lnTo>
                    <a:pt x="30333" y="188205"/>
                  </a:lnTo>
                  <a:cubicBezTo>
                    <a:pt x="11264" y="188205"/>
                    <a:pt x="-2831" y="170794"/>
                    <a:pt x="485" y="152554"/>
                  </a:cubicBezTo>
                  <a:lnTo>
                    <a:pt x="24529" y="24873"/>
                  </a:lnTo>
                  <a:cubicBezTo>
                    <a:pt x="27016" y="10778"/>
                    <a:pt x="39453" y="0"/>
                    <a:pt x="54376" y="0"/>
                  </a:cubicBezTo>
                  <a:lnTo>
                    <a:pt x="213563" y="0"/>
                  </a:lnTo>
                  <a:cubicBezTo>
                    <a:pt x="227658" y="0"/>
                    <a:pt x="240095" y="9949"/>
                    <a:pt x="243411" y="24873"/>
                  </a:cubicBezTo>
                  <a:lnTo>
                    <a:pt x="267455" y="152554"/>
                  </a:lnTo>
                  <a:cubicBezTo>
                    <a:pt x="269942" y="170794"/>
                    <a:pt x="255848" y="188205"/>
                    <a:pt x="237607" y="188205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C46F7427-79A6-420D-8876-A462F8774D2A}"/>
                </a:ext>
              </a:extLst>
            </p:cNvPr>
            <p:cNvSpPr/>
            <p:nvPr/>
          </p:nvSpPr>
          <p:spPr>
            <a:xfrm>
              <a:off x="3374678" y="2711330"/>
              <a:ext cx="132655" cy="109441"/>
            </a:xfrm>
            <a:custGeom>
              <a:avLst/>
              <a:gdLst>
                <a:gd name="connsiteX0" fmla="*/ 132656 w 132655"/>
                <a:gd name="connsiteY0" fmla="*/ 109441 h 109441"/>
                <a:gd name="connsiteX1" fmla="*/ 116903 w 132655"/>
                <a:gd name="connsiteY1" fmla="*/ 109441 h 109441"/>
                <a:gd name="connsiteX2" fmla="*/ 116903 w 132655"/>
                <a:gd name="connsiteY2" fmla="*/ 56379 h 109441"/>
                <a:gd name="connsiteX3" fmla="*/ 76277 w 132655"/>
                <a:gd name="connsiteY3" fmla="*/ 15753 h 109441"/>
                <a:gd name="connsiteX4" fmla="*/ 56379 w 132655"/>
                <a:gd name="connsiteY4" fmla="*/ 15753 h 109441"/>
                <a:gd name="connsiteX5" fmla="*/ 15753 w 132655"/>
                <a:gd name="connsiteY5" fmla="*/ 56379 h 109441"/>
                <a:gd name="connsiteX6" fmla="*/ 15753 w 132655"/>
                <a:gd name="connsiteY6" fmla="*/ 109441 h 109441"/>
                <a:gd name="connsiteX7" fmla="*/ 0 w 132655"/>
                <a:gd name="connsiteY7" fmla="*/ 109441 h 109441"/>
                <a:gd name="connsiteX8" fmla="*/ 0 w 132655"/>
                <a:gd name="connsiteY8" fmla="*/ 56379 h 109441"/>
                <a:gd name="connsiteX9" fmla="*/ 56379 w 132655"/>
                <a:gd name="connsiteY9" fmla="*/ 0 h 109441"/>
                <a:gd name="connsiteX10" fmla="*/ 76277 w 132655"/>
                <a:gd name="connsiteY10" fmla="*/ 0 h 109441"/>
                <a:gd name="connsiteX11" fmla="*/ 132656 w 132655"/>
                <a:gd name="connsiteY11" fmla="*/ 56379 h 109441"/>
                <a:gd name="connsiteX12" fmla="*/ 132656 w 132655"/>
                <a:gd name="connsiteY12" fmla="*/ 109441 h 109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655" h="109441">
                  <a:moveTo>
                    <a:pt x="132656" y="109441"/>
                  </a:moveTo>
                  <a:lnTo>
                    <a:pt x="116903" y="109441"/>
                  </a:lnTo>
                  <a:lnTo>
                    <a:pt x="116903" y="56379"/>
                  </a:lnTo>
                  <a:cubicBezTo>
                    <a:pt x="116903" y="33993"/>
                    <a:pt x="98663" y="15753"/>
                    <a:pt x="76277" y="15753"/>
                  </a:cubicBezTo>
                  <a:lnTo>
                    <a:pt x="56379" y="15753"/>
                  </a:lnTo>
                  <a:cubicBezTo>
                    <a:pt x="33993" y="15753"/>
                    <a:pt x="15753" y="33993"/>
                    <a:pt x="15753" y="56379"/>
                  </a:cubicBezTo>
                  <a:lnTo>
                    <a:pt x="15753" y="109441"/>
                  </a:lnTo>
                  <a:lnTo>
                    <a:pt x="0" y="109441"/>
                  </a:lnTo>
                  <a:lnTo>
                    <a:pt x="0" y="56379"/>
                  </a:lnTo>
                  <a:cubicBezTo>
                    <a:pt x="0" y="25702"/>
                    <a:pt x="24873" y="0"/>
                    <a:pt x="56379" y="0"/>
                  </a:cubicBezTo>
                  <a:lnTo>
                    <a:pt x="76277" y="0"/>
                  </a:lnTo>
                  <a:cubicBezTo>
                    <a:pt x="106954" y="0"/>
                    <a:pt x="132656" y="24873"/>
                    <a:pt x="132656" y="56379"/>
                  </a:cubicBezTo>
                  <a:lnTo>
                    <a:pt x="132656" y="109441"/>
                  </a:lnTo>
                  <a:close/>
                </a:path>
              </a:pathLst>
            </a:custGeom>
            <a:solidFill>
              <a:srgbClr val="6B331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C95E2060-3A7D-48AA-9338-4F61DC031BE0}"/>
                </a:ext>
              </a:extLst>
            </p:cNvPr>
            <p:cNvSpPr/>
            <p:nvPr/>
          </p:nvSpPr>
          <p:spPr>
            <a:xfrm>
              <a:off x="3369704" y="2802531"/>
              <a:ext cx="24123" cy="29018"/>
            </a:xfrm>
            <a:custGeom>
              <a:avLst/>
              <a:gdLst>
                <a:gd name="connsiteX0" fmla="*/ 12436 w 24123"/>
                <a:gd name="connsiteY0" fmla="*/ 29018 h 29018"/>
                <a:gd name="connsiteX1" fmla="*/ 12436 w 24123"/>
                <a:gd name="connsiteY1" fmla="*/ 29018 h 29018"/>
                <a:gd name="connsiteX2" fmla="*/ 0 w 24123"/>
                <a:gd name="connsiteY2" fmla="*/ 16582 h 29018"/>
                <a:gd name="connsiteX3" fmla="*/ 0 w 24123"/>
                <a:gd name="connsiteY3" fmla="*/ 0 h 29018"/>
                <a:gd name="connsiteX4" fmla="*/ 24044 w 24123"/>
                <a:gd name="connsiteY4" fmla="*/ 0 h 29018"/>
                <a:gd name="connsiteX5" fmla="*/ 24044 w 24123"/>
                <a:gd name="connsiteY5" fmla="*/ 16582 h 29018"/>
                <a:gd name="connsiteX6" fmla="*/ 12436 w 24123"/>
                <a:gd name="connsiteY6" fmla="*/ 29018 h 2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23" h="29018">
                  <a:moveTo>
                    <a:pt x="12436" y="29018"/>
                  </a:moveTo>
                  <a:lnTo>
                    <a:pt x="12436" y="29018"/>
                  </a:lnTo>
                  <a:cubicBezTo>
                    <a:pt x="5804" y="29018"/>
                    <a:pt x="0" y="23215"/>
                    <a:pt x="0" y="16582"/>
                  </a:cubicBezTo>
                  <a:lnTo>
                    <a:pt x="0" y="0"/>
                  </a:lnTo>
                  <a:lnTo>
                    <a:pt x="24044" y="0"/>
                  </a:lnTo>
                  <a:lnTo>
                    <a:pt x="24044" y="16582"/>
                  </a:lnTo>
                  <a:cubicBezTo>
                    <a:pt x="24873" y="24044"/>
                    <a:pt x="19069" y="29018"/>
                    <a:pt x="12436" y="29018"/>
                  </a:cubicBez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DAD7CE2-0ABE-403C-814C-ABC94F706779}"/>
                </a:ext>
              </a:extLst>
            </p:cNvPr>
            <p:cNvSpPr/>
            <p:nvPr/>
          </p:nvSpPr>
          <p:spPr>
            <a:xfrm>
              <a:off x="3486607" y="2804189"/>
              <a:ext cx="24123" cy="29018"/>
            </a:xfrm>
            <a:custGeom>
              <a:avLst/>
              <a:gdLst>
                <a:gd name="connsiteX0" fmla="*/ 12436 w 24123"/>
                <a:gd name="connsiteY0" fmla="*/ 29018 h 29018"/>
                <a:gd name="connsiteX1" fmla="*/ 12436 w 24123"/>
                <a:gd name="connsiteY1" fmla="*/ 29018 h 29018"/>
                <a:gd name="connsiteX2" fmla="*/ 0 w 24123"/>
                <a:gd name="connsiteY2" fmla="*/ 16582 h 29018"/>
                <a:gd name="connsiteX3" fmla="*/ 0 w 24123"/>
                <a:gd name="connsiteY3" fmla="*/ 0 h 29018"/>
                <a:gd name="connsiteX4" fmla="*/ 24044 w 24123"/>
                <a:gd name="connsiteY4" fmla="*/ 0 h 29018"/>
                <a:gd name="connsiteX5" fmla="*/ 24044 w 24123"/>
                <a:gd name="connsiteY5" fmla="*/ 16582 h 29018"/>
                <a:gd name="connsiteX6" fmla="*/ 12436 w 24123"/>
                <a:gd name="connsiteY6" fmla="*/ 29018 h 2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23" h="29018">
                  <a:moveTo>
                    <a:pt x="12436" y="29018"/>
                  </a:moveTo>
                  <a:lnTo>
                    <a:pt x="12436" y="29018"/>
                  </a:lnTo>
                  <a:cubicBezTo>
                    <a:pt x="5804" y="29018"/>
                    <a:pt x="0" y="23215"/>
                    <a:pt x="0" y="16582"/>
                  </a:cubicBezTo>
                  <a:lnTo>
                    <a:pt x="0" y="0"/>
                  </a:lnTo>
                  <a:lnTo>
                    <a:pt x="24044" y="0"/>
                  </a:lnTo>
                  <a:lnTo>
                    <a:pt x="24044" y="16582"/>
                  </a:lnTo>
                  <a:cubicBezTo>
                    <a:pt x="24873" y="24044"/>
                    <a:pt x="19069" y="29018"/>
                    <a:pt x="12436" y="29018"/>
                  </a:cubicBez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A1E29C02-D934-42F4-B76F-D3DEC09D0083}"/>
                </a:ext>
              </a:extLst>
            </p:cNvPr>
            <p:cNvSpPr/>
            <p:nvPr/>
          </p:nvSpPr>
          <p:spPr>
            <a:xfrm>
              <a:off x="3384628" y="2879637"/>
              <a:ext cx="111099" cy="18240"/>
            </a:xfrm>
            <a:custGeom>
              <a:avLst/>
              <a:gdLst>
                <a:gd name="connsiteX0" fmla="*/ 101979 w 111099"/>
                <a:gd name="connsiteY0" fmla="*/ 18240 h 18240"/>
                <a:gd name="connsiteX1" fmla="*/ 9120 w 111099"/>
                <a:gd name="connsiteY1" fmla="*/ 18240 h 18240"/>
                <a:gd name="connsiteX2" fmla="*/ 0 w 111099"/>
                <a:gd name="connsiteY2" fmla="*/ 9120 h 18240"/>
                <a:gd name="connsiteX3" fmla="*/ 0 w 111099"/>
                <a:gd name="connsiteY3" fmla="*/ 9120 h 18240"/>
                <a:gd name="connsiteX4" fmla="*/ 9120 w 111099"/>
                <a:gd name="connsiteY4" fmla="*/ 0 h 18240"/>
                <a:gd name="connsiteX5" fmla="*/ 101979 w 111099"/>
                <a:gd name="connsiteY5" fmla="*/ 0 h 18240"/>
                <a:gd name="connsiteX6" fmla="*/ 111099 w 111099"/>
                <a:gd name="connsiteY6" fmla="*/ 9120 h 18240"/>
                <a:gd name="connsiteX7" fmla="*/ 111099 w 111099"/>
                <a:gd name="connsiteY7" fmla="*/ 9120 h 18240"/>
                <a:gd name="connsiteX8" fmla="*/ 101979 w 111099"/>
                <a:gd name="connsiteY8" fmla="*/ 18240 h 1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099" h="18240">
                  <a:moveTo>
                    <a:pt x="101979" y="18240"/>
                  </a:moveTo>
                  <a:lnTo>
                    <a:pt x="9120" y="18240"/>
                  </a:lnTo>
                  <a:cubicBezTo>
                    <a:pt x="4145" y="18240"/>
                    <a:pt x="0" y="14095"/>
                    <a:pt x="0" y="9120"/>
                  </a:cubicBezTo>
                  <a:lnTo>
                    <a:pt x="0" y="9120"/>
                  </a:lnTo>
                  <a:cubicBezTo>
                    <a:pt x="0" y="4145"/>
                    <a:pt x="4145" y="0"/>
                    <a:pt x="9120" y="0"/>
                  </a:cubicBezTo>
                  <a:lnTo>
                    <a:pt x="101979" y="0"/>
                  </a:lnTo>
                  <a:cubicBezTo>
                    <a:pt x="106954" y="0"/>
                    <a:pt x="111099" y="4145"/>
                    <a:pt x="111099" y="9120"/>
                  </a:cubicBezTo>
                  <a:lnTo>
                    <a:pt x="111099" y="9120"/>
                  </a:lnTo>
                  <a:cubicBezTo>
                    <a:pt x="110270" y="14095"/>
                    <a:pt x="106954" y="18240"/>
                    <a:pt x="101979" y="18240"/>
                  </a:cubicBezTo>
                  <a:close/>
                </a:path>
              </a:pathLst>
            </a:custGeom>
            <a:solidFill>
              <a:srgbClr val="FFC57A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743B4F5-C494-415A-A610-1DD3C7FCFEFC}"/>
              </a:ext>
            </a:extLst>
          </p:cNvPr>
          <p:cNvSpPr/>
          <p:nvPr/>
        </p:nvSpPr>
        <p:spPr>
          <a:xfrm>
            <a:off x="3096951" y="3301926"/>
            <a:ext cx="1726386" cy="65023"/>
          </a:xfrm>
          <a:custGeom>
            <a:avLst/>
            <a:gdLst>
              <a:gd name="connsiteX0" fmla="*/ 0 w 1761004"/>
              <a:gd name="connsiteY0" fmla="*/ 0 h 66327"/>
              <a:gd name="connsiteX1" fmla="*/ 1761005 w 1761004"/>
              <a:gd name="connsiteY1" fmla="*/ 0 h 66327"/>
              <a:gd name="connsiteX2" fmla="*/ 1761005 w 1761004"/>
              <a:gd name="connsiteY2" fmla="*/ 66328 h 66327"/>
              <a:gd name="connsiteX3" fmla="*/ 0 w 1761004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1004" h="66327">
                <a:moveTo>
                  <a:pt x="0" y="0"/>
                </a:moveTo>
                <a:lnTo>
                  <a:pt x="1761005" y="0"/>
                </a:lnTo>
                <a:lnTo>
                  <a:pt x="1761005" y="66328"/>
                </a:lnTo>
                <a:lnTo>
                  <a:pt x="0" y="66328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4BC27A4F-C68D-467A-950A-F1EA796DD4DA}"/>
              </a:ext>
            </a:extLst>
          </p:cNvPr>
          <p:cNvSpPr/>
          <p:nvPr/>
        </p:nvSpPr>
        <p:spPr>
          <a:xfrm>
            <a:off x="7487697" y="3301113"/>
            <a:ext cx="1702002" cy="65023"/>
          </a:xfrm>
          <a:custGeom>
            <a:avLst/>
            <a:gdLst>
              <a:gd name="connsiteX0" fmla="*/ 0 w 1736131"/>
              <a:gd name="connsiteY0" fmla="*/ 0 h 66327"/>
              <a:gd name="connsiteX1" fmla="*/ 1736132 w 1736131"/>
              <a:gd name="connsiteY1" fmla="*/ 0 h 66327"/>
              <a:gd name="connsiteX2" fmla="*/ 1736132 w 1736131"/>
              <a:gd name="connsiteY2" fmla="*/ 66328 h 66327"/>
              <a:gd name="connsiteX3" fmla="*/ 0 w 1736131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131" h="66327">
                <a:moveTo>
                  <a:pt x="0" y="0"/>
                </a:moveTo>
                <a:lnTo>
                  <a:pt x="1736132" y="0"/>
                </a:lnTo>
                <a:lnTo>
                  <a:pt x="1736132" y="66328"/>
                </a:lnTo>
                <a:lnTo>
                  <a:pt x="0" y="66328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1C3C2CD0-05E8-4722-B491-3FA7B0FD0E18}"/>
              </a:ext>
            </a:extLst>
          </p:cNvPr>
          <p:cNvSpPr/>
          <p:nvPr/>
        </p:nvSpPr>
        <p:spPr>
          <a:xfrm>
            <a:off x="3096951" y="3242591"/>
            <a:ext cx="1726386" cy="59334"/>
          </a:xfrm>
          <a:custGeom>
            <a:avLst/>
            <a:gdLst>
              <a:gd name="connsiteX0" fmla="*/ 0 w 1761004"/>
              <a:gd name="connsiteY0" fmla="*/ 0 h 60524"/>
              <a:gd name="connsiteX1" fmla="*/ 1761005 w 1761004"/>
              <a:gd name="connsiteY1" fmla="*/ 0 h 60524"/>
              <a:gd name="connsiteX2" fmla="*/ 1761005 w 1761004"/>
              <a:gd name="connsiteY2" fmla="*/ 60524 h 60524"/>
              <a:gd name="connsiteX3" fmla="*/ 0 w 1761004"/>
              <a:gd name="connsiteY3" fmla="*/ 60524 h 6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1004" h="60524">
                <a:moveTo>
                  <a:pt x="0" y="0"/>
                </a:moveTo>
                <a:lnTo>
                  <a:pt x="1761005" y="0"/>
                </a:lnTo>
                <a:lnTo>
                  <a:pt x="1761005" y="60524"/>
                </a:lnTo>
                <a:lnTo>
                  <a:pt x="0" y="60524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F0D1A8DD-2E13-42A4-823C-B4628F5C97C4}"/>
              </a:ext>
            </a:extLst>
          </p:cNvPr>
          <p:cNvSpPr/>
          <p:nvPr/>
        </p:nvSpPr>
        <p:spPr>
          <a:xfrm>
            <a:off x="61144" y="2141248"/>
            <a:ext cx="863193" cy="60147"/>
          </a:xfrm>
          <a:custGeom>
            <a:avLst/>
            <a:gdLst>
              <a:gd name="connsiteX0" fmla="*/ 0 w 880502"/>
              <a:gd name="connsiteY0" fmla="*/ 0 h 61353"/>
              <a:gd name="connsiteX1" fmla="*/ 880502 w 880502"/>
              <a:gd name="connsiteY1" fmla="*/ 0 h 61353"/>
              <a:gd name="connsiteX2" fmla="*/ 880502 w 880502"/>
              <a:gd name="connsiteY2" fmla="*/ 61353 h 61353"/>
              <a:gd name="connsiteX3" fmla="*/ 0 w 880502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0502" h="61353">
                <a:moveTo>
                  <a:pt x="0" y="0"/>
                </a:moveTo>
                <a:lnTo>
                  <a:pt x="880502" y="0"/>
                </a:lnTo>
                <a:lnTo>
                  <a:pt x="880502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083A8643-C111-4CB6-9547-F6732218E00A}"/>
              </a:ext>
            </a:extLst>
          </p:cNvPr>
          <p:cNvSpPr/>
          <p:nvPr/>
        </p:nvSpPr>
        <p:spPr>
          <a:xfrm>
            <a:off x="61143" y="3540889"/>
            <a:ext cx="888390" cy="60147"/>
          </a:xfrm>
          <a:custGeom>
            <a:avLst/>
            <a:gdLst>
              <a:gd name="connsiteX0" fmla="*/ 0 w 906204"/>
              <a:gd name="connsiteY0" fmla="*/ 0 h 61353"/>
              <a:gd name="connsiteX1" fmla="*/ 906205 w 906204"/>
              <a:gd name="connsiteY1" fmla="*/ 0 h 61353"/>
              <a:gd name="connsiteX2" fmla="*/ 906205 w 906204"/>
              <a:gd name="connsiteY2" fmla="*/ 61353 h 61353"/>
              <a:gd name="connsiteX3" fmla="*/ 0 w 906204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204" h="61353">
                <a:moveTo>
                  <a:pt x="0" y="0"/>
                </a:moveTo>
                <a:lnTo>
                  <a:pt x="906205" y="0"/>
                </a:lnTo>
                <a:lnTo>
                  <a:pt x="906205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0C5D607C-58AD-4C72-A2D6-D14F7D6B0E83}"/>
              </a:ext>
            </a:extLst>
          </p:cNvPr>
          <p:cNvSpPr/>
          <p:nvPr/>
        </p:nvSpPr>
        <p:spPr>
          <a:xfrm>
            <a:off x="11537879" y="2151814"/>
            <a:ext cx="715263" cy="60147"/>
          </a:xfrm>
          <a:custGeom>
            <a:avLst/>
            <a:gdLst>
              <a:gd name="connsiteX0" fmla="*/ 0 w 729606"/>
              <a:gd name="connsiteY0" fmla="*/ 0 h 61353"/>
              <a:gd name="connsiteX1" fmla="*/ 729607 w 729606"/>
              <a:gd name="connsiteY1" fmla="*/ 0 h 61353"/>
              <a:gd name="connsiteX2" fmla="*/ 729607 w 729606"/>
              <a:gd name="connsiteY2" fmla="*/ 61353 h 61353"/>
              <a:gd name="connsiteX3" fmla="*/ 0 w 729606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9606" h="61353">
                <a:moveTo>
                  <a:pt x="0" y="0"/>
                </a:moveTo>
                <a:lnTo>
                  <a:pt x="729607" y="0"/>
                </a:lnTo>
                <a:lnTo>
                  <a:pt x="729607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7C4E4A02-AD7A-4EA3-BC12-207591FBE55B}"/>
              </a:ext>
            </a:extLst>
          </p:cNvPr>
          <p:cNvSpPr/>
          <p:nvPr/>
        </p:nvSpPr>
        <p:spPr>
          <a:xfrm>
            <a:off x="11563889" y="3366950"/>
            <a:ext cx="689254" cy="60147"/>
          </a:xfrm>
          <a:custGeom>
            <a:avLst/>
            <a:gdLst>
              <a:gd name="connsiteX0" fmla="*/ 0 w 703075"/>
              <a:gd name="connsiteY0" fmla="*/ 0 h 61353"/>
              <a:gd name="connsiteX1" fmla="*/ 703075 w 703075"/>
              <a:gd name="connsiteY1" fmla="*/ 0 h 61353"/>
              <a:gd name="connsiteX2" fmla="*/ 703075 w 703075"/>
              <a:gd name="connsiteY2" fmla="*/ 61353 h 61353"/>
              <a:gd name="connsiteX3" fmla="*/ 0 w 703075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075" h="61353">
                <a:moveTo>
                  <a:pt x="0" y="0"/>
                </a:moveTo>
                <a:lnTo>
                  <a:pt x="703075" y="0"/>
                </a:lnTo>
                <a:lnTo>
                  <a:pt x="703075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442B3230-9CCF-4D39-9687-4BC78551001C}"/>
              </a:ext>
            </a:extLst>
          </p:cNvPr>
          <p:cNvSpPr/>
          <p:nvPr/>
        </p:nvSpPr>
        <p:spPr>
          <a:xfrm>
            <a:off x="61144" y="2084351"/>
            <a:ext cx="863193" cy="59334"/>
          </a:xfrm>
          <a:custGeom>
            <a:avLst/>
            <a:gdLst>
              <a:gd name="connsiteX0" fmla="*/ 0 w 880502"/>
              <a:gd name="connsiteY0" fmla="*/ 0 h 60524"/>
              <a:gd name="connsiteX1" fmla="*/ 880502 w 880502"/>
              <a:gd name="connsiteY1" fmla="*/ 0 h 60524"/>
              <a:gd name="connsiteX2" fmla="*/ 880502 w 880502"/>
              <a:gd name="connsiteY2" fmla="*/ 60524 h 60524"/>
              <a:gd name="connsiteX3" fmla="*/ 0 w 880502"/>
              <a:gd name="connsiteY3" fmla="*/ 60524 h 6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0502" h="60524">
                <a:moveTo>
                  <a:pt x="0" y="0"/>
                </a:moveTo>
                <a:lnTo>
                  <a:pt x="880502" y="0"/>
                </a:lnTo>
                <a:lnTo>
                  <a:pt x="880502" y="60524"/>
                </a:lnTo>
                <a:lnTo>
                  <a:pt x="0" y="60524"/>
                </a:lnTo>
                <a:close/>
              </a:path>
            </a:pathLst>
          </a:custGeom>
          <a:solidFill>
            <a:srgbClr val="FFFFFF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A0ABB702-038D-4A1F-9F2E-34DE3FE2915A}"/>
              </a:ext>
            </a:extLst>
          </p:cNvPr>
          <p:cNvSpPr/>
          <p:nvPr/>
        </p:nvSpPr>
        <p:spPr>
          <a:xfrm>
            <a:off x="204196" y="2240409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7C294B7D-29B3-46E0-B43B-55E01A9B6A48}"/>
              </a:ext>
            </a:extLst>
          </p:cNvPr>
          <p:cNvSpPr/>
          <p:nvPr/>
        </p:nvSpPr>
        <p:spPr>
          <a:xfrm>
            <a:off x="162744" y="2323314"/>
            <a:ext cx="132486" cy="960729"/>
          </a:xfrm>
          <a:custGeom>
            <a:avLst/>
            <a:gdLst>
              <a:gd name="connsiteX0" fmla="*/ 135143 w 135143"/>
              <a:gd name="connsiteY0" fmla="*/ 979994 h 979994"/>
              <a:gd name="connsiteX1" fmla="*/ 0 w 135143"/>
              <a:gd name="connsiteY1" fmla="*/ 979994 h 979994"/>
              <a:gd name="connsiteX2" fmla="*/ 0 w 135143"/>
              <a:gd name="connsiteY2" fmla="*/ 53891 h 979994"/>
              <a:gd name="connsiteX3" fmla="*/ 53891 w 135143"/>
              <a:gd name="connsiteY3" fmla="*/ 0 h 979994"/>
              <a:gd name="connsiteX4" fmla="*/ 81252 w 135143"/>
              <a:gd name="connsiteY4" fmla="*/ 0 h 979994"/>
              <a:gd name="connsiteX5" fmla="*/ 135143 w 135143"/>
              <a:gd name="connsiteY5" fmla="*/ 53891 h 979994"/>
              <a:gd name="connsiteX6" fmla="*/ 135143 w 135143"/>
              <a:gd name="connsiteY6" fmla="*/ 979994 h 97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979994">
                <a:moveTo>
                  <a:pt x="135143" y="979994"/>
                </a:moveTo>
                <a:lnTo>
                  <a:pt x="0" y="979994"/>
                </a:lnTo>
                <a:lnTo>
                  <a:pt x="0" y="53891"/>
                </a:lnTo>
                <a:cubicBezTo>
                  <a:pt x="0" y="24044"/>
                  <a:pt x="24044" y="0"/>
                  <a:pt x="53891" y="0"/>
                </a:cubicBezTo>
                <a:lnTo>
                  <a:pt x="81252" y="0"/>
                </a:lnTo>
                <a:cubicBezTo>
                  <a:pt x="111099" y="0"/>
                  <a:pt x="135143" y="24044"/>
                  <a:pt x="135143" y="53891"/>
                </a:cubicBezTo>
                <a:lnTo>
                  <a:pt x="135143" y="979994"/>
                </a:lnTo>
                <a:close/>
              </a:path>
            </a:pathLst>
          </a:custGeom>
          <a:solidFill>
            <a:srgbClr val="000000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986DA55B-9436-4A76-9A7B-044EA7585CE2}"/>
              </a:ext>
            </a:extLst>
          </p:cNvPr>
          <p:cNvSpPr/>
          <p:nvPr/>
        </p:nvSpPr>
        <p:spPr>
          <a:xfrm>
            <a:off x="225329" y="2084351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D06AB1D-0FCD-4DF8-AAC9-8EE141024EF4}"/>
              </a:ext>
            </a:extLst>
          </p:cNvPr>
          <p:cNvSpPr/>
          <p:nvPr/>
        </p:nvSpPr>
        <p:spPr>
          <a:xfrm>
            <a:off x="393579" y="2240409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359A2B81-2478-4FE9-8C83-B91A8959E6F4}"/>
              </a:ext>
            </a:extLst>
          </p:cNvPr>
          <p:cNvSpPr/>
          <p:nvPr/>
        </p:nvSpPr>
        <p:spPr>
          <a:xfrm>
            <a:off x="352939" y="2323314"/>
            <a:ext cx="132486" cy="960729"/>
          </a:xfrm>
          <a:custGeom>
            <a:avLst/>
            <a:gdLst>
              <a:gd name="connsiteX0" fmla="*/ 134314 w 135143"/>
              <a:gd name="connsiteY0" fmla="*/ 979994 h 979994"/>
              <a:gd name="connsiteX1" fmla="*/ 0 w 135143"/>
              <a:gd name="connsiteY1" fmla="*/ 979994 h 979994"/>
              <a:gd name="connsiteX2" fmla="*/ 0 w 135143"/>
              <a:gd name="connsiteY2" fmla="*/ 53891 h 979994"/>
              <a:gd name="connsiteX3" fmla="*/ 53891 w 135143"/>
              <a:gd name="connsiteY3" fmla="*/ 0 h 979994"/>
              <a:gd name="connsiteX4" fmla="*/ 81252 w 135143"/>
              <a:gd name="connsiteY4" fmla="*/ 0 h 979994"/>
              <a:gd name="connsiteX5" fmla="*/ 135143 w 135143"/>
              <a:gd name="connsiteY5" fmla="*/ 53891 h 979994"/>
              <a:gd name="connsiteX6" fmla="*/ 135143 w 135143"/>
              <a:gd name="connsiteY6" fmla="*/ 979994 h 97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979994">
                <a:moveTo>
                  <a:pt x="134314" y="979994"/>
                </a:moveTo>
                <a:lnTo>
                  <a:pt x="0" y="979994"/>
                </a:lnTo>
                <a:lnTo>
                  <a:pt x="0" y="53891"/>
                </a:lnTo>
                <a:cubicBezTo>
                  <a:pt x="0" y="24044"/>
                  <a:pt x="24044" y="0"/>
                  <a:pt x="53891" y="0"/>
                </a:cubicBezTo>
                <a:lnTo>
                  <a:pt x="81252" y="0"/>
                </a:lnTo>
                <a:cubicBezTo>
                  <a:pt x="111099" y="0"/>
                  <a:pt x="135143" y="24044"/>
                  <a:pt x="135143" y="53891"/>
                </a:cubicBezTo>
                <a:lnTo>
                  <a:pt x="135143" y="979994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CBE8B123-5365-4950-8CF7-C8D18FCEB5D3}"/>
              </a:ext>
            </a:extLst>
          </p:cNvPr>
          <p:cNvSpPr/>
          <p:nvPr/>
        </p:nvSpPr>
        <p:spPr>
          <a:xfrm>
            <a:off x="415524" y="2084351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B3A425A6-19B4-4FF4-95E7-AF86E34140DB}"/>
              </a:ext>
            </a:extLst>
          </p:cNvPr>
          <p:cNvSpPr/>
          <p:nvPr/>
        </p:nvSpPr>
        <p:spPr>
          <a:xfrm>
            <a:off x="566705" y="2240409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13113A97-02EC-47C7-BB1D-DA3D75D9CFC4}"/>
              </a:ext>
            </a:extLst>
          </p:cNvPr>
          <p:cNvSpPr/>
          <p:nvPr/>
        </p:nvSpPr>
        <p:spPr>
          <a:xfrm>
            <a:off x="525253" y="2323314"/>
            <a:ext cx="132486" cy="960729"/>
          </a:xfrm>
          <a:custGeom>
            <a:avLst/>
            <a:gdLst>
              <a:gd name="connsiteX0" fmla="*/ 135143 w 135143"/>
              <a:gd name="connsiteY0" fmla="*/ 979994 h 979994"/>
              <a:gd name="connsiteX1" fmla="*/ 0 w 135143"/>
              <a:gd name="connsiteY1" fmla="*/ 979994 h 979994"/>
              <a:gd name="connsiteX2" fmla="*/ 0 w 135143"/>
              <a:gd name="connsiteY2" fmla="*/ 53891 h 979994"/>
              <a:gd name="connsiteX3" fmla="*/ 53891 w 135143"/>
              <a:gd name="connsiteY3" fmla="*/ 0 h 979994"/>
              <a:gd name="connsiteX4" fmla="*/ 81252 w 135143"/>
              <a:gd name="connsiteY4" fmla="*/ 0 h 979994"/>
              <a:gd name="connsiteX5" fmla="*/ 135143 w 135143"/>
              <a:gd name="connsiteY5" fmla="*/ 53891 h 979994"/>
              <a:gd name="connsiteX6" fmla="*/ 135143 w 135143"/>
              <a:gd name="connsiteY6" fmla="*/ 979994 h 97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979994">
                <a:moveTo>
                  <a:pt x="135143" y="979994"/>
                </a:moveTo>
                <a:lnTo>
                  <a:pt x="0" y="979994"/>
                </a:lnTo>
                <a:lnTo>
                  <a:pt x="0" y="53891"/>
                </a:lnTo>
                <a:cubicBezTo>
                  <a:pt x="0" y="24044"/>
                  <a:pt x="24044" y="0"/>
                  <a:pt x="53891" y="0"/>
                </a:cubicBezTo>
                <a:lnTo>
                  <a:pt x="81252" y="0"/>
                </a:lnTo>
                <a:cubicBezTo>
                  <a:pt x="111099" y="0"/>
                  <a:pt x="135143" y="24044"/>
                  <a:pt x="135143" y="53891"/>
                </a:cubicBezTo>
                <a:lnTo>
                  <a:pt x="135143" y="979994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77129924-3603-4000-BA9C-ABB590B64564}"/>
              </a:ext>
            </a:extLst>
          </p:cNvPr>
          <p:cNvSpPr/>
          <p:nvPr/>
        </p:nvSpPr>
        <p:spPr>
          <a:xfrm>
            <a:off x="588651" y="2084351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61AA7560-6379-4013-AA1E-84FD683591DE}"/>
              </a:ext>
            </a:extLst>
          </p:cNvPr>
          <p:cNvSpPr/>
          <p:nvPr/>
        </p:nvSpPr>
        <p:spPr>
          <a:xfrm>
            <a:off x="743082" y="2240409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E06C7DC3-DEB5-4020-8C94-A4D85322E55B}"/>
              </a:ext>
            </a:extLst>
          </p:cNvPr>
          <p:cNvSpPr/>
          <p:nvPr/>
        </p:nvSpPr>
        <p:spPr>
          <a:xfrm>
            <a:off x="701630" y="2323314"/>
            <a:ext cx="132485" cy="1015999"/>
          </a:xfrm>
          <a:custGeom>
            <a:avLst/>
            <a:gdLst>
              <a:gd name="connsiteX0" fmla="*/ 135143 w 135142"/>
              <a:gd name="connsiteY0" fmla="*/ 1036373 h 1036372"/>
              <a:gd name="connsiteX1" fmla="*/ 0 w 135142"/>
              <a:gd name="connsiteY1" fmla="*/ 1036373 h 1036372"/>
              <a:gd name="connsiteX2" fmla="*/ 0 w 135142"/>
              <a:gd name="connsiteY2" fmla="*/ 60524 h 1036372"/>
              <a:gd name="connsiteX3" fmla="*/ 60524 w 135142"/>
              <a:gd name="connsiteY3" fmla="*/ 0 h 1036372"/>
              <a:gd name="connsiteX4" fmla="*/ 73790 w 135142"/>
              <a:gd name="connsiteY4" fmla="*/ 0 h 1036372"/>
              <a:gd name="connsiteX5" fmla="*/ 134314 w 135142"/>
              <a:gd name="connsiteY5" fmla="*/ 60524 h 1036372"/>
              <a:gd name="connsiteX6" fmla="*/ 134314 w 135142"/>
              <a:gd name="connsiteY6" fmla="*/ 1036373 h 103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2" h="1036372">
                <a:moveTo>
                  <a:pt x="135143" y="1036373"/>
                </a:moveTo>
                <a:lnTo>
                  <a:pt x="0" y="1036373"/>
                </a:lnTo>
                <a:lnTo>
                  <a:pt x="0" y="60524"/>
                </a:lnTo>
                <a:cubicBezTo>
                  <a:pt x="0" y="27360"/>
                  <a:pt x="27360" y="0"/>
                  <a:pt x="60524" y="0"/>
                </a:cubicBezTo>
                <a:lnTo>
                  <a:pt x="73790" y="0"/>
                </a:lnTo>
                <a:cubicBezTo>
                  <a:pt x="106954" y="0"/>
                  <a:pt x="134314" y="27360"/>
                  <a:pt x="134314" y="60524"/>
                </a:cubicBezTo>
                <a:lnTo>
                  <a:pt x="134314" y="1036373"/>
                </a:lnTo>
                <a:close/>
              </a:path>
            </a:pathLst>
          </a:custGeom>
          <a:solidFill>
            <a:schemeClr val="accent4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82E6FCE9-5424-49C5-A4B7-516B14806967}"/>
              </a:ext>
            </a:extLst>
          </p:cNvPr>
          <p:cNvSpPr/>
          <p:nvPr/>
        </p:nvSpPr>
        <p:spPr>
          <a:xfrm>
            <a:off x="764216" y="2084351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D6ED61C7-E787-4457-B7A0-C148AC6EADE8}"/>
              </a:ext>
            </a:extLst>
          </p:cNvPr>
          <p:cNvSpPr/>
          <p:nvPr/>
        </p:nvSpPr>
        <p:spPr>
          <a:xfrm>
            <a:off x="660990" y="2240409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56DB2637-5640-48EC-9271-6EA57F1444B9}"/>
              </a:ext>
            </a:extLst>
          </p:cNvPr>
          <p:cNvSpPr/>
          <p:nvPr/>
        </p:nvSpPr>
        <p:spPr>
          <a:xfrm>
            <a:off x="619537" y="2323314"/>
            <a:ext cx="132486" cy="960729"/>
          </a:xfrm>
          <a:custGeom>
            <a:avLst/>
            <a:gdLst>
              <a:gd name="connsiteX0" fmla="*/ 134314 w 135143"/>
              <a:gd name="connsiteY0" fmla="*/ 979994 h 979994"/>
              <a:gd name="connsiteX1" fmla="*/ 0 w 135143"/>
              <a:gd name="connsiteY1" fmla="*/ 979994 h 979994"/>
              <a:gd name="connsiteX2" fmla="*/ 0 w 135143"/>
              <a:gd name="connsiteY2" fmla="*/ 53891 h 979994"/>
              <a:gd name="connsiteX3" fmla="*/ 53891 w 135143"/>
              <a:gd name="connsiteY3" fmla="*/ 0 h 979994"/>
              <a:gd name="connsiteX4" fmla="*/ 81252 w 135143"/>
              <a:gd name="connsiteY4" fmla="*/ 0 h 979994"/>
              <a:gd name="connsiteX5" fmla="*/ 135143 w 135143"/>
              <a:gd name="connsiteY5" fmla="*/ 53891 h 979994"/>
              <a:gd name="connsiteX6" fmla="*/ 135143 w 135143"/>
              <a:gd name="connsiteY6" fmla="*/ 979994 h 979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979994">
                <a:moveTo>
                  <a:pt x="134314" y="979994"/>
                </a:moveTo>
                <a:lnTo>
                  <a:pt x="0" y="979994"/>
                </a:lnTo>
                <a:lnTo>
                  <a:pt x="0" y="53891"/>
                </a:lnTo>
                <a:cubicBezTo>
                  <a:pt x="0" y="24044"/>
                  <a:pt x="24044" y="0"/>
                  <a:pt x="53891" y="0"/>
                </a:cubicBezTo>
                <a:lnTo>
                  <a:pt x="81252" y="0"/>
                </a:lnTo>
                <a:cubicBezTo>
                  <a:pt x="111099" y="0"/>
                  <a:pt x="135143" y="24044"/>
                  <a:pt x="135143" y="53891"/>
                </a:cubicBezTo>
                <a:lnTo>
                  <a:pt x="135143" y="979994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61381BB-E415-4165-940C-21248BEA7CE5}"/>
              </a:ext>
            </a:extLst>
          </p:cNvPr>
          <p:cNvSpPr/>
          <p:nvPr/>
        </p:nvSpPr>
        <p:spPr>
          <a:xfrm>
            <a:off x="682123" y="2084351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rgbClr val="715356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F776C4CA-5470-4E30-880F-1FF5211C80C2}"/>
              </a:ext>
            </a:extLst>
          </p:cNvPr>
          <p:cNvSpPr/>
          <p:nvPr/>
        </p:nvSpPr>
        <p:spPr>
          <a:xfrm>
            <a:off x="11563889" y="3307615"/>
            <a:ext cx="689254" cy="59334"/>
          </a:xfrm>
          <a:custGeom>
            <a:avLst/>
            <a:gdLst>
              <a:gd name="connsiteX0" fmla="*/ 0 w 703075"/>
              <a:gd name="connsiteY0" fmla="*/ 0 h 60524"/>
              <a:gd name="connsiteX1" fmla="*/ 703075 w 703075"/>
              <a:gd name="connsiteY1" fmla="*/ 0 h 60524"/>
              <a:gd name="connsiteX2" fmla="*/ 703075 w 703075"/>
              <a:gd name="connsiteY2" fmla="*/ 60524 h 60524"/>
              <a:gd name="connsiteX3" fmla="*/ 0 w 703075"/>
              <a:gd name="connsiteY3" fmla="*/ 60524 h 6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075" h="60524">
                <a:moveTo>
                  <a:pt x="0" y="0"/>
                </a:moveTo>
                <a:lnTo>
                  <a:pt x="703075" y="0"/>
                </a:lnTo>
                <a:lnTo>
                  <a:pt x="703075" y="60524"/>
                </a:lnTo>
                <a:lnTo>
                  <a:pt x="0" y="60524"/>
                </a:lnTo>
                <a:close/>
              </a:path>
            </a:pathLst>
          </a:custGeom>
          <a:solidFill>
            <a:srgbClr val="FFFFFF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0D1108C6-4FBF-4F96-8A67-289EBF5F0691}"/>
              </a:ext>
            </a:extLst>
          </p:cNvPr>
          <p:cNvSpPr/>
          <p:nvPr/>
        </p:nvSpPr>
        <p:spPr>
          <a:xfrm rot="10800000">
            <a:off x="12042384" y="3463022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2" name="Freeform: Shape 121">
            <a:extLst>
              <a:ext uri="{FF2B5EF4-FFF2-40B4-BE49-F238E27FC236}">
                <a16:creationId xmlns:a16="http://schemas.microsoft.com/office/drawing/2014/main" id="{5ECADF91-07F5-455D-BF96-AE95023EC02B}"/>
              </a:ext>
            </a:extLst>
          </p:cNvPr>
          <p:cNvSpPr/>
          <p:nvPr/>
        </p:nvSpPr>
        <p:spPr>
          <a:xfrm>
            <a:off x="12003614" y="3546579"/>
            <a:ext cx="132485" cy="1303730"/>
          </a:xfrm>
          <a:custGeom>
            <a:avLst/>
            <a:gdLst>
              <a:gd name="connsiteX0" fmla="*/ 0 w 135142"/>
              <a:gd name="connsiteY0" fmla="*/ 1329874 h 1329873"/>
              <a:gd name="connsiteX1" fmla="*/ 135142 w 135142"/>
              <a:gd name="connsiteY1" fmla="*/ 1329874 h 1329873"/>
              <a:gd name="connsiteX2" fmla="*/ 135142 w 135142"/>
              <a:gd name="connsiteY2" fmla="*/ 12436 h 1329873"/>
              <a:gd name="connsiteX3" fmla="*/ 122706 w 135142"/>
              <a:gd name="connsiteY3" fmla="*/ 0 h 1329873"/>
              <a:gd name="connsiteX4" fmla="*/ 12436 w 135142"/>
              <a:gd name="connsiteY4" fmla="*/ 0 h 1329873"/>
              <a:gd name="connsiteX5" fmla="*/ 0 w 135142"/>
              <a:gd name="connsiteY5" fmla="*/ 12436 h 1329873"/>
              <a:gd name="connsiteX6" fmla="*/ 0 w 135142"/>
              <a:gd name="connsiteY6" fmla="*/ 1329874 h 132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2" h="1329873">
                <a:moveTo>
                  <a:pt x="0" y="1329874"/>
                </a:moveTo>
                <a:lnTo>
                  <a:pt x="135142" y="1329874"/>
                </a:lnTo>
                <a:lnTo>
                  <a:pt x="135142" y="12436"/>
                </a:lnTo>
                <a:cubicBezTo>
                  <a:pt x="135142" y="5804"/>
                  <a:pt x="129339" y="0"/>
                  <a:pt x="122706" y="0"/>
                </a:cubicBezTo>
                <a:lnTo>
                  <a:pt x="12436" y="0"/>
                </a:lnTo>
                <a:cubicBezTo>
                  <a:pt x="5803" y="0"/>
                  <a:pt x="0" y="5804"/>
                  <a:pt x="0" y="12436"/>
                </a:cubicBezTo>
                <a:lnTo>
                  <a:pt x="0" y="1329874"/>
                </a:lnTo>
                <a:close/>
              </a:path>
            </a:pathLst>
          </a:custGeom>
          <a:solidFill>
            <a:schemeClr val="tx2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FCEAE60C-68BC-4359-97AB-9325134B35F7}"/>
              </a:ext>
            </a:extLst>
          </p:cNvPr>
          <p:cNvSpPr/>
          <p:nvPr/>
        </p:nvSpPr>
        <p:spPr>
          <a:xfrm rot="10800000">
            <a:off x="12063518" y="3307549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8 w 9949"/>
              <a:gd name="connsiteY1" fmla="*/ 0 h 159186"/>
              <a:gd name="connsiteX2" fmla="*/ 9948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8" y="0"/>
                </a:lnTo>
                <a:lnTo>
                  <a:pt x="9948" y="159187"/>
                </a:lnTo>
                <a:lnTo>
                  <a:pt x="0" y="15918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A5F59AA2-1833-4E0D-A254-7099B770FC7F}"/>
              </a:ext>
            </a:extLst>
          </p:cNvPr>
          <p:cNvSpPr/>
          <p:nvPr/>
        </p:nvSpPr>
        <p:spPr>
          <a:xfrm rot="10800000">
            <a:off x="11868852" y="3463022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2 w 53891"/>
              <a:gd name="connsiteY1" fmla="*/ 0 h 91200"/>
              <a:gd name="connsiteX2" fmla="*/ 53892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2" y="0"/>
                </a:lnTo>
                <a:lnTo>
                  <a:pt x="53892" y="91201"/>
                </a:lnTo>
                <a:lnTo>
                  <a:pt x="0" y="91201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FF11317F-0383-4CF5-8E4C-3758DB009788}"/>
              </a:ext>
            </a:extLst>
          </p:cNvPr>
          <p:cNvSpPr/>
          <p:nvPr/>
        </p:nvSpPr>
        <p:spPr>
          <a:xfrm>
            <a:off x="11831300" y="3546579"/>
            <a:ext cx="132486" cy="1303730"/>
          </a:xfrm>
          <a:custGeom>
            <a:avLst/>
            <a:gdLst>
              <a:gd name="connsiteX0" fmla="*/ 0 w 135143"/>
              <a:gd name="connsiteY0" fmla="*/ 1329874 h 1329873"/>
              <a:gd name="connsiteX1" fmla="*/ 135143 w 135143"/>
              <a:gd name="connsiteY1" fmla="*/ 1329874 h 1329873"/>
              <a:gd name="connsiteX2" fmla="*/ 135143 w 135143"/>
              <a:gd name="connsiteY2" fmla="*/ 12436 h 1329873"/>
              <a:gd name="connsiteX3" fmla="*/ 122707 w 135143"/>
              <a:gd name="connsiteY3" fmla="*/ 0 h 1329873"/>
              <a:gd name="connsiteX4" fmla="*/ 12436 w 135143"/>
              <a:gd name="connsiteY4" fmla="*/ 0 h 1329873"/>
              <a:gd name="connsiteX5" fmla="*/ 0 w 135143"/>
              <a:gd name="connsiteY5" fmla="*/ 12436 h 1329873"/>
              <a:gd name="connsiteX6" fmla="*/ 0 w 135143"/>
              <a:gd name="connsiteY6" fmla="*/ 1329874 h 132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1329873">
                <a:moveTo>
                  <a:pt x="0" y="1329874"/>
                </a:moveTo>
                <a:lnTo>
                  <a:pt x="135143" y="1329874"/>
                </a:lnTo>
                <a:lnTo>
                  <a:pt x="135143" y="12436"/>
                </a:lnTo>
                <a:cubicBezTo>
                  <a:pt x="135143" y="5804"/>
                  <a:pt x="129339" y="0"/>
                  <a:pt x="122707" y="0"/>
                </a:cubicBezTo>
                <a:lnTo>
                  <a:pt x="12436" y="0"/>
                </a:lnTo>
                <a:cubicBezTo>
                  <a:pt x="5804" y="0"/>
                  <a:pt x="0" y="5804"/>
                  <a:pt x="0" y="12436"/>
                </a:cubicBezTo>
                <a:lnTo>
                  <a:pt x="0" y="1329874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E4896F1B-7DF4-483E-BCD4-0FE1B39CD818}"/>
              </a:ext>
            </a:extLst>
          </p:cNvPr>
          <p:cNvSpPr/>
          <p:nvPr/>
        </p:nvSpPr>
        <p:spPr>
          <a:xfrm rot="10800000">
            <a:off x="11890797" y="3307549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31129DEB-50F8-4C63-8681-6DF081F912BD}"/>
              </a:ext>
            </a:extLst>
          </p:cNvPr>
          <p:cNvSpPr/>
          <p:nvPr/>
        </p:nvSpPr>
        <p:spPr>
          <a:xfrm rot="10800000">
            <a:off x="11692962" y="3463022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86BDB33-B683-44C8-A609-2E38FFD5A5BA}"/>
              </a:ext>
            </a:extLst>
          </p:cNvPr>
          <p:cNvSpPr/>
          <p:nvPr/>
        </p:nvSpPr>
        <p:spPr>
          <a:xfrm>
            <a:off x="11654922" y="3546578"/>
            <a:ext cx="132485" cy="1304543"/>
          </a:xfrm>
          <a:custGeom>
            <a:avLst/>
            <a:gdLst>
              <a:gd name="connsiteX0" fmla="*/ 0 w 135142"/>
              <a:gd name="connsiteY0" fmla="*/ 1330703 h 1330702"/>
              <a:gd name="connsiteX1" fmla="*/ 135142 w 135142"/>
              <a:gd name="connsiteY1" fmla="*/ 1330703 h 1330702"/>
              <a:gd name="connsiteX2" fmla="*/ 135142 w 135142"/>
              <a:gd name="connsiteY2" fmla="*/ 17411 h 1330702"/>
              <a:gd name="connsiteX3" fmla="*/ 117732 w 135142"/>
              <a:gd name="connsiteY3" fmla="*/ 0 h 1330702"/>
              <a:gd name="connsiteX4" fmla="*/ 17411 w 135142"/>
              <a:gd name="connsiteY4" fmla="*/ 0 h 1330702"/>
              <a:gd name="connsiteX5" fmla="*/ 0 w 135142"/>
              <a:gd name="connsiteY5" fmla="*/ 17411 h 1330702"/>
              <a:gd name="connsiteX6" fmla="*/ 0 w 135142"/>
              <a:gd name="connsiteY6" fmla="*/ 1330703 h 133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2" h="1330702">
                <a:moveTo>
                  <a:pt x="0" y="1330703"/>
                </a:moveTo>
                <a:lnTo>
                  <a:pt x="135142" y="1330703"/>
                </a:lnTo>
                <a:lnTo>
                  <a:pt x="135142" y="17411"/>
                </a:lnTo>
                <a:cubicBezTo>
                  <a:pt x="135142" y="7462"/>
                  <a:pt x="127681" y="0"/>
                  <a:pt x="117732" y="0"/>
                </a:cubicBezTo>
                <a:lnTo>
                  <a:pt x="17411" y="0"/>
                </a:lnTo>
                <a:cubicBezTo>
                  <a:pt x="7462" y="0"/>
                  <a:pt x="0" y="7462"/>
                  <a:pt x="0" y="17411"/>
                </a:cubicBezTo>
                <a:lnTo>
                  <a:pt x="0" y="13307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8FE56F05-7408-4788-B454-344AA3FC9F79}"/>
              </a:ext>
            </a:extLst>
          </p:cNvPr>
          <p:cNvSpPr/>
          <p:nvPr/>
        </p:nvSpPr>
        <p:spPr>
          <a:xfrm rot="10800000">
            <a:off x="11714908" y="3307549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8 w 9949"/>
              <a:gd name="connsiteY1" fmla="*/ 0 h 159186"/>
              <a:gd name="connsiteX2" fmla="*/ 9948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8" y="0"/>
                </a:lnTo>
                <a:lnTo>
                  <a:pt x="9948" y="159187"/>
                </a:lnTo>
                <a:lnTo>
                  <a:pt x="0" y="15918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ECA8C221-B9BE-4B99-88DC-16DE016200FE}"/>
              </a:ext>
            </a:extLst>
          </p:cNvPr>
          <p:cNvSpPr/>
          <p:nvPr/>
        </p:nvSpPr>
        <p:spPr>
          <a:xfrm rot="10800000">
            <a:off x="11775379" y="3463022"/>
            <a:ext cx="52832" cy="89407"/>
          </a:xfrm>
          <a:custGeom>
            <a:avLst/>
            <a:gdLst>
              <a:gd name="connsiteX0" fmla="*/ 0 w 53891"/>
              <a:gd name="connsiteY0" fmla="*/ 0 h 91200"/>
              <a:gd name="connsiteX1" fmla="*/ 53891 w 53891"/>
              <a:gd name="connsiteY1" fmla="*/ 0 h 91200"/>
              <a:gd name="connsiteX2" fmla="*/ 53891 w 53891"/>
              <a:gd name="connsiteY2" fmla="*/ 91201 h 91200"/>
              <a:gd name="connsiteX3" fmla="*/ 0 w 53891"/>
              <a:gd name="connsiteY3" fmla="*/ 91201 h 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91" h="91200">
                <a:moveTo>
                  <a:pt x="0" y="0"/>
                </a:moveTo>
                <a:lnTo>
                  <a:pt x="53891" y="0"/>
                </a:lnTo>
                <a:lnTo>
                  <a:pt x="53891" y="91201"/>
                </a:lnTo>
                <a:lnTo>
                  <a:pt x="0" y="91201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1FA17FB4-2AB6-4BAF-89C0-1A1376AF23B2}"/>
              </a:ext>
            </a:extLst>
          </p:cNvPr>
          <p:cNvSpPr/>
          <p:nvPr/>
        </p:nvSpPr>
        <p:spPr>
          <a:xfrm>
            <a:off x="11737016" y="3546579"/>
            <a:ext cx="132486" cy="1303730"/>
          </a:xfrm>
          <a:custGeom>
            <a:avLst/>
            <a:gdLst>
              <a:gd name="connsiteX0" fmla="*/ 0 w 135143"/>
              <a:gd name="connsiteY0" fmla="*/ 1329874 h 1329873"/>
              <a:gd name="connsiteX1" fmla="*/ 135143 w 135143"/>
              <a:gd name="connsiteY1" fmla="*/ 1329874 h 1329873"/>
              <a:gd name="connsiteX2" fmla="*/ 135143 w 135143"/>
              <a:gd name="connsiteY2" fmla="*/ 12436 h 1329873"/>
              <a:gd name="connsiteX3" fmla="*/ 122707 w 135143"/>
              <a:gd name="connsiteY3" fmla="*/ 0 h 1329873"/>
              <a:gd name="connsiteX4" fmla="*/ 12436 w 135143"/>
              <a:gd name="connsiteY4" fmla="*/ 0 h 1329873"/>
              <a:gd name="connsiteX5" fmla="*/ 0 w 135143"/>
              <a:gd name="connsiteY5" fmla="*/ 12436 h 1329873"/>
              <a:gd name="connsiteX6" fmla="*/ 0 w 135143"/>
              <a:gd name="connsiteY6" fmla="*/ 1329874 h 1329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5143" h="1329873">
                <a:moveTo>
                  <a:pt x="0" y="1329874"/>
                </a:moveTo>
                <a:lnTo>
                  <a:pt x="135143" y="1329874"/>
                </a:lnTo>
                <a:lnTo>
                  <a:pt x="135143" y="12436"/>
                </a:lnTo>
                <a:cubicBezTo>
                  <a:pt x="135143" y="5804"/>
                  <a:pt x="129339" y="0"/>
                  <a:pt x="122707" y="0"/>
                </a:cubicBezTo>
                <a:lnTo>
                  <a:pt x="12436" y="0"/>
                </a:lnTo>
                <a:cubicBezTo>
                  <a:pt x="5803" y="0"/>
                  <a:pt x="0" y="5804"/>
                  <a:pt x="0" y="12436"/>
                </a:cubicBezTo>
                <a:lnTo>
                  <a:pt x="0" y="1329874"/>
                </a:lnTo>
                <a:close/>
              </a:path>
            </a:pathLst>
          </a:custGeom>
          <a:solidFill>
            <a:srgbClr val="00A395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B24B1FAD-AD8B-429D-A144-7DFE90813008}"/>
              </a:ext>
            </a:extLst>
          </p:cNvPr>
          <p:cNvSpPr/>
          <p:nvPr/>
        </p:nvSpPr>
        <p:spPr>
          <a:xfrm rot="10800000">
            <a:off x="11796513" y="3307549"/>
            <a:ext cx="9753" cy="156057"/>
          </a:xfrm>
          <a:custGeom>
            <a:avLst/>
            <a:gdLst>
              <a:gd name="connsiteX0" fmla="*/ 0 w 9949"/>
              <a:gd name="connsiteY0" fmla="*/ 0 h 159186"/>
              <a:gd name="connsiteX1" fmla="*/ 9949 w 9949"/>
              <a:gd name="connsiteY1" fmla="*/ 0 h 159186"/>
              <a:gd name="connsiteX2" fmla="*/ 9949 w 9949"/>
              <a:gd name="connsiteY2" fmla="*/ 159187 h 159186"/>
              <a:gd name="connsiteX3" fmla="*/ 0 w 9949"/>
              <a:gd name="connsiteY3" fmla="*/ 159187 h 1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49" h="159186">
                <a:moveTo>
                  <a:pt x="0" y="0"/>
                </a:moveTo>
                <a:lnTo>
                  <a:pt x="9949" y="0"/>
                </a:lnTo>
                <a:lnTo>
                  <a:pt x="9949" y="159187"/>
                </a:lnTo>
                <a:lnTo>
                  <a:pt x="0" y="15918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grpSp>
        <p:nvGrpSpPr>
          <p:cNvPr id="139" name="Graphic 80">
            <a:extLst>
              <a:ext uri="{FF2B5EF4-FFF2-40B4-BE49-F238E27FC236}">
                <a16:creationId xmlns:a16="http://schemas.microsoft.com/office/drawing/2014/main" id="{5338543B-3E36-465A-A910-077B0BC633CD}"/>
              </a:ext>
            </a:extLst>
          </p:cNvPr>
          <p:cNvGrpSpPr/>
          <p:nvPr/>
        </p:nvGrpSpPr>
        <p:grpSpPr>
          <a:xfrm>
            <a:off x="4255024" y="2092464"/>
            <a:ext cx="202722" cy="275553"/>
            <a:chOff x="4348698" y="2100270"/>
            <a:chExt cx="206787" cy="281078"/>
          </a:xfrm>
          <a:solidFill>
            <a:schemeClr val="accent1"/>
          </a:solidFill>
        </p:grpSpPr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E1B51A14-BA37-45EC-B8EB-EAA7533C214D}"/>
                </a:ext>
              </a:extLst>
            </p:cNvPr>
            <p:cNvSpPr/>
            <p:nvPr/>
          </p:nvSpPr>
          <p:spPr>
            <a:xfrm>
              <a:off x="4348698" y="2232111"/>
              <a:ext cx="206787" cy="149237"/>
            </a:xfrm>
            <a:custGeom>
              <a:avLst/>
              <a:gdLst>
                <a:gd name="connsiteX0" fmla="*/ 201642 w 206787"/>
                <a:gd name="connsiteY0" fmla="*/ 149238 h 149237"/>
                <a:gd name="connsiteX1" fmla="*/ 5146 w 206787"/>
                <a:gd name="connsiteY1" fmla="*/ 149238 h 149237"/>
                <a:gd name="connsiteX2" fmla="*/ 25873 w 206787"/>
                <a:gd name="connsiteY2" fmla="*/ 0 h 149237"/>
                <a:gd name="connsiteX3" fmla="*/ 180915 w 206787"/>
                <a:gd name="connsiteY3" fmla="*/ 0 h 149237"/>
                <a:gd name="connsiteX4" fmla="*/ 201642 w 206787"/>
                <a:gd name="connsiteY4" fmla="*/ 149238 h 149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787" h="149237">
                  <a:moveTo>
                    <a:pt x="201642" y="149238"/>
                  </a:moveTo>
                  <a:cubicBezTo>
                    <a:pt x="122878" y="149238"/>
                    <a:pt x="83910" y="149238"/>
                    <a:pt x="5146" y="149238"/>
                  </a:cubicBezTo>
                  <a:cubicBezTo>
                    <a:pt x="-5632" y="83739"/>
                    <a:pt x="171" y="48088"/>
                    <a:pt x="25873" y="0"/>
                  </a:cubicBezTo>
                  <a:cubicBezTo>
                    <a:pt x="88056" y="0"/>
                    <a:pt x="118732" y="0"/>
                    <a:pt x="180915" y="0"/>
                  </a:cubicBezTo>
                  <a:cubicBezTo>
                    <a:pt x="206617" y="48088"/>
                    <a:pt x="212420" y="83739"/>
                    <a:pt x="201642" y="149238"/>
                  </a:cubicBezTo>
                  <a:close/>
                </a:path>
              </a:pathLst>
            </a:custGeom>
            <a:solidFill>
              <a:srgbClr val="7F220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F9D4A162-2438-4EBD-AE7B-10E97A718C90}"/>
                </a:ext>
              </a:extLst>
            </p:cNvPr>
            <p:cNvSpPr/>
            <p:nvPr/>
          </p:nvSpPr>
          <p:spPr>
            <a:xfrm>
              <a:off x="4371255" y="2205580"/>
              <a:ext cx="161674" cy="26531"/>
            </a:xfrm>
            <a:custGeom>
              <a:avLst/>
              <a:gdLst>
                <a:gd name="connsiteX0" fmla="*/ 0 w 161674"/>
                <a:gd name="connsiteY0" fmla="*/ 0 h 26531"/>
                <a:gd name="connsiteX1" fmla="*/ 161674 w 161674"/>
                <a:gd name="connsiteY1" fmla="*/ 0 h 26531"/>
                <a:gd name="connsiteX2" fmla="*/ 161674 w 161674"/>
                <a:gd name="connsiteY2" fmla="*/ 26531 h 26531"/>
                <a:gd name="connsiteX3" fmla="*/ 0 w 161674"/>
                <a:gd name="connsiteY3" fmla="*/ 26531 h 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674" h="26531">
                  <a:moveTo>
                    <a:pt x="0" y="0"/>
                  </a:moveTo>
                  <a:lnTo>
                    <a:pt x="161674" y="0"/>
                  </a:lnTo>
                  <a:lnTo>
                    <a:pt x="161674" y="26531"/>
                  </a:lnTo>
                  <a:lnTo>
                    <a:pt x="0" y="26531"/>
                  </a:lnTo>
                  <a:close/>
                </a:path>
              </a:pathLst>
            </a:custGeom>
            <a:solidFill>
              <a:srgbClr val="FF0000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1CAC8DAB-99BF-4AA6-87E4-43F7F102F1F9}"/>
                </a:ext>
              </a:extLst>
            </p:cNvPr>
            <p:cNvSpPr/>
            <p:nvPr/>
          </p:nvSpPr>
          <p:spPr>
            <a:xfrm>
              <a:off x="4394469" y="2100270"/>
              <a:ext cx="114415" cy="105309"/>
            </a:xfrm>
            <a:custGeom>
              <a:avLst/>
              <a:gdLst>
                <a:gd name="connsiteX0" fmla="*/ 114415 w 114415"/>
                <a:gd name="connsiteY0" fmla="*/ 105310 h 105309"/>
                <a:gd name="connsiteX1" fmla="*/ 107783 w 114415"/>
                <a:gd name="connsiteY1" fmla="*/ 105310 h 105309"/>
                <a:gd name="connsiteX2" fmla="*/ 57208 w 114415"/>
                <a:gd name="connsiteY2" fmla="*/ 5818 h 105309"/>
                <a:gd name="connsiteX3" fmla="*/ 6633 w 114415"/>
                <a:gd name="connsiteY3" fmla="*/ 105310 h 105309"/>
                <a:gd name="connsiteX4" fmla="*/ 0 w 114415"/>
                <a:gd name="connsiteY4" fmla="*/ 105310 h 105309"/>
                <a:gd name="connsiteX5" fmla="*/ 56379 w 114415"/>
                <a:gd name="connsiteY5" fmla="*/ 14 h 105309"/>
                <a:gd name="connsiteX6" fmla="*/ 114415 w 114415"/>
                <a:gd name="connsiteY6" fmla="*/ 105310 h 10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15" h="105309">
                  <a:moveTo>
                    <a:pt x="114415" y="105310"/>
                  </a:moveTo>
                  <a:lnTo>
                    <a:pt x="107783" y="105310"/>
                  </a:lnTo>
                  <a:cubicBezTo>
                    <a:pt x="107783" y="37324"/>
                    <a:pt x="92030" y="5818"/>
                    <a:pt x="57208" y="5818"/>
                  </a:cubicBezTo>
                  <a:cubicBezTo>
                    <a:pt x="23215" y="5818"/>
                    <a:pt x="6633" y="38153"/>
                    <a:pt x="6633" y="105310"/>
                  </a:cubicBezTo>
                  <a:lnTo>
                    <a:pt x="0" y="105310"/>
                  </a:lnTo>
                  <a:cubicBezTo>
                    <a:pt x="0" y="34007"/>
                    <a:pt x="18240" y="14"/>
                    <a:pt x="56379" y="14"/>
                  </a:cubicBezTo>
                  <a:cubicBezTo>
                    <a:pt x="95346" y="-815"/>
                    <a:pt x="114415" y="34007"/>
                    <a:pt x="114415" y="105310"/>
                  </a:cubicBez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83E003BC-3242-4AF7-8B51-DB8FEE6FC06A}"/>
                </a:ext>
              </a:extLst>
            </p:cNvPr>
            <p:cNvSpPr/>
            <p:nvPr/>
          </p:nvSpPr>
          <p:spPr>
            <a:xfrm>
              <a:off x="4431779" y="2212213"/>
              <a:ext cx="43113" cy="33163"/>
            </a:xfrm>
            <a:custGeom>
              <a:avLst/>
              <a:gdLst>
                <a:gd name="connsiteX0" fmla="*/ 0 w 43113"/>
                <a:gd name="connsiteY0" fmla="*/ 0 h 33163"/>
                <a:gd name="connsiteX1" fmla="*/ 43113 w 43113"/>
                <a:gd name="connsiteY1" fmla="*/ 0 h 33163"/>
                <a:gd name="connsiteX2" fmla="*/ 43113 w 43113"/>
                <a:gd name="connsiteY2" fmla="*/ 33164 h 33163"/>
                <a:gd name="connsiteX3" fmla="*/ 0 w 43113"/>
                <a:gd name="connsiteY3" fmla="*/ 33164 h 33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13" h="33163">
                  <a:moveTo>
                    <a:pt x="0" y="0"/>
                  </a:moveTo>
                  <a:lnTo>
                    <a:pt x="43113" y="0"/>
                  </a:lnTo>
                  <a:lnTo>
                    <a:pt x="43113" y="33164"/>
                  </a:lnTo>
                  <a:lnTo>
                    <a:pt x="0" y="33164"/>
                  </a:lnTo>
                  <a:close/>
                </a:path>
              </a:pathLst>
            </a:custGeom>
            <a:solidFill>
              <a:srgbClr val="E3EBD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DB24611B-79BE-405E-89C8-59908706B112}"/>
                </a:ext>
              </a:extLst>
            </p:cNvPr>
            <p:cNvSpPr/>
            <p:nvPr/>
          </p:nvSpPr>
          <p:spPr>
            <a:xfrm>
              <a:off x="4448361" y="2218846"/>
              <a:ext cx="11607" cy="21556"/>
            </a:xfrm>
            <a:custGeom>
              <a:avLst/>
              <a:gdLst>
                <a:gd name="connsiteX0" fmla="*/ 0 w 11607"/>
                <a:gd name="connsiteY0" fmla="*/ 0 h 21556"/>
                <a:gd name="connsiteX1" fmla="*/ 11608 w 11607"/>
                <a:gd name="connsiteY1" fmla="*/ 0 h 21556"/>
                <a:gd name="connsiteX2" fmla="*/ 11608 w 11607"/>
                <a:gd name="connsiteY2" fmla="*/ 21557 h 21556"/>
                <a:gd name="connsiteX3" fmla="*/ 0 w 11607"/>
                <a:gd name="connsiteY3" fmla="*/ 21557 h 2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7" h="21556">
                  <a:moveTo>
                    <a:pt x="0" y="0"/>
                  </a:moveTo>
                  <a:lnTo>
                    <a:pt x="11608" y="0"/>
                  </a:lnTo>
                  <a:lnTo>
                    <a:pt x="11608" y="21557"/>
                  </a:lnTo>
                  <a:lnTo>
                    <a:pt x="0" y="21557"/>
                  </a:lnTo>
                  <a:close/>
                </a:path>
              </a:pathLst>
            </a:custGeom>
            <a:solidFill>
              <a:srgbClr val="FF0000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373D160C-6BA1-4244-99B7-312AA2BC6653}"/>
              </a:ext>
            </a:extLst>
          </p:cNvPr>
          <p:cNvSpPr/>
          <p:nvPr/>
        </p:nvSpPr>
        <p:spPr>
          <a:xfrm>
            <a:off x="3765886" y="2230656"/>
            <a:ext cx="242214" cy="137363"/>
          </a:xfrm>
          <a:custGeom>
            <a:avLst/>
            <a:gdLst>
              <a:gd name="connsiteX0" fmla="*/ 229660 w 247071"/>
              <a:gd name="connsiteY0" fmla="*/ 140118 h 140117"/>
              <a:gd name="connsiteX1" fmla="*/ 17411 w 247071"/>
              <a:gd name="connsiteY1" fmla="*/ 140118 h 140117"/>
              <a:gd name="connsiteX2" fmla="*/ 0 w 247071"/>
              <a:gd name="connsiteY2" fmla="*/ 122706 h 140117"/>
              <a:gd name="connsiteX3" fmla="*/ 0 w 247071"/>
              <a:gd name="connsiteY3" fmla="*/ 17411 h 140117"/>
              <a:gd name="connsiteX4" fmla="*/ 17411 w 247071"/>
              <a:gd name="connsiteY4" fmla="*/ 0 h 140117"/>
              <a:gd name="connsiteX5" fmla="*/ 229660 w 247071"/>
              <a:gd name="connsiteY5" fmla="*/ 0 h 140117"/>
              <a:gd name="connsiteX6" fmla="*/ 247071 w 247071"/>
              <a:gd name="connsiteY6" fmla="*/ 17411 h 140117"/>
              <a:gd name="connsiteX7" fmla="*/ 247071 w 247071"/>
              <a:gd name="connsiteY7" fmla="*/ 122706 h 140117"/>
              <a:gd name="connsiteX8" fmla="*/ 229660 w 247071"/>
              <a:gd name="connsiteY8" fmla="*/ 140118 h 14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071" h="140117">
                <a:moveTo>
                  <a:pt x="229660" y="140118"/>
                </a:moveTo>
                <a:lnTo>
                  <a:pt x="17411" y="140118"/>
                </a:lnTo>
                <a:cubicBezTo>
                  <a:pt x="7462" y="140118"/>
                  <a:pt x="0" y="131827"/>
                  <a:pt x="0" y="122706"/>
                </a:cubicBezTo>
                <a:lnTo>
                  <a:pt x="0" y="17411"/>
                </a:lnTo>
                <a:cubicBezTo>
                  <a:pt x="0" y="7462"/>
                  <a:pt x="8291" y="0"/>
                  <a:pt x="17411" y="0"/>
                </a:cubicBezTo>
                <a:lnTo>
                  <a:pt x="229660" y="0"/>
                </a:lnTo>
                <a:cubicBezTo>
                  <a:pt x="239610" y="0"/>
                  <a:pt x="247071" y="8291"/>
                  <a:pt x="247071" y="17411"/>
                </a:cubicBezTo>
                <a:lnTo>
                  <a:pt x="247071" y="122706"/>
                </a:lnTo>
                <a:cubicBezTo>
                  <a:pt x="247071" y="131827"/>
                  <a:pt x="238780" y="140118"/>
                  <a:pt x="229660" y="140118"/>
                </a:cubicBezTo>
                <a:close/>
              </a:path>
            </a:pathLst>
          </a:custGeom>
          <a:solidFill>
            <a:schemeClr val="accent1">
              <a:lumMod val="2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554EF50C-D279-4943-B081-C49CC99624CC}"/>
              </a:ext>
            </a:extLst>
          </p:cNvPr>
          <p:cNvSpPr/>
          <p:nvPr/>
        </p:nvSpPr>
        <p:spPr>
          <a:xfrm>
            <a:off x="3427761" y="2144498"/>
            <a:ext cx="276352" cy="224333"/>
          </a:xfrm>
          <a:custGeom>
            <a:avLst/>
            <a:gdLst>
              <a:gd name="connsiteX0" fmla="*/ 257849 w 281893"/>
              <a:gd name="connsiteY0" fmla="*/ 228831 h 228831"/>
              <a:gd name="connsiteX1" fmla="*/ 24044 w 281893"/>
              <a:gd name="connsiteY1" fmla="*/ 228831 h 228831"/>
              <a:gd name="connsiteX2" fmla="*/ 0 w 281893"/>
              <a:gd name="connsiteY2" fmla="*/ 204787 h 228831"/>
              <a:gd name="connsiteX3" fmla="*/ 0 w 281893"/>
              <a:gd name="connsiteY3" fmla="*/ 24044 h 228831"/>
              <a:gd name="connsiteX4" fmla="*/ 24044 w 281893"/>
              <a:gd name="connsiteY4" fmla="*/ 0 h 228831"/>
              <a:gd name="connsiteX5" fmla="*/ 257849 w 281893"/>
              <a:gd name="connsiteY5" fmla="*/ 0 h 228831"/>
              <a:gd name="connsiteX6" fmla="*/ 281893 w 281893"/>
              <a:gd name="connsiteY6" fmla="*/ 24044 h 228831"/>
              <a:gd name="connsiteX7" fmla="*/ 281893 w 281893"/>
              <a:gd name="connsiteY7" fmla="*/ 204787 h 228831"/>
              <a:gd name="connsiteX8" fmla="*/ 257849 w 281893"/>
              <a:gd name="connsiteY8" fmla="*/ 228831 h 228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1893" h="228831">
                <a:moveTo>
                  <a:pt x="257849" y="228831"/>
                </a:moveTo>
                <a:lnTo>
                  <a:pt x="24044" y="228831"/>
                </a:lnTo>
                <a:cubicBezTo>
                  <a:pt x="10778" y="228831"/>
                  <a:pt x="0" y="218053"/>
                  <a:pt x="0" y="204787"/>
                </a:cubicBezTo>
                <a:lnTo>
                  <a:pt x="0" y="24044"/>
                </a:lnTo>
                <a:cubicBezTo>
                  <a:pt x="0" y="10778"/>
                  <a:pt x="10778" y="0"/>
                  <a:pt x="24044" y="0"/>
                </a:cubicBezTo>
                <a:lnTo>
                  <a:pt x="257849" y="0"/>
                </a:lnTo>
                <a:cubicBezTo>
                  <a:pt x="271115" y="0"/>
                  <a:pt x="281893" y="10778"/>
                  <a:pt x="281893" y="24044"/>
                </a:cubicBezTo>
                <a:lnTo>
                  <a:pt x="281893" y="204787"/>
                </a:lnTo>
                <a:cubicBezTo>
                  <a:pt x="281893" y="218053"/>
                  <a:pt x="271115" y="228831"/>
                  <a:pt x="257849" y="228831"/>
                </a:cubicBezTo>
                <a:close/>
              </a:path>
            </a:pathLst>
          </a:custGeom>
          <a:solidFill>
            <a:schemeClr val="tx1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50EB9196-C419-4993-9F6B-1DECB287EEAD}"/>
              </a:ext>
            </a:extLst>
          </p:cNvPr>
          <p:cNvSpPr/>
          <p:nvPr/>
        </p:nvSpPr>
        <p:spPr>
          <a:xfrm>
            <a:off x="3099390" y="2368018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3" name="Freeform: Shape 142">
            <a:extLst>
              <a:ext uri="{FF2B5EF4-FFF2-40B4-BE49-F238E27FC236}">
                <a16:creationId xmlns:a16="http://schemas.microsoft.com/office/drawing/2014/main" id="{E05392FF-DF21-4DE0-B44E-7D51954C9E91}"/>
              </a:ext>
            </a:extLst>
          </p:cNvPr>
          <p:cNvSpPr/>
          <p:nvPr/>
        </p:nvSpPr>
        <p:spPr>
          <a:xfrm>
            <a:off x="3099390" y="2424915"/>
            <a:ext cx="1720697" cy="65023"/>
          </a:xfrm>
          <a:custGeom>
            <a:avLst/>
            <a:gdLst>
              <a:gd name="connsiteX0" fmla="*/ 0 w 1755201"/>
              <a:gd name="connsiteY0" fmla="*/ 0 h 66327"/>
              <a:gd name="connsiteX1" fmla="*/ 1755201 w 1755201"/>
              <a:gd name="connsiteY1" fmla="*/ 0 h 66327"/>
              <a:gd name="connsiteX2" fmla="*/ 1755201 w 1755201"/>
              <a:gd name="connsiteY2" fmla="*/ 66328 h 66327"/>
              <a:gd name="connsiteX3" fmla="*/ 0 w 1755201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66327">
                <a:moveTo>
                  <a:pt x="0" y="0"/>
                </a:moveTo>
                <a:lnTo>
                  <a:pt x="1755201" y="0"/>
                </a:lnTo>
                <a:lnTo>
                  <a:pt x="1755201" y="66328"/>
                </a:lnTo>
                <a:lnTo>
                  <a:pt x="0" y="66328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09F6D716-E0BD-4A48-B03E-6EBD0ABB7E3F}"/>
              </a:ext>
            </a:extLst>
          </p:cNvPr>
          <p:cNvSpPr/>
          <p:nvPr/>
        </p:nvSpPr>
        <p:spPr>
          <a:xfrm>
            <a:off x="3099390" y="2954047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B275E6FA-89F8-4848-870F-878FD74F539F}"/>
              </a:ext>
            </a:extLst>
          </p:cNvPr>
          <p:cNvSpPr/>
          <p:nvPr/>
        </p:nvSpPr>
        <p:spPr>
          <a:xfrm>
            <a:off x="3099390" y="3011756"/>
            <a:ext cx="1720697" cy="65023"/>
          </a:xfrm>
          <a:custGeom>
            <a:avLst/>
            <a:gdLst>
              <a:gd name="connsiteX0" fmla="*/ 0 w 1755201"/>
              <a:gd name="connsiteY0" fmla="*/ 0 h 66327"/>
              <a:gd name="connsiteX1" fmla="*/ 1755201 w 1755201"/>
              <a:gd name="connsiteY1" fmla="*/ 0 h 66327"/>
              <a:gd name="connsiteX2" fmla="*/ 1755201 w 1755201"/>
              <a:gd name="connsiteY2" fmla="*/ 66328 h 66327"/>
              <a:gd name="connsiteX3" fmla="*/ 0 w 1755201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66327">
                <a:moveTo>
                  <a:pt x="0" y="0"/>
                </a:moveTo>
                <a:lnTo>
                  <a:pt x="1755201" y="0"/>
                </a:lnTo>
                <a:lnTo>
                  <a:pt x="1755201" y="66328"/>
                </a:lnTo>
                <a:lnTo>
                  <a:pt x="0" y="66328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4673D78A-2F14-4CDD-9FB7-7584D6F3F4A6}"/>
              </a:ext>
            </a:extLst>
          </p:cNvPr>
          <p:cNvSpPr/>
          <p:nvPr/>
        </p:nvSpPr>
        <p:spPr>
          <a:xfrm>
            <a:off x="3099390" y="1988440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id="{B2BD9490-6D33-4079-A141-58A3FE0D9538}"/>
              </a:ext>
            </a:extLst>
          </p:cNvPr>
          <p:cNvSpPr/>
          <p:nvPr/>
        </p:nvSpPr>
        <p:spPr>
          <a:xfrm>
            <a:off x="3099390" y="2045336"/>
            <a:ext cx="1720697" cy="78841"/>
          </a:xfrm>
          <a:custGeom>
            <a:avLst/>
            <a:gdLst>
              <a:gd name="connsiteX0" fmla="*/ 0 w 1755201"/>
              <a:gd name="connsiteY0" fmla="*/ 0 h 80422"/>
              <a:gd name="connsiteX1" fmla="*/ 1755201 w 1755201"/>
              <a:gd name="connsiteY1" fmla="*/ 0 h 80422"/>
              <a:gd name="connsiteX2" fmla="*/ 1755201 w 1755201"/>
              <a:gd name="connsiteY2" fmla="*/ 80423 h 80422"/>
              <a:gd name="connsiteX3" fmla="*/ 0 w 1755201"/>
              <a:gd name="connsiteY3" fmla="*/ 80423 h 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80422">
                <a:moveTo>
                  <a:pt x="0" y="0"/>
                </a:moveTo>
                <a:lnTo>
                  <a:pt x="1755201" y="0"/>
                </a:lnTo>
                <a:lnTo>
                  <a:pt x="1755201" y="80423"/>
                </a:lnTo>
                <a:lnTo>
                  <a:pt x="0" y="80423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CAAA70A9-42E4-4A73-814F-BE42F42E4FC8}"/>
              </a:ext>
            </a:extLst>
          </p:cNvPr>
          <p:cNvSpPr/>
          <p:nvPr/>
        </p:nvSpPr>
        <p:spPr>
          <a:xfrm>
            <a:off x="7481195" y="2368018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353795B6-EA20-4AAB-B288-1D8D920CA4FE}"/>
              </a:ext>
            </a:extLst>
          </p:cNvPr>
          <p:cNvSpPr/>
          <p:nvPr/>
        </p:nvSpPr>
        <p:spPr>
          <a:xfrm>
            <a:off x="7481195" y="2424915"/>
            <a:ext cx="1720697" cy="65023"/>
          </a:xfrm>
          <a:custGeom>
            <a:avLst/>
            <a:gdLst>
              <a:gd name="connsiteX0" fmla="*/ 0 w 1755201"/>
              <a:gd name="connsiteY0" fmla="*/ 0 h 66327"/>
              <a:gd name="connsiteX1" fmla="*/ 1755201 w 1755201"/>
              <a:gd name="connsiteY1" fmla="*/ 0 h 66327"/>
              <a:gd name="connsiteX2" fmla="*/ 1755201 w 1755201"/>
              <a:gd name="connsiteY2" fmla="*/ 66328 h 66327"/>
              <a:gd name="connsiteX3" fmla="*/ 0 w 1755201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66327">
                <a:moveTo>
                  <a:pt x="0" y="0"/>
                </a:moveTo>
                <a:lnTo>
                  <a:pt x="1755201" y="0"/>
                </a:lnTo>
                <a:lnTo>
                  <a:pt x="1755201" y="66328"/>
                </a:lnTo>
                <a:lnTo>
                  <a:pt x="0" y="66328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70B40041-2FB6-46CF-A701-3CFD521BCC0B}"/>
              </a:ext>
            </a:extLst>
          </p:cNvPr>
          <p:cNvSpPr/>
          <p:nvPr/>
        </p:nvSpPr>
        <p:spPr>
          <a:xfrm>
            <a:off x="7481195" y="2954047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id="{B288C7B7-2D54-4A4D-9DB0-A0927E0FD45C}"/>
              </a:ext>
            </a:extLst>
          </p:cNvPr>
          <p:cNvSpPr/>
          <p:nvPr/>
        </p:nvSpPr>
        <p:spPr>
          <a:xfrm>
            <a:off x="7481195" y="3011756"/>
            <a:ext cx="1720697" cy="65023"/>
          </a:xfrm>
          <a:custGeom>
            <a:avLst/>
            <a:gdLst>
              <a:gd name="connsiteX0" fmla="*/ 0 w 1755201"/>
              <a:gd name="connsiteY0" fmla="*/ 0 h 66327"/>
              <a:gd name="connsiteX1" fmla="*/ 1755201 w 1755201"/>
              <a:gd name="connsiteY1" fmla="*/ 0 h 66327"/>
              <a:gd name="connsiteX2" fmla="*/ 1755201 w 1755201"/>
              <a:gd name="connsiteY2" fmla="*/ 66328 h 66327"/>
              <a:gd name="connsiteX3" fmla="*/ 0 w 1755201"/>
              <a:gd name="connsiteY3" fmla="*/ 66328 h 66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66327">
                <a:moveTo>
                  <a:pt x="0" y="0"/>
                </a:moveTo>
                <a:lnTo>
                  <a:pt x="1755201" y="0"/>
                </a:lnTo>
                <a:lnTo>
                  <a:pt x="1755201" y="66328"/>
                </a:lnTo>
                <a:lnTo>
                  <a:pt x="0" y="6632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E75751B8-FEC0-43B4-AF55-D1824E151DB7}"/>
              </a:ext>
            </a:extLst>
          </p:cNvPr>
          <p:cNvSpPr/>
          <p:nvPr/>
        </p:nvSpPr>
        <p:spPr>
          <a:xfrm>
            <a:off x="7481195" y="1988440"/>
            <a:ext cx="1720697" cy="56895"/>
          </a:xfrm>
          <a:custGeom>
            <a:avLst/>
            <a:gdLst>
              <a:gd name="connsiteX0" fmla="*/ 0 w 1755201"/>
              <a:gd name="connsiteY0" fmla="*/ 0 h 58036"/>
              <a:gd name="connsiteX1" fmla="*/ 1755201 w 1755201"/>
              <a:gd name="connsiteY1" fmla="*/ 0 h 58036"/>
              <a:gd name="connsiteX2" fmla="*/ 1755201 w 1755201"/>
              <a:gd name="connsiteY2" fmla="*/ 58037 h 58036"/>
              <a:gd name="connsiteX3" fmla="*/ 0 w 1755201"/>
              <a:gd name="connsiteY3" fmla="*/ 58037 h 5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58036">
                <a:moveTo>
                  <a:pt x="0" y="0"/>
                </a:moveTo>
                <a:lnTo>
                  <a:pt x="1755201" y="0"/>
                </a:lnTo>
                <a:lnTo>
                  <a:pt x="1755201" y="58037"/>
                </a:lnTo>
                <a:lnTo>
                  <a:pt x="0" y="58037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CF68D64C-6FDF-4E77-9AE7-ADD937B16CC3}"/>
              </a:ext>
            </a:extLst>
          </p:cNvPr>
          <p:cNvSpPr/>
          <p:nvPr/>
        </p:nvSpPr>
        <p:spPr>
          <a:xfrm>
            <a:off x="7481195" y="2045336"/>
            <a:ext cx="1720697" cy="78841"/>
          </a:xfrm>
          <a:custGeom>
            <a:avLst/>
            <a:gdLst>
              <a:gd name="connsiteX0" fmla="*/ 0 w 1755201"/>
              <a:gd name="connsiteY0" fmla="*/ 0 h 80422"/>
              <a:gd name="connsiteX1" fmla="*/ 1755201 w 1755201"/>
              <a:gd name="connsiteY1" fmla="*/ 0 h 80422"/>
              <a:gd name="connsiteX2" fmla="*/ 1755201 w 1755201"/>
              <a:gd name="connsiteY2" fmla="*/ 80423 h 80422"/>
              <a:gd name="connsiteX3" fmla="*/ 0 w 1755201"/>
              <a:gd name="connsiteY3" fmla="*/ 80423 h 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5201" h="80422">
                <a:moveTo>
                  <a:pt x="0" y="0"/>
                </a:moveTo>
                <a:lnTo>
                  <a:pt x="1755201" y="0"/>
                </a:lnTo>
                <a:lnTo>
                  <a:pt x="1755201" y="80423"/>
                </a:lnTo>
                <a:lnTo>
                  <a:pt x="0" y="80423"/>
                </a:lnTo>
                <a:close/>
              </a:path>
            </a:pathLst>
          </a:custGeom>
          <a:solidFill>
            <a:srgbClr val="231F20">
              <a:alpha val="1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C1565264-834E-4C20-95A2-F3D1F3F9E98E}"/>
              </a:ext>
            </a:extLst>
          </p:cNvPr>
          <p:cNvSpPr/>
          <p:nvPr/>
        </p:nvSpPr>
        <p:spPr>
          <a:xfrm>
            <a:off x="10664119" y="4382949"/>
            <a:ext cx="251155" cy="201574"/>
          </a:xfrm>
          <a:custGeom>
            <a:avLst/>
            <a:gdLst>
              <a:gd name="connsiteX0" fmla="*/ 0 w 256191"/>
              <a:gd name="connsiteY0" fmla="*/ 0 h 205616"/>
              <a:gd name="connsiteX1" fmla="*/ 256192 w 256191"/>
              <a:gd name="connsiteY1" fmla="*/ 0 h 205616"/>
              <a:gd name="connsiteX2" fmla="*/ 256192 w 256191"/>
              <a:gd name="connsiteY2" fmla="*/ 205616 h 205616"/>
              <a:gd name="connsiteX3" fmla="*/ 0 w 256191"/>
              <a:gd name="connsiteY3" fmla="*/ 205616 h 205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191" h="205616">
                <a:moveTo>
                  <a:pt x="0" y="0"/>
                </a:moveTo>
                <a:lnTo>
                  <a:pt x="256192" y="0"/>
                </a:lnTo>
                <a:lnTo>
                  <a:pt x="256192" y="205616"/>
                </a:lnTo>
                <a:lnTo>
                  <a:pt x="0" y="205616"/>
                </a:lnTo>
                <a:close/>
              </a:path>
            </a:pathLst>
          </a:custGeom>
          <a:solidFill>
            <a:schemeClr val="tx2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A8C2989F-E266-41E8-8887-BEE793842B23}"/>
              </a:ext>
            </a:extLst>
          </p:cNvPr>
          <p:cNvSpPr/>
          <p:nvPr/>
        </p:nvSpPr>
        <p:spPr>
          <a:xfrm>
            <a:off x="10973797" y="4496741"/>
            <a:ext cx="126796" cy="87782"/>
          </a:xfrm>
          <a:custGeom>
            <a:avLst/>
            <a:gdLst>
              <a:gd name="connsiteX0" fmla="*/ 0 w 129339"/>
              <a:gd name="connsiteY0" fmla="*/ 0 h 89542"/>
              <a:gd name="connsiteX1" fmla="*/ 129339 w 129339"/>
              <a:gd name="connsiteY1" fmla="*/ 0 h 89542"/>
              <a:gd name="connsiteX2" fmla="*/ 129339 w 129339"/>
              <a:gd name="connsiteY2" fmla="*/ 89543 h 89542"/>
              <a:gd name="connsiteX3" fmla="*/ 0 w 129339"/>
              <a:gd name="connsiteY3" fmla="*/ 89543 h 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339" h="89542">
                <a:moveTo>
                  <a:pt x="0" y="0"/>
                </a:moveTo>
                <a:lnTo>
                  <a:pt x="129339" y="0"/>
                </a:lnTo>
                <a:lnTo>
                  <a:pt x="129339" y="89543"/>
                </a:lnTo>
                <a:lnTo>
                  <a:pt x="0" y="895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B960CFC2-8814-4511-A35E-7A7F2628AD00}"/>
              </a:ext>
            </a:extLst>
          </p:cNvPr>
          <p:cNvSpPr/>
          <p:nvPr/>
        </p:nvSpPr>
        <p:spPr>
          <a:xfrm>
            <a:off x="7487697" y="3242591"/>
            <a:ext cx="1702002" cy="58522"/>
          </a:xfrm>
          <a:custGeom>
            <a:avLst/>
            <a:gdLst>
              <a:gd name="connsiteX0" fmla="*/ 0 w 1736131"/>
              <a:gd name="connsiteY0" fmla="*/ 0 h 59695"/>
              <a:gd name="connsiteX1" fmla="*/ 1736132 w 1736131"/>
              <a:gd name="connsiteY1" fmla="*/ 0 h 59695"/>
              <a:gd name="connsiteX2" fmla="*/ 1736132 w 1736131"/>
              <a:gd name="connsiteY2" fmla="*/ 59695 h 59695"/>
              <a:gd name="connsiteX3" fmla="*/ 0 w 1736131"/>
              <a:gd name="connsiteY3" fmla="*/ 59695 h 59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131" h="59695">
                <a:moveTo>
                  <a:pt x="0" y="0"/>
                </a:moveTo>
                <a:lnTo>
                  <a:pt x="1736132" y="0"/>
                </a:lnTo>
                <a:lnTo>
                  <a:pt x="1736132" y="59695"/>
                </a:lnTo>
                <a:lnTo>
                  <a:pt x="0" y="5969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grpSp>
        <p:nvGrpSpPr>
          <p:cNvPr id="157" name="Graphic 80">
            <a:extLst>
              <a:ext uri="{FF2B5EF4-FFF2-40B4-BE49-F238E27FC236}">
                <a16:creationId xmlns:a16="http://schemas.microsoft.com/office/drawing/2014/main" id="{05E2F5F3-CD0D-4C44-B805-EEFBA9B16C5C}"/>
              </a:ext>
            </a:extLst>
          </p:cNvPr>
          <p:cNvGrpSpPr/>
          <p:nvPr/>
        </p:nvGrpSpPr>
        <p:grpSpPr>
          <a:xfrm>
            <a:off x="60330" y="3483992"/>
            <a:ext cx="499881" cy="1082649"/>
            <a:chOff x="69892" y="3519701"/>
            <a:chExt cx="509905" cy="1104358"/>
          </a:xfrm>
          <a:solidFill>
            <a:schemeClr val="accent4">
              <a:lumMod val="50000"/>
            </a:schemeClr>
          </a:solidFill>
        </p:grpSpPr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707B4FC1-DEA7-4015-9490-B09936FEA350}"/>
                </a:ext>
              </a:extLst>
            </p:cNvPr>
            <p:cNvSpPr/>
            <p:nvPr/>
          </p:nvSpPr>
          <p:spPr>
            <a:xfrm>
              <a:off x="281312" y="3672255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D0EA8929-4793-4EA9-9A59-DADEC747E1BE}"/>
                </a:ext>
              </a:extLst>
            </p:cNvPr>
            <p:cNvSpPr/>
            <p:nvPr/>
          </p:nvSpPr>
          <p:spPr>
            <a:xfrm>
              <a:off x="302040" y="3519701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FDBE4B21-26F2-48DD-8B25-53ADA927A296}"/>
                </a:ext>
              </a:extLst>
            </p:cNvPr>
            <p:cNvSpPr/>
            <p:nvPr/>
          </p:nvSpPr>
          <p:spPr>
            <a:xfrm>
              <a:off x="69892" y="3759310"/>
              <a:ext cx="509905" cy="864749"/>
            </a:xfrm>
            <a:custGeom>
              <a:avLst/>
              <a:gdLst>
                <a:gd name="connsiteX0" fmla="*/ 388018 w 509905"/>
                <a:gd name="connsiteY0" fmla="*/ 4145 h 864749"/>
                <a:gd name="connsiteX1" fmla="*/ 353196 w 509905"/>
                <a:gd name="connsiteY1" fmla="*/ 0 h 864749"/>
                <a:gd name="connsiteX2" fmla="*/ 111099 w 509905"/>
                <a:gd name="connsiteY2" fmla="*/ 0 h 864749"/>
                <a:gd name="connsiteX3" fmla="*/ 76277 w 509905"/>
                <a:gd name="connsiteY3" fmla="*/ 4145 h 864749"/>
                <a:gd name="connsiteX4" fmla="*/ 0 w 509905"/>
                <a:gd name="connsiteY4" fmla="*/ 45600 h 864749"/>
                <a:gd name="connsiteX5" fmla="*/ 0 w 509905"/>
                <a:gd name="connsiteY5" fmla="*/ 391335 h 864749"/>
                <a:gd name="connsiteX6" fmla="*/ 24044 w 509905"/>
                <a:gd name="connsiteY6" fmla="*/ 391335 h 864749"/>
                <a:gd name="connsiteX7" fmla="*/ 24044 w 509905"/>
                <a:gd name="connsiteY7" fmla="*/ 864749 h 864749"/>
                <a:gd name="connsiteX8" fmla="*/ 438593 w 509905"/>
                <a:gd name="connsiteY8" fmla="*/ 864749 h 864749"/>
                <a:gd name="connsiteX9" fmla="*/ 438593 w 509905"/>
                <a:gd name="connsiteY9" fmla="*/ 391335 h 864749"/>
                <a:gd name="connsiteX10" fmla="*/ 509896 w 509905"/>
                <a:gd name="connsiteY10" fmla="*/ 391335 h 864749"/>
                <a:gd name="connsiteX11" fmla="*/ 509896 w 509905"/>
                <a:gd name="connsiteY11" fmla="*/ 157529 h 864749"/>
                <a:gd name="connsiteX12" fmla="*/ 388018 w 509905"/>
                <a:gd name="connsiteY12" fmla="*/ 4145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9905" h="864749">
                  <a:moveTo>
                    <a:pt x="388018" y="4145"/>
                  </a:moveTo>
                  <a:cubicBezTo>
                    <a:pt x="377240" y="1658"/>
                    <a:pt x="364803" y="0"/>
                    <a:pt x="353196" y="0"/>
                  </a:cubicBezTo>
                  <a:lnTo>
                    <a:pt x="111099" y="0"/>
                  </a:lnTo>
                  <a:cubicBezTo>
                    <a:pt x="99492" y="0"/>
                    <a:pt x="87884" y="1658"/>
                    <a:pt x="76277" y="4145"/>
                  </a:cubicBezTo>
                  <a:cubicBezTo>
                    <a:pt x="47259" y="10778"/>
                    <a:pt x="20727" y="25702"/>
                    <a:pt x="0" y="45600"/>
                  </a:cubicBezTo>
                  <a:lnTo>
                    <a:pt x="0" y="391335"/>
                  </a:lnTo>
                  <a:lnTo>
                    <a:pt x="24044" y="391335"/>
                  </a:lnTo>
                  <a:lnTo>
                    <a:pt x="24044" y="864749"/>
                  </a:lnTo>
                  <a:lnTo>
                    <a:pt x="438593" y="864749"/>
                  </a:lnTo>
                  <a:lnTo>
                    <a:pt x="438593" y="391335"/>
                  </a:lnTo>
                  <a:lnTo>
                    <a:pt x="509896" y="391335"/>
                  </a:lnTo>
                  <a:lnTo>
                    <a:pt x="509896" y="157529"/>
                  </a:lnTo>
                  <a:cubicBezTo>
                    <a:pt x="510725" y="82910"/>
                    <a:pt x="458491" y="19899"/>
                    <a:pt x="388018" y="4145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48311E13-D644-44CE-8E36-9AA58CA9EA72}"/>
                </a:ext>
              </a:extLst>
            </p:cNvPr>
            <p:cNvSpPr/>
            <p:nvPr/>
          </p:nvSpPr>
          <p:spPr>
            <a:xfrm>
              <a:off x="146999" y="3716197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7258 h 105295"/>
                <a:gd name="connsiteX2" fmla="*/ 160016 w 310911"/>
                <a:gd name="connsiteY2" fmla="*/ 105295 h 105295"/>
                <a:gd name="connsiteX3" fmla="*/ 0 w 310911"/>
                <a:gd name="connsiteY3" fmla="*/ 4725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7258"/>
                  </a:lnTo>
                  <a:lnTo>
                    <a:pt x="160016" y="105295"/>
                  </a:lnTo>
                  <a:lnTo>
                    <a:pt x="0" y="47258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58" name="Graphic 80">
            <a:extLst>
              <a:ext uri="{FF2B5EF4-FFF2-40B4-BE49-F238E27FC236}">
                <a16:creationId xmlns:a16="http://schemas.microsoft.com/office/drawing/2014/main" id="{FA675E0A-6EDC-4DC9-9AAE-FDCD6AD068AE}"/>
              </a:ext>
            </a:extLst>
          </p:cNvPr>
          <p:cNvGrpSpPr/>
          <p:nvPr/>
        </p:nvGrpSpPr>
        <p:grpSpPr>
          <a:xfrm>
            <a:off x="8510200" y="3242591"/>
            <a:ext cx="546201" cy="1250899"/>
            <a:chOff x="8689199" y="3273459"/>
            <a:chExt cx="557153" cy="1275982"/>
          </a:xfrm>
          <a:solidFill>
            <a:srgbClr val="715356"/>
          </a:solidFill>
        </p:grpSpPr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E5CEB77E-3C80-43AC-9CAF-FBAF8DDD0FE2}"/>
                </a:ext>
              </a:extLst>
            </p:cNvPr>
            <p:cNvSpPr/>
            <p:nvPr/>
          </p:nvSpPr>
          <p:spPr>
            <a:xfrm>
              <a:off x="8947048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3 w 51404"/>
                <a:gd name="connsiteY1" fmla="*/ 0 h 87055"/>
                <a:gd name="connsiteX2" fmla="*/ 51403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3" y="0"/>
                  </a:lnTo>
                  <a:lnTo>
                    <a:pt x="51403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6B21347-DC88-474C-A8E0-CD59842463B8}"/>
                </a:ext>
              </a:extLst>
            </p:cNvPr>
            <p:cNvSpPr/>
            <p:nvPr/>
          </p:nvSpPr>
          <p:spPr>
            <a:xfrm>
              <a:off x="8967776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F107063C-C15B-446A-9A62-29333084DDA2}"/>
                </a:ext>
              </a:extLst>
            </p:cNvPr>
            <p:cNvSpPr/>
            <p:nvPr/>
          </p:nvSpPr>
          <p:spPr>
            <a:xfrm>
              <a:off x="8689199" y="3512239"/>
              <a:ext cx="557153" cy="864749"/>
            </a:xfrm>
            <a:custGeom>
              <a:avLst/>
              <a:gdLst>
                <a:gd name="connsiteX0" fmla="*/ 557154 w 557153"/>
                <a:gd name="connsiteY0" fmla="*/ 158358 h 864749"/>
                <a:gd name="connsiteX1" fmla="*/ 557154 w 557153"/>
                <a:gd name="connsiteY1" fmla="*/ 864749 h 864749"/>
                <a:gd name="connsiteX2" fmla="*/ 0 w 557153"/>
                <a:gd name="connsiteY2" fmla="*/ 864749 h 864749"/>
                <a:gd name="connsiteX3" fmla="*/ 0 w 557153"/>
                <a:gd name="connsiteY3" fmla="*/ 158358 h 864749"/>
                <a:gd name="connsiteX4" fmla="*/ 122707 w 557153"/>
                <a:gd name="connsiteY4" fmla="*/ 4145 h 864749"/>
                <a:gd name="connsiteX5" fmla="*/ 157529 w 557153"/>
                <a:gd name="connsiteY5" fmla="*/ 0 h 864749"/>
                <a:gd name="connsiteX6" fmla="*/ 399625 w 557153"/>
                <a:gd name="connsiteY6" fmla="*/ 0 h 864749"/>
                <a:gd name="connsiteX7" fmla="*/ 434448 w 557153"/>
                <a:gd name="connsiteY7" fmla="*/ 4145 h 864749"/>
                <a:gd name="connsiteX8" fmla="*/ 557154 w 557153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3" h="864749">
                  <a:moveTo>
                    <a:pt x="557154" y="158358"/>
                  </a:moveTo>
                  <a:lnTo>
                    <a:pt x="557154" y="864749"/>
                  </a:lnTo>
                  <a:lnTo>
                    <a:pt x="0" y="864749"/>
                  </a:lnTo>
                  <a:lnTo>
                    <a:pt x="0" y="158358"/>
                  </a:lnTo>
                  <a:cubicBezTo>
                    <a:pt x="0" y="82910"/>
                    <a:pt x="52234" y="19898"/>
                    <a:pt x="122707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9625" y="0"/>
                  </a:lnTo>
                  <a:cubicBezTo>
                    <a:pt x="411233" y="0"/>
                    <a:pt x="422840" y="1658"/>
                    <a:pt x="434448" y="4145"/>
                  </a:cubicBezTo>
                  <a:cubicBezTo>
                    <a:pt x="504921" y="20727"/>
                    <a:pt x="557154" y="83739"/>
                    <a:pt x="557154" y="158358"/>
                  </a:cubicBez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51DB7691-4C72-4A37-B24E-DCB6D63BCC08}"/>
                </a:ext>
              </a:extLst>
            </p:cNvPr>
            <p:cNvSpPr/>
            <p:nvPr/>
          </p:nvSpPr>
          <p:spPr>
            <a:xfrm>
              <a:off x="8689199" y="3517214"/>
              <a:ext cx="122706" cy="1032227"/>
            </a:xfrm>
            <a:custGeom>
              <a:avLst/>
              <a:gdLst>
                <a:gd name="connsiteX0" fmla="*/ 122707 w 122706"/>
                <a:gd name="connsiteY0" fmla="*/ 0 h 1032227"/>
                <a:gd name="connsiteX1" fmla="*/ 122707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153383 h 1032227"/>
                <a:gd name="connsiteX4" fmla="*/ 122707 w 122706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7" y="0"/>
                  </a:moveTo>
                  <a:lnTo>
                    <a:pt x="122707" y="1032227"/>
                  </a:lnTo>
                  <a:lnTo>
                    <a:pt x="0" y="1032227"/>
                  </a:lnTo>
                  <a:lnTo>
                    <a:pt x="0" y="153383"/>
                  </a:lnTo>
                  <a:cubicBezTo>
                    <a:pt x="0" y="78764"/>
                    <a:pt x="53062" y="15753"/>
                    <a:pt x="122707" y="0"/>
                  </a:cubicBez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80D4C6AB-60D1-4CFA-8CEC-750F034B330F}"/>
                </a:ext>
              </a:extLst>
            </p:cNvPr>
            <p:cNvSpPr/>
            <p:nvPr/>
          </p:nvSpPr>
          <p:spPr>
            <a:xfrm>
              <a:off x="9123646" y="3517214"/>
              <a:ext cx="122705" cy="1032227"/>
            </a:xfrm>
            <a:custGeom>
              <a:avLst/>
              <a:gdLst>
                <a:gd name="connsiteX0" fmla="*/ 122706 w 122705"/>
                <a:gd name="connsiteY0" fmla="*/ 153383 h 1032227"/>
                <a:gd name="connsiteX1" fmla="*/ 122706 w 122705"/>
                <a:gd name="connsiteY1" fmla="*/ 1032227 h 1032227"/>
                <a:gd name="connsiteX2" fmla="*/ 0 w 122705"/>
                <a:gd name="connsiteY2" fmla="*/ 1032227 h 1032227"/>
                <a:gd name="connsiteX3" fmla="*/ 0 w 122705"/>
                <a:gd name="connsiteY3" fmla="*/ 0 h 1032227"/>
                <a:gd name="connsiteX4" fmla="*/ 122706 w 122705"/>
                <a:gd name="connsiteY4" fmla="*/ 153383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5" h="1032227">
                  <a:moveTo>
                    <a:pt x="122706" y="153383"/>
                  </a:moveTo>
                  <a:lnTo>
                    <a:pt x="122706" y="1032227"/>
                  </a:lnTo>
                  <a:lnTo>
                    <a:pt x="0" y="1032227"/>
                  </a:lnTo>
                  <a:lnTo>
                    <a:pt x="0" y="0"/>
                  </a:lnTo>
                  <a:cubicBezTo>
                    <a:pt x="70473" y="15753"/>
                    <a:pt x="122706" y="78764"/>
                    <a:pt x="122706" y="153383"/>
                  </a:cubicBez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AE4C980D-0DA0-4F9B-AC70-E9EC72CEF671}"/>
                </a:ext>
              </a:extLst>
            </p:cNvPr>
            <p:cNvSpPr/>
            <p:nvPr/>
          </p:nvSpPr>
          <p:spPr>
            <a:xfrm>
              <a:off x="8811906" y="3469955"/>
              <a:ext cx="311740" cy="104466"/>
            </a:xfrm>
            <a:custGeom>
              <a:avLst/>
              <a:gdLst>
                <a:gd name="connsiteX0" fmla="*/ 160844 w 311740"/>
                <a:gd name="connsiteY0" fmla="*/ 0 h 104466"/>
                <a:gd name="connsiteX1" fmla="*/ 311741 w 311740"/>
                <a:gd name="connsiteY1" fmla="*/ 47259 h 104466"/>
                <a:gd name="connsiteX2" fmla="*/ 160844 w 311740"/>
                <a:gd name="connsiteY2" fmla="*/ 104466 h 104466"/>
                <a:gd name="connsiteX3" fmla="*/ 0 w 311740"/>
                <a:gd name="connsiteY3" fmla="*/ 47259 h 10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740" h="104466">
                  <a:moveTo>
                    <a:pt x="160844" y="0"/>
                  </a:moveTo>
                  <a:lnTo>
                    <a:pt x="311741" y="47259"/>
                  </a:lnTo>
                  <a:lnTo>
                    <a:pt x="160844" y="104466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59" name="Graphic 80">
            <a:extLst>
              <a:ext uri="{FF2B5EF4-FFF2-40B4-BE49-F238E27FC236}">
                <a16:creationId xmlns:a16="http://schemas.microsoft.com/office/drawing/2014/main" id="{255E5E99-15DD-47F8-806A-DC092C827078}"/>
              </a:ext>
            </a:extLst>
          </p:cNvPr>
          <p:cNvGrpSpPr/>
          <p:nvPr/>
        </p:nvGrpSpPr>
        <p:grpSpPr>
          <a:xfrm>
            <a:off x="8297245" y="3242591"/>
            <a:ext cx="546202" cy="1250899"/>
            <a:chOff x="8471975" y="3273459"/>
            <a:chExt cx="557154" cy="1275982"/>
          </a:xfrm>
          <a:solidFill>
            <a:schemeClr val="accent1"/>
          </a:solidFill>
        </p:grpSpPr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5CDF6A2C-9F69-4726-BDE9-96D11B82403A}"/>
                </a:ext>
              </a:extLst>
            </p:cNvPr>
            <p:cNvSpPr/>
            <p:nvPr/>
          </p:nvSpPr>
          <p:spPr>
            <a:xfrm>
              <a:off x="8729824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29FB10B-0C36-442A-88A8-E98DFABAD6AA}"/>
                </a:ext>
              </a:extLst>
            </p:cNvPr>
            <p:cNvSpPr/>
            <p:nvPr/>
          </p:nvSpPr>
          <p:spPr>
            <a:xfrm>
              <a:off x="8750552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44726A-6F7D-4487-8070-D2B468E6A8E8}"/>
                </a:ext>
              </a:extLst>
            </p:cNvPr>
            <p:cNvSpPr/>
            <p:nvPr/>
          </p:nvSpPr>
          <p:spPr>
            <a:xfrm>
              <a:off x="8471975" y="3512239"/>
              <a:ext cx="557154" cy="864749"/>
            </a:xfrm>
            <a:custGeom>
              <a:avLst/>
              <a:gdLst>
                <a:gd name="connsiteX0" fmla="*/ 557154 w 557154"/>
                <a:gd name="connsiteY0" fmla="*/ 158358 h 864749"/>
                <a:gd name="connsiteX1" fmla="*/ 557154 w 557154"/>
                <a:gd name="connsiteY1" fmla="*/ 864749 h 864749"/>
                <a:gd name="connsiteX2" fmla="*/ 0 w 557154"/>
                <a:gd name="connsiteY2" fmla="*/ 864749 h 864749"/>
                <a:gd name="connsiteX3" fmla="*/ 0 w 557154"/>
                <a:gd name="connsiteY3" fmla="*/ 158358 h 864749"/>
                <a:gd name="connsiteX4" fmla="*/ 122706 w 557154"/>
                <a:gd name="connsiteY4" fmla="*/ 4145 h 864749"/>
                <a:gd name="connsiteX5" fmla="*/ 157529 w 557154"/>
                <a:gd name="connsiteY5" fmla="*/ 0 h 864749"/>
                <a:gd name="connsiteX6" fmla="*/ 399626 w 557154"/>
                <a:gd name="connsiteY6" fmla="*/ 0 h 864749"/>
                <a:gd name="connsiteX7" fmla="*/ 434447 w 557154"/>
                <a:gd name="connsiteY7" fmla="*/ 4145 h 864749"/>
                <a:gd name="connsiteX8" fmla="*/ 557154 w 557154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4" h="864749">
                  <a:moveTo>
                    <a:pt x="557154" y="158358"/>
                  </a:moveTo>
                  <a:lnTo>
                    <a:pt x="557154" y="864749"/>
                  </a:lnTo>
                  <a:lnTo>
                    <a:pt x="0" y="864749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6" y="4145"/>
                  </a:cubicBezTo>
                  <a:cubicBezTo>
                    <a:pt x="133485" y="1658"/>
                    <a:pt x="145922" y="0"/>
                    <a:pt x="157529" y="0"/>
                  </a:cubicBezTo>
                  <a:lnTo>
                    <a:pt x="399626" y="0"/>
                  </a:lnTo>
                  <a:cubicBezTo>
                    <a:pt x="411233" y="0"/>
                    <a:pt x="422841" y="1658"/>
                    <a:pt x="434447" y="4145"/>
                  </a:cubicBezTo>
                  <a:cubicBezTo>
                    <a:pt x="504921" y="20727"/>
                    <a:pt x="557154" y="83739"/>
                    <a:pt x="557154" y="158358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AB70A97-F9B6-4CF2-9335-A00F355BB300}"/>
                </a:ext>
              </a:extLst>
            </p:cNvPr>
            <p:cNvSpPr/>
            <p:nvPr/>
          </p:nvSpPr>
          <p:spPr>
            <a:xfrm>
              <a:off x="8472795" y="3517214"/>
              <a:ext cx="122715" cy="1032227"/>
            </a:xfrm>
            <a:custGeom>
              <a:avLst/>
              <a:gdLst>
                <a:gd name="connsiteX0" fmla="*/ 122716 w 122715"/>
                <a:gd name="connsiteY0" fmla="*/ 0 h 1032227"/>
                <a:gd name="connsiteX1" fmla="*/ 122716 w 122715"/>
                <a:gd name="connsiteY1" fmla="*/ 1032227 h 1032227"/>
                <a:gd name="connsiteX2" fmla="*/ 10 w 122715"/>
                <a:gd name="connsiteY2" fmla="*/ 1032227 h 1032227"/>
                <a:gd name="connsiteX3" fmla="*/ 10 w 122715"/>
                <a:gd name="connsiteY3" fmla="*/ 153383 h 1032227"/>
                <a:gd name="connsiteX4" fmla="*/ 122716 w 122715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15" h="1032227">
                  <a:moveTo>
                    <a:pt x="122716" y="0"/>
                  </a:moveTo>
                  <a:lnTo>
                    <a:pt x="122716" y="1032227"/>
                  </a:lnTo>
                  <a:lnTo>
                    <a:pt x="10" y="1032227"/>
                  </a:lnTo>
                  <a:lnTo>
                    <a:pt x="10" y="153383"/>
                  </a:lnTo>
                  <a:cubicBezTo>
                    <a:pt x="-820" y="78764"/>
                    <a:pt x="52243" y="15753"/>
                    <a:pt x="122716" y="0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E94AF878-1C8E-4022-A7F7-130600816407}"/>
                </a:ext>
              </a:extLst>
            </p:cNvPr>
            <p:cNvSpPr/>
            <p:nvPr/>
          </p:nvSpPr>
          <p:spPr>
            <a:xfrm>
              <a:off x="8906422" y="3517214"/>
              <a:ext cx="122706" cy="1032227"/>
            </a:xfrm>
            <a:custGeom>
              <a:avLst/>
              <a:gdLst>
                <a:gd name="connsiteX0" fmla="*/ 122707 w 122706"/>
                <a:gd name="connsiteY0" fmla="*/ 153383 h 1032227"/>
                <a:gd name="connsiteX1" fmla="*/ 122707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0 h 1032227"/>
                <a:gd name="connsiteX4" fmla="*/ 122707 w 122706"/>
                <a:gd name="connsiteY4" fmla="*/ 153383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7" y="153383"/>
                  </a:moveTo>
                  <a:lnTo>
                    <a:pt x="122707" y="1032227"/>
                  </a:lnTo>
                  <a:lnTo>
                    <a:pt x="0" y="1032227"/>
                  </a:lnTo>
                  <a:lnTo>
                    <a:pt x="0" y="0"/>
                  </a:lnTo>
                  <a:cubicBezTo>
                    <a:pt x="70473" y="15753"/>
                    <a:pt x="122707" y="78764"/>
                    <a:pt x="122707" y="153383"/>
                  </a:cubicBezTo>
                  <a:close/>
                </a:path>
              </a:pathLst>
            </a:custGeom>
            <a:solidFill>
              <a:srgbClr val="EF9B2B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3CA0A996-6FCC-48D2-AA96-2B8A3C140A0C}"/>
                </a:ext>
              </a:extLst>
            </p:cNvPr>
            <p:cNvSpPr/>
            <p:nvPr/>
          </p:nvSpPr>
          <p:spPr>
            <a:xfrm>
              <a:off x="8595510" y="3469955"/>
              <a:ext cx="310911" cy="104466"/>
            </a:xfrm>
            <a:custGeom>
              <a:avLst/>
              <a:gdLst>
                <a:gd name="connsiteX0" fmla="*/ 160016 w 310911"/>
                <a:gd name="connsiteY0" fmla="*/ 0 h 104466"/>
                <a:gd name="connsiteX1" fmla="*/ 310912 w 310911"/>
                <a:gd name="connsiteY1" fmla="*/ 47259 h 104466"/>
                <a:gd name="connsiteX2" fmla="*/ 160016 w 310911"/>
                <a:gd name="connsiteY2" fmla="*/ 104466 h 104466"/>
                <a:gd name="connsiteX3" fmla="*/ 0 w 310911"/>
                <a:gd name="connsiteY3" fmla="*/ 47259 h 10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4466">
                  <a:moveTo>
                    <a:pt x="160016" y="0"/>
                  </a:moveTo>
                  <a:lnTo>
                    <a:pt x="310912" y="47259"/>
                  </a:lnTo>
                  <a:lnTo>
                    <a:pt x="160016" y="104466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0" name="Graphic 80">
            <a:extLst>
              <a:ext uri="{FF2B5EF4-FFF2-40B4-BE49-F238E27FC236}">
                <a16:creationId xmlns:a16="http://schemas.microsoft.com/office/drawing/2014/main" id="{E54CB658-4ABE-4690-9771-61F103D44D52}"/>
              </a:ext>
            </a:extLst>
          </p:cNvPr>
          <p:cNvGrpSpPr/>
          <p:nvPr/>
        </p:nvGrpSpPr>
        <p:grpSpPr>
          <a:xfrm>
            <a:off x="8048368" y="3238118"/>
            <a:ext cx="546201" cy="1251712"/>
            <a:chOff x="8211638" y="3273459"/>
            <a:chExt cx="557153" cy="1276811"/>
          </a:xfrm>
          <a:solidFill>
            <a:schemeClr val="accent2"/>
          </a:solidFill>
        </p:grpSpPr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08F1A69A-C78E-49E8-B149-13C467B067AA}"/>
                </a:ext>
              </a:extLst>
            </p:cNvPr>
            <p:cNvSpPr/>
            <p:nvPr/>
          </p:nvSpPr>
          <p:spPr>
            <a:xfrm>
              <a:off x="8468659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5F1C23E5-12F3-4A43-8F37-DD8F6520B164}"/>
                </a:ext>
              </a:extLst>
            </p:cNvPr>
            <p:cNvSpPr/>
            <p:nvPr/>
          </p:nvSpPr>
          <p:spPr>
            <a:xfrm>
              <a:off x="8490215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EDA539C5-641A-4D86-8DD2-D11250DA43E8}"/>
                </a:ext>
              </a:extLst>
            </p:cNvPr>
            <p:cNvSpPr/>
            <p:nvPr/>
          </p:nvSpPr>
          <p:spPr>
            <a:xfrm>
              <a:off x="8211638" y="3513068"/>
              <a:ext cx="557153" cy="864749"/>
            </a:xfrm>
            <a:custGeom>
              <a:avLst/>
              <a:gdLst>
                <a:gd name="connsiteX0" fmla="*/ 557154 w 557153"/>
                <a:gd name="connsiteY0" fmla="*/ 158358 h 864749"/>
                <a:gd name="connsiteX1" fmla="*/ 557154 w 557153"/>
                <a:gd name="connsiteY1" fmla="*/ 864750 h 864749"/>
                <a:gd name="connsiteX2" fmla="*/ 0 w 557153"/>
                <a:gd name="connsiteY2" fmla="*/ 864750 h 864749"/>
                <a:gd name="connsiteX3" fmla="*/ 0 w 557153"/>
                <a:gd name="connsiteY3" fmla="*/ 158358 h 864749"/>
                <a:gd name="connsiteX4" fmla="*/ 122706 w 557153"/>
                <a:gd name="connsiteY4" fmla="*/ 4145 h 864749"/>
                <a:gd name="connsiteX5" fmla="*/ 157529 w 557153"/>
                <a:gd name="connsiteY5" fmla="*/ 0 h 864749"/>
                <a:gd name="connsiteX6" fmla="*/ 398796 w 557153"/>
                <a:gd name="connsiteY6" fmla="*/ 0 h 864749"/>
                <a:gd name="connsiteX7" fmla="*/ 433618 w 557153"/>
                <a:gd name="connsiteY7" fmla="*/ 4145 h 864749"/>
                <a:gd name="connsiteX8" fmla="*/ 557154 w 557153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3" h="864749">
                  <a:moveTo>
                    <a:pt x="557154" y="158358"/>
                  </a:moveTo>
                  <a:lnTo>
                    <a:pt x="557154" y="864750"/>
                  </a:lnTo>
                  <a:lnTo>
                    <a:pt x="0" y="864750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6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1" y="1658"/>
                    <a:pt x="433618" y="4145"/>
                  </a:cubicBezTo>
                  <a:cubicBezTo>
                    <a:pt x="504091" y="19898"/>
                    <a:pt x="557154" y="82910"/>
                    <a:pt x="557154" y="158358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B8912A7-578F-41B2-9B68-6806E03C8317}"/>
                </a:ext>
              </a:extLst>
            </p:cNvPr>
            <p:cNvSpPr/>
            <p:nvPr/>
          </p:nvSpPr>
          <p:spPr>
            <a:xfrm>
              <a:off x="8211638" y="3517214"/>
              <a:ext cx="122706" cy="1032227"/>
            </a:xfrm>
            <a:custGeom>
              <a:avLst/>
              <a:gdLst>
                <a:gd name="connsiteX0" fmla="*/ 122706 w 122706"/>
                <a:gd name="connsiteY0" fmla="*/ 0 h 1032227"/>
                <a:gd name="connsiteX1" fmla="*/ 122706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153383 h 1032227"/>
                <a:gd name="connsiteX4" fmla="*/ 122706 w 122706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6" y="0"/>
                  </a:moveTo>
                  <a:lnTo>
                    <a:pt x="122706" y="1032227"/>
                  </a:lnTo>
                  <a:lnTo>
                    <a:pt x="0" y="1032227"/>
                  </a:lnTo>
                  <a:lnTo>
                    <a:pt x="0" y="153383"/>
                  </a:lnTo>
                  <a:cubicBezTo>
                    <a:pt x="0" y="78764"/>
                    <a:pt x="52233" y="15753"/>
                    <a:pt x="122706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082D151-E2BC-4501-8FD1-B5C55B30CB78}"/>
                </a:ext>
              </a:extLst>
            </p:cNvPr>
            <p:cNvSpPr/>
            <p:nvPr/>
          </p:nvSpPr>
          <p:spPr>
            <a:xfrm>
              <a:off x="8646086" y="3517214"/>
              <a:ext cx="122705" cy="1033056"/>
            </a:xfrm>
            <a:custGeom>
              <a:avLst/>
              <a:gdLst>
                <a:gd name="connsiteX0" fmla="*/ 122706 w 122705"/>
                <a:gd name="connsiteY0" fmla="*/ 154212 h 1033056"/>
                <a:gd name="connsiteX1" fmla="*/ 122706 w 122705"/>
                <a:gd name="connsiteY1" fmla="*/ 1033057 h 1033056"/>
                <a:gd name="connsiteX2" fmla="*/ 0 w 122705"/>
                <a:gd name="connsiteY2" fmla="*/ 1033057 h 1033056"/>
                <a:gd name="connsiteX3" fmla="*/ 0 w 122705"/>
                <a:gd name="connsiteY3" fmla="*/ 0 h 1033056"/>
                <a:gd name="connsiteX4" fmla="*/ 122706 w 122705"/>
                <a:gd name="connsiteY4" fmla="*/ 154212 h 103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5" h="1033056">
                  <a:moveTo>
                    <a:pt x="122706" y="154212"/>
                  </a:moveTo>
                  <a:lnTo>
                    <a:pt x="122706" y="1033057"/>
                  </a:lnTo>
                  <a:lnTo>
                    <a:pt x="0" y="1033057"/>
                  </a:lnTo>
                  <a:lnTo>
                    <a:pt x="0" y="0"/>
                  </a:lnTo>
                  <a:cubicBezTo>
                    <a:pt x="69643" y="15753"/>
                    <a:pt x="122706" y="78764"/>
                    <a:pt x="122706" y="154212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44FEBE77-46D3-45D8-BD9C-380BB2C28B15}"/>
                </a:ext>
              </a:extLst>
            </p:cNvPr>
            <p:cNvSpPr/>
            <p:nvPr/>
          </p:nvSpPr>
          <p:spPr>
            <a:xfrm>
              <a:off x="8334345" y="3469955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1 w 310911"/>
                <a:gd name="connsiteY1" fmla="*/ 47259 h 105295"/>
                <a:gd name="connsiteX2" fmla="*/ 160016 w 310911"/>
                <a:gd name="connsiteY2" fmla="*/ 105296 h 105295"/>
                <a:gd name="connsiteX3" fmla="*/ 0 w 310911"/>
                <a:gd name="connsiteY3" fmla="*/ 47259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1" y="47259"/>
                  </a:lnTo>
                  <a:lnTo>
                    <a:pt x="160016" y="105296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1" name="Graphic 80">
            <a:extLst>
              <a:ext uri="{FF2B5EF4-FFF2-40B4-BE49-F238E27FC236}">
                <a16:creationId xmlns:a16="http://schemas.microsoft.com/office/drawing/2014/main" id="{4FE69660-8EB3-400F-B214-0266D4DBE818}"/>
              </a:ext>
            </a:extLst>
          </p:cNvPr>
          <p:cNvGrpSpPr/>
          <p:nvPr/>
        </p:nvGrpSpPr>
        <p:grpSpPr>
          <a:xfrm>
            <a:off x="7889219" y="3242591"/>
            <a:ext cx="546202" cy="1250899"/>
            <a:chOff x="8055767" y="3273459"/>
            <a:chExt cx="557154" cy="1275982"/>
          </a:xfrm>
          <a:solidFill>
            <a:srgbClr val="7F220F"/>
          </a:solidFill>
        </p:grpSpPr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3F9C138E-1EAD-468B-ABAE-77B8000E91A1}"/>
                </a:ext>
              </a:extLst>
            </p:cNvPr>
            <p:cNvSpPr/>
            <p:nvPr/>
          </p:nvSpPr>
          <p:spPr>
            <a:xfrm>
              <a:off x="8313617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98E08361-58E7-4604-A285-C087C8537DC3}"/>
                </a:ext>
              </a:extLst>
            </p:cNvPr>
            <p:cNvSpPr/>
            <p:nvPr/>
          </p:nvSpPr>
          <p:spPr>
            <a:xfrm>
              <a:off x="8334345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9716AB5F-B1A9-47EB-847C-7B9E00598113}"/>
                </a:ext>
              </a:extLst>
            </p:cNvPr>
            <p:cNvSpPr/>
            <p:nvPr/>
          </p:nvSpPr>
          <p:spPr>
            <a:xfrm>
              <a:off x="8055767" y="3512239"/>
              <a:ext cx="557154" cy="864749"/>
            </a:xfrm>
            <a:custGeom>
              <a:avLst/>
              <a:gdLst>
                <a:gd name="connsiteX0" fmla="*/ 557155 w 557154"/>
                <a:gd name="connsiteY0" fmla="*/ 158358 h 864749"/>
                <a:gd name="connsiteX1" fmla="*/ 557155 w 557154"/>
                <a:gd name="connsiteY1" fmla="*/ 864749 h 864749"/>
                <a:gd name="connsiteX2" fmla="*/ 0 w 557154"/>
                <a:gd name="connsiteY2" fmla="*/ 864749 h 864749"/>
                <a:gd name="connsiteX3" fmla="*/ 0 w 557154"/>
                <a:gd name="connsiteY3" fmla="*/ 158358 h 864749"/>
                <a:gd name="connsiteX4" fmla="*/ 122707 w 557154"/>
                <a:gd name="connsiteY4" fmla="*/ 4145 h 864749"/>
                <a:gd name="connsiteX5" fmla="*/ 157529 w 557154"/>
                <a:gd name="connsiteY5" fmla="*/ 0 h 864749"/>
                <a:gd name="connsiteX6" fmla="*/ 399626 w 557154"/>
                <a:gd name="connsiteY6" fmla="*/ 0 h 864749"/>
                <a:gd name="connsiteX7" fmla="*/ 434448 w 557154"/>
                <a:gd name="connsiteY7" fmla="*/ 4145 h 864749"/>
                <a:gd name="connsiteX8" fmla="*/ 557155 w 557154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4" h="864749">
                  <a:moveTo>
                    <a:pt x="557155" y="158358"/>
                  </a:moveTo>
                  <a:lnTo>
                    <a:pt x="557155" y="864749"/>
                  </a:lnTo>
                  <a:lnTo>
                    <a:pt x="0" y="864749"/>
                  </a:lnTo>
                  <a:lnTo>
                    <a:pt x="0" y="158358"/>
                  </a:lnTo>
                  <a:cubicBezTo>
                    <a:pt x="0" y="82910"/>
                    <a:pt x="52234" y="19898"/>
                    <a:pt x="122707" y="4145"/>
                  </a:cubicBezTo>
                  <a:cubicBezTo>
                    <a:pt x="133485" y="1658"/>
                    <a:pt x="145922" y="0"/>
                    <a:pt x="157529" y="0"/>
                  </a:cubicBezTo>
                  <a:lnTo>
                    <a:pt x="399626" y="0"/>
                  </a:lnTo>
                  <a:cubicBezTo>
                    <a:pt x="411233" y="0"/>
                    <a:pt x="422840" y="1658"/>
                    <a:pt x="434448" y="4145"/>
                  </a:cubicBezTo>
                  <a:cubicBezTo>
                    <a:pt x="504921" y="20727"/>
                    <a:pt x="557155" y="83739"/>
                    <a:pt x="557155" y="158358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A7ABDD07-06A2-409B-97CB-8041EF0EDF98}"/>
                </a:ext>
              </a:extLst>
            </p:cNvPr>
            <p:cNvSpPr/>
            <p:nvPr/>
          </p:nvSpPr>
          <p:spPr>
            <a:xfrm>
              <a:off x="8055767" y="3517214"/>
              <a:ext cx="122706" cy="1032227"/>
            </a:xfrm>
            <a:custGeom>
              <a:avLst/>
              <a:gdLst>
                <a:gd name="connsiteX0" fmla="*/ 122707 w 122706"/>
                <a:gd name="connsiteY0" fmla="*/ 0 h 1032227"/>
                <a:gd name="connsiteX1" fmla="*/ 122707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153383 h 1032227"/>
                <a:gd name="connsiteX4" fmla="*/ 122707 w 122706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7" y="0"/>
                  </a:moveTo>
                  <a:lnTo>
                    <a:pt x="122707" y="1032227"/>
                  </a:lnTo>
                  <a:lnTo>
                    <a:pt x="0" y="1032227"/>
                  </a:lnTo>
                  <a:lnTo>
                    <a:pt x="0" y="153383"/>
                  </a:lnTo>
                  <a:cubicBezTo>
                    <a:pt x="0" y="78764"/>
                    <a:pt x="52234" y="15753"/>
                    <a:pt x="122707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6D61C393-15EC-45EF-9060-408BFFA7E5CC}"/>
                </a:ext>
              </a:extLst>
            </p:cNvPr>
            <p:cNvSpPr/>
            <p:nvPr/>
          </p:nvSpPr>
          <p:spPr>
            <a:xfrm>
              <a:off x="8490215" y="3517214"/>
              <a:ext cx="122706" cy="1032227"/>
            </a:xfrm>
            <a:custGeom>
              <a:avLst/>
              <a:gdLst>
                <a:gd name="connsiteX0" fmla="*/ 122707 w 122706"/>
                <a:gd name="connsiteY0" fmla="*/ 153383 h 1032227"/>
                <a:gd name="connsiteX1" fmla="*/ 122707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0 h 1032227"/>
                <a:gd name="connsiteX4" fmla="*/ 122707 w 122706"/>
                <a:gd name="connsiteY4" fmla="*/ 153383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7" y="153383"/>
                  </a:moveTo>
                  <a:lnTo>
                    <a:pt x="122707" y="1032227"/>
                  </a:lnTo>
                  <a:lnTo>
                    <a:pt x="0" y="1032227"/>
                  </a:lnTo>
                  <a:lnTo>
                    <a:pt x="0" y="0"/>
                  </a:lnTo>
                  <a:cubicBezTo>
                    <a:pt x="70473" y="15753"/>
                    <a:pt x="122707" y="78764"/>
                    <a:pt x="122707" y="153383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8E95B2EE-63FC-4405-81E3-279D1A5B51AC}"/>
                </a:ext>
              </a:extLst>
            </p:cNvPr>
            <p:cNvSpPr/>
            <p:nvPr/>
          </p:nvSpPr>
          <p:spPr>
            <a:xfrm>
              <a:off x="8178474" y="3469955"/>
              <a:ext cx="311740" cy="104466"/>
            </a:xfrm>
            <a:custGeom>
              <a:avLst/>
              <a:gdLst>
                <a:gd name="connsiteX0" fmla="*/ 160845 w 311740"/>
                <a:gd name="connsiteY0" fmla="*/ 0 h 104466"/>
                <a:gd name="connsiteX1" fmla="*/ 311741 w 311740"/>
                <a:gd name="connsiteY1" fmla="*/ 47259 h 104466"/>
                <a:gd name="connsiteX2" fmla="*/ 160845 w 311740"/>
                <a:gd name="connsiteY2" fmla="*/ 104466 h 104466"/>
                <a:gd name="connsiteX3" fmla="*/ 0 w 311740"/>
                <a:gd name="connsiteY3" fmla="*/ 47259 h 10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740" h="104466">
                  <a:moveTo>
                    <a:pt x="160845" y="0"/>
                  </a:moveTo>
                  <a:lnTo>
                    <a:pt x="311741" y="47259"/>
                  </a:lnTo>
                  <a:lnTo>
                    <a:pt x="160845" y="104466"/>
                  </a:lnTo>
                  <a:lnTo>
                    <a:pt x="0" y="47259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2" name="Graphic 80">
            <a:extLst>
              <a:ext uri="{FF2B5EF4-FFF2-40B4-BE49-F238E27FC236}">
                <a16:creationId xmlns:a16="http://schemas.microsoft.com/office/drawing/2014/main" id="{B4AC3154-693E-405F-B637-EECE173B0496}"/>
              </a:ext>
            </a:extLst>
          </p:cNvPr>
          <p:cNvGrpSpPr/>
          <p:nvPr/>
        </p:nvGrpSpPr>
        <p:grpSpPr>
          <a:xfrm>
            <a:off x="113975" y="3483992"/>
            <a:ext cx="546202" cy="1082649"/>
            <a:chOff x="124613" y="3519701"/>
            <a:chExt cx="557154" cy="1104358"/>
          </a:xfrm>
          <a:solidFill>
            <a:schemeClr val="tx1"/>
          </a:solidFill>
        </p:grpSpPr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E12D5845-5F77-41FA-8EF1-2DF6425E2348}"/>
                </a:ext>
              </a:extLst>
            </p:cNvPr>
            <p:cNvSpPr/>
            <p:nvPr/>
          </p:nvSpPr>
          <p:spPr>
            <a:xfrm>
              <a:off x="382462" y="3672255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619E2BEA-0032-4A4F-AB86-870E9F54C8FB}"/>
                </a:ext>
              </a:extLst>
            </p:cNvPr>
            <p:cNvSpPr/>
            <p:nvPr/>
          </p:nvSpPr>
          <p:spPr>
            <a:xfrm>
              <a:off x="403190" y="3519701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8127FEF2-F8C4-4B2B-957B-97375B9419A7}"/>
                </a:ext>
              </a:extLst>
            </p:cNvPr>
            <p:cNvSpPr/>
            <p:nvPr/>
          </p:nvSpPr>
          <p:spPr>
            <a:xfrm>
              <a:off x="124613" y="3758481"/>
              <a:ext cx="557154" cy="865578"/>
            </a:xfrm>
            <a:custGeom>
              <a:avLst/>
              <a:gdLst>
                <a:gd name="connsiteX0" fmla="*/ 557154 w 557154"/>
                <a:gd name="connsiteY0" fmla="*/ 159187 h 865578"/>
                <a:gd name="connsiteX1" fmla="*/ 557154 w 557154"/>
                <a:gd name="connsiteY1" fmla="*/ 392163 h 865578"/>
                <a:gd name="connsiteX2" fmla="*/ 485852 w 557154"/>
                <a:gd name="connsiteY2" fmla="*/ 392163 h 865578"/>
                <a:gd name="connsiteX3" fmla="*/ 485852 w 557154"/>
                <a:gd name="connsiteY3" fmla="*/ 865578 h 865578"/>
                <a:gd name="connsiteX4" fmla="*/ 71302 w 557154"/>
                <a:gd name="connsiteY4" fmla="*/ 865578 h 865578"/>
                <a:gd name="connsiteX5" fmla="*/ 71302 w 557154"/>
                <a:gd name="connsiteY5" fmla="*/ 392163 h 865578"/>
                <a:gd name="connsiteX6" fmla="*/ 0 w 557154"/>
                <a:gd name="connsiteY6" fmla="*/ 392163 h 865578"/>
                <a:gd name="connsiteX7" fmla="*/ 0 w 557154"/>
                <a:gd name="connsiteY7" fmla="*/ 158358 h 865578"/>
                <a:gd name="connsiteX8" fmla="*/ 122707 w 557154"/>
                <a:gd name="connsiteY8" fmla="*/ 4145 h 865578"/>
                <a:gd name="connsiteX9" fmla="*/ 157529 w 557154"/>
                <a:gd name="connsiteY9" fmla="*/ 0 h 865578"/>
                <a:gd name="connsiteX10" fmla="*/ 398796 w 557154"/>
                <a:gd name="connsiteY10" fmla="*/ 0 h 865578"/>
                <a:gd name="connsiteX11" fmla="*/ 433618 w 557154"/>
                <a:gd name="connsiteY11" fmla="*/ 4145 h 865578"/>
                <a:gd name="connsiteX12" fmla="*/ 557154 w 557154"/>
                <a:gd name="connsiteY12" fmla="*/ 159187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7154" h="865578">
                  <a:moveTo>
                    <a:pt x="557154" y="159187"/>
                  </a:moveTo>
                  <a:lnTo>
                    <a:pt x="557154" y="392163"/>
                  </a:lnTo>
                  <a:lnTo>
                    <a:pt x="485852" y="392163"/>
                  </a:lnTo>
                  <a:lnTo>
                    <a:pt x="485852" y="865578"/>
                  </a:lnTo>
                  <a:lnTo>
                    <a:pt x="71302" y="865578"/>
                  </a:lnTo>
                  <a:lnTo>
                    <a:pt x="71302" y="392163"/>
                  </a:lnTo>
                  <a:lnTo>
                    <a:pt x="0" y="392163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7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1" y="1658"/>
                    <a:pt x="433618" y="4145"/>
                  </a:cubicBezTo>
                  <a:cubicBezTo>
                    <a:pt x="504921" y="20727"/>
                    <a:pt x="557154" y="83739"/>
                    <a:pt x="557154" y="159187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AC7790FC-871F-4D45-B1A6-EDE6481F3AD5}"/>
                </a:ext>
              </a:extLst>
            </p:cNvPr>
            <p:cNvSpPr/>
            <p:nvPr/>
          </p:nvSpPr>
          <p:spPr>
            <a:xfrm>
              <a:off x="248149" y="3716197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7258 h 105295"/>
                <a:gd name="connsiteX2" fmla="*/ 160016 w 310911"/>
                <a:gd name="connsiteY2" fmla="*/ 105295 h 105295"/>
                <a:gd name="connsiteX3" fmla="*/ 0 w 310911"/>
                <a:gd name="connsiteY3" fmla="*/ 4725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7258"/>
                  </a:lnTo>
                  <a:lnTo>
                    <a:pt x="160016" y="105295"/>
                  </a:lnTo>
                  <a:lnTo>
                    <a:pt x="0" y="47258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3" name="Graphic 80">
            <a:extLst>
              <a:ext uri="{FF2B5EF4-FFF2-40B4-BE49-F238E27FC236}">
                <a16:creationId xmlns:a16="http://schemas.microsoft.com/office/drawing/2014/main" id="{7847669B-13E7-4030-A95D-1651FCF38D75}"/>
              </a:ext>
            </a:extLst>
          </p:cNvPr>
          <p:cNvGrpSpPr/>
          <p:nvPr/>
        </p:nvGrpSpPr>
        <p:grpSpPr>
          <a:xfrm>
            <a:off x="7719499" y="3245024"/>
            <a:ext cx="546202" cy="1251712"/>
            <a:chOff x="7887460" y="3273459"/>
            <a:chExt cx="557154" cy="1276811"/>
          </a:xfrm>
          <a:solidFill>
            <a:srgbClr val="715356"/>
          </a:solidFill>
        </p:grpSpPr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065AC7D3-95BE-4926-9161-0233C56B6060}"/>
                </a:ext>
              </a:extLst>
            </p:cNvPr>
            <p:cNvSpPr/>
            <p:nvPr/>
          </p:nvSpPr>
          <p:spPr>
            <a:xfrm>
              <a:off x="8145310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75770944-B0FF-4765-B534-244DD8742F0E}"/>
                </a:ext>
              </a:extLst>
            </p:cNvPr>
            <p:cNvSpPr/>
            <p:nvPr/>
          </p:nvSpPr>
          <p:spPr>
            <a:xfrm>
              <a:off x="8166038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3C386B05-F6E1-4861-8DAF-FE1A4FB185B6}"/>
                </a:ext>
              </a:extLst>
            </p:cNvPr>
            <p:cNvSpPr/>
            <p:nvPr/>
          </p:nvSpPr>
          <p:spPr>
            <a:xfrm>
              <a:off x="7887460" y="3513068"/>
              <a:ext cx="557154" cy="864749"/>
            </a:xfrm>
            <a:custGeom>
              <a:avLst/>
              <a:gdLst>
                <a:gd name="connsiteX0" fmla="*/ 557154 w 557154"/>
                <a:gd name="connsiteY0" fmla="*/ 158358 h 864749"/>
                <a:gd name="connsiteX1" fmla="*/ 557154 w 557154"/>
                <a:gd name="connsiteY1" fmla="*/ 864750 h 864749"/>
                <a:gd name="connsiteX2" fmla="*/ 0 w 557154"/>
                <a:gd name="connsiteY2" fmla="*/ 864750 h 864749"/>
                <a:gd name="connsiteX3" fmla="*/ 0 w 557154"/>
                <a:gd name="connsiteY3" fmla="*/ 158358 h 864749"/>
                <a:gd name="connsiteX4" fmla="*/ 122706 w 557154"/>
                <a:gd name="connsiteY4" fmla="*/ 4145 h 864749"/>
                <a:gd name="connsiteX5" fmla="*/ 157529 w 557154"/>
                <a:gd name="connsiteY5" fmla="*/ 0 h 864749"/>
                <a:gd name="connsiteX6" fmla="*/ 399626 w 557154"/>
                <a:gd name="connsiteY6" fmla="*/ 0 h 864749"/>
                <a:gd name="connsiteX7" fmla="*/ 434448 w 557154"/>
                <a:gd name="connsiteY7" fmla="*/ 4145 h 864749"/>
                <a:gd name="connsiteX8" fmla="*/ 557154 w 557154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4" h="864749">
                  <a:moveTo>
                    <a:pt x="557154" y="158358"/>
                  </a:moveTo>
                  <a:lnTo>
                    <a:pt x="557154" y="864750"/>
                  </a:lnTo>
                  <a:lnTo>
                    <a:pt x="0" y="864750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6" y="4145"/>
                  </a:cubicBezTo>
                  <a:cubicBezTo>
                    <a:pt x="133485" y="1658"/>
                    <a:pt x="145922" y="0"/>
                    <a:pt x="157529" y="0"/>
                  </a:cubicBezTo>
                  <a:lnTo>
                    <a:pt x="399626" y="0"/>
                  </a:lnTo>
                  <a:cubicBezTo>
                    <a:pt x="411233" y="0"/>
                    <a:pt x="422840" y="1658"/>
                    <a:pt x="434448" y="4145"/>
                  </a:cubicBezTo>
                  <a:cubicBezTo>
                    <a:pt x="504921" y="19898"/>
                    <a:pt x="557154" y="82910"/>
                    <a:pt x="557154" y="158358"/>
                  </a:cubicBezTo>
                  <a:close/>
                </a:path>
              </a:pathLst>
            </a:custGeom>
            <a:solidFill>
              <a:schemeClr val="accent3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036D625D-79E3-4651-9644-127620577A57}"/>
                </a:ext>
              </a:extLst>
            </p:cNvPr>
            <p:cNvSpPr/>
            <p:nvPr/>
          </p:nvSpPr>
          <p:spPr>
            <a:xfrm>
              <a:off x="7887460" y="3517214"/>
              <a:ext cx="122706" cy="1032227"/>
            </a:xfrm>
            <a:custGeom>
              <a:avLst/>
              <a:gdLst>
                <a:gd name="connsiteX0" fmla="*/ 122706 w 122706"/>
                <a:gd name="connsiteY0" fmla="*/ 0 h 1032227"/>
                <a:gd name="connsiteX1" fmla="*/ 122706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153383 h 1032227"/>
                <a:gd name="connsiteX4" fmla="*/ 122706 w 122706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6" y="0"/>
                  </a:moveTo>
                  <a:lnTo>
                    <a:pt x="122706" y="1032227"/>
                  </a:lnTo>
                  <a:lnTo>
                    <a:pt x="0" y="1032227"/>
                  </a:lnTo>
                  <a:lnTo>
                    <a:pt x="0" y="153383"/>
                  </a:lnTo>
                  <a:cubicBezTo>
                    <a:pt x="0" y="78764"/>
                    <a:pt x="53062" y="15753"/>
                    <a:pt x="122706" y="0"/>
                  </a:cubicBezTo>
                  <a:close/>
                </a:path>
              </a:pathLst>
            </a:custGeom>
            <a:solidFill>
              <a:schemeClr val="accent3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29225078-E256-4787-B3F2-3F315A272DC3}"/>
                </a:ext>
              </a:extLst>
            </p:cNvPr>
            <p:cNvSpPr/>
            <p:nvPr/>
          </p:nvSpPr>
          <p:spPr>
            <a:xfrm>
              <a:off x="8321908" y="3517214"/>
              <a:ext cx="122706" cy="1033056"/>
            </a:xfrm>
            <a:custGeom>
              <a:avLst/>
              <a:gdLst>
                <a:gd name="connsiteX0" fmla="*/ 122706 w 122706"/>
                <a:gd name="connsiteY0" fmla="*/ 154212 h 1033056"/>
                <a:gd name="connsiteX1" fmla="*/ 122706 w 122706"/>
                <a:gd name="connsiteY1" fmla="*/ 1033057 h 1033056"/>
                <a:gd name="connsiteX2" fmla="*/ 0 w 122706"/>
                <a:gd name="connsiteY2" fmla="*/ 1033057 h 1033056"/>
                <a:gd name="connsiteX3" fmla="*/ 0 w 122706"/>
                <a:gd name="connsiteY3" fmla="*/ 0 h 1033056"/>
                <a:gd name="connsiteX4" fmla="*/ 122706 w 122706"/>
                <a:gd name="connsiteY4" fmla="*/ 154212 h 103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3056">
                  <a:moveTo>
                    <a:pt x="122706" y="154212"/>
                  </a:moveTo>
                  <a:lnTo>
                    <a:pt x="122706" y="1033057"/>
                  </a:lnTo>
                  <a:lnTo>
                    <a:pt x="0" y="1033057"/>
                  </a:lnTo>
                  <a:lnTo>
                    <a:pt x="0" y="0"/>
                  </a:lnTo>
                  <a:cubicBezTo>
                    <a:pt x="70473" y="15753"/>
                    <a:pt x="122706" y="78764"/>
                    <a:pt x="122706" y="154212"/>
                  </a:cubicBezTo>
                  <a:close/>
                </a:path>
              </a:pathLst>
            </a:custGeom>
            <a:solidFill>
              <a:schemeClr val="accent3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AD73C766-4671-4F26-B51C-2C7A740B43FB}"/>
                </a:ext>
              </a:extLst>
            </p:cNvPr>
            <p:cNvSpPr/>
            <p:nvPr/>
          </p:nvSpPr>
          <p:spPr>
            <a:xfrm>
              <a:off x="8010167" y="3469955"/>
              <a:ext cx="311741" cy="105295"/>
            </a:xfrm>
            <a:custGeom>
              <a:avLst/>
              <a:gdLst>
                <a:gd name="connsiteX0" fmla="*/ 160845 w 311741"/>
                <a:gd name="connsiteY0" fmla="*/ 0 h 105295"/>
                <a:gd name="connsiteX1" fmla="*/ 311741 w 311741"/>
                <a:gd name="connsiteY1" fmla="*/ 47259 h 105295"/>
                <a:gd name="connsiteX2" fmla="*/ 160845 w 311741"/>
                <a:gd name="connsiteY2" fmla="*/ 105296 h 105295"/>
                <a:gd name="connsiteX3" fmla="*/ 0 w 311741"/>
                <a:gd name="connsiteY3" fmla="*/ 47259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741" h="105295">
                  <a:moveTo>
                    <a:pt x="160845" y="0"/>
                  </a:moveTo>
                  <a:lnTo>
                    <a:pt x="311741" y="47259"/>
                  </a:lnTo>
                  <a:lnTo>
                    <a:pt x="160845" y="105296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tx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4" name="Graphic 80">
            <a:extLst>
              <a:ext uri="{FF2B5EF4-FFF2-40B4-BE49-F238E27FC236}">
                <a16:creationId xmlns:a16="http://schemas.microsoft.com/office/drawing/2014/main" id="{8165E00D-4C41-4388-A5AF-F1DC558491B2}"/>
              </a:ext>
            </a:extLst>
          </p:cNvPr>
          <p:cNvGrpSpPr/>
          <p:nvPr/>
        </p:nvGrpSpPr>
        <p:grpSpPr>
          <a:xfrm>
            <a:off x="184688" y="3483992"/>
            <a:ext cx="546202" cy="1082649"/>
            <a:chOff x="196744" y="3519701"/>
            <a:chExt cx="557154" cy="1104358"/>
          </a:xfrm>
          <a:solidFill>
            <a:schemeClr val="accent1">
              <a:lumMod val="25000"/>
            </a:schemeClr>
          </a:solidFill>
        </p:grpSpPr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791AD32D-2D1B-47AF-A1C7-2DE5F40B7F55}"/>
                </a:ext>
              </a:extLst>
            </p:cNvPr>
            <p:cNvSpPr/>
            <p:nvPr/>
          </p:nvSpPr>
          <p:spPr>
            <a:xfrm>
              <a:off x="454594" y="3672255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ABB76DD5-706D-4247-9715-5384807F076C}"/>
                </a:ext>
              </a:extLst>
            </p:cNvPr>
            <p:cNvSpPr/>
            <p:nvPr/>
          </p:nvSpPr>
          <p:spPr>
            <a:xfrm>
              <a:off x="475321" y="3519701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C2882054-E679-497A-AF35-C0D92CE73CFC}"/>
                </a:ext>
              </a:extLst>
            </p:cNvPr>
            <p:cNvSpPr/>
            <p:nvPr/>
          </p:nvSpPr>
          <p:spPr>
            <a:xfrm>
              <a:off x="196744" y="3758481"/>
              <a:ext cx="557154" cy="865578"/>
            </a:xfrm>
            <a:custGeom>
              <a:avLst/>
              <a:gdLst>
                <a:gd name="connsiteX0" fmla="*/ 557154 w 557154"/>
                <a:gd name="connsiteY0" fmla="*/ 159187 h 865578"/>
                <a:gd name="connsiteX1" fmla="*/ 557154 w 557154"/>
                <a:gd name="connsiteY1" fmla="*/ 392163 h 865578"/>
                <a:gd name="connsiteX2" fmla="*/ 485852 w 557154"/>
                <a:gd name="connsiteY2" fmla="*/ 392163 h 865578"/>
                <a:gd name="connsiteX3" fmla="*/ 485852 w 557154"/>
                <a:gd name="connsiteY3" fmla="*/ 865578 h 865578"/>
                <a:gd name="connsiteX4" fmla="*/ 71302 w 557154"/>
                <a:gd name="connsiteY4" fmla="*/ 865578 h 865578"/>
                <a:gd name="connsiteX5" fmla="*/ 71302 w 557154"/>
                <a:gd name="connsiteY5" fmla="*/ 392163 h 865578"/>
                <a:gd name="connsiteX6" fmla="*/ 0 w 557154"/>
                <a:gd name="connsiteY6" fmla="*/ 392163 h 865578"/>
                <a:gd name="connsiteX7" fmla="*/ 0 w 557154"/>
                <a:gd name="connsiteY7" fmla="*/ 158358 h 865578"/>
                <a:gd name="connsiteX8" fmla="*/ 122707 w 557154"/>
                <a:gd name="connsiteY8" fmla="*/ 4145 h 865578"/>
                <a:gd name="connsiteX9" fmla="*/ 157529 w 557154"/>
                <a:gd name="connsiteY9" fmla="*/ 0 h 865578"/>
                <a:gd name="connsiteX10" fmla="*/ 398796 w 557154"/>
                <a:gd name="connsiteY10" fmla="*/ 0 h 865578"/>
                <a:gd name="connsiteX11" fmla="*/ 433618 w 557154"/>
                <a:gd name="connsiteY11" fmla="*/ 4145 h 865578"/>
                <a:gd name="connsiteX12" fmla="*/ 557154 w 557154"/>
                <a:gd name="connsiteY12" fmla="*/ 159187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7154" h="865578">
                  <a:moveTo>
                    <a:pt x="557154" y="159187"/>
                  </a:moveTo>
                  <a:lnTo>
                    <a:pt x="557154" y="392163"/>
                  </a:lnTo>
                  <a:lnTo>
                    <a:pt x="485852" y="392163"/>
                  </a:lnTo>
                  <a:lnTo>
                    <a:pt x="485852" y="865578"/>
                  </a:lnTo>
                  <a:lnTo>
                    <a:pt x="71302" y="865578"/>
                  </a:lnTo>
                  <a:lnTo>
                    <a:pt x="71302" y="392163"/>
                  </a:lnTo>
                  <a:lnTo>
                    <a:pt x="0" y="392163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7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1" y="1658"/>
                    <a:pt x="433618" y="4145"/>
                  </a:cubicBezTo>
                  <a:cubicBezTo>
                    <a:pt x="504921" y="20727"/>
                    <a:pt x="557154" y="83739"/>
                    <a:pt x="557154" y="159187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7FE11B4D-37C2-4213-9A1B-DB8C947B5BB3}"/>
                </a:ext>
              </a:extLst>
            </p:cNvPr>
            <p:cNvSpPr/>
            <p:nvPr/>
          </p:nvSpPr>
          <p:spPr>
            <a:xfrm>
              <a:off x="320280" y="3716197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7258 h 105295"/>
                <a:gd name="connsiteX2" fmla="*/ 160016 w 310911"/>
                <a:gd name="connsiteY2" fmla="*/ 105295 h 105295"/>
                <a:gd name="connsiteX3" fmla="*/ 0 w 310911"/>
                <a:gd name="connsiteY3" fmla="*/ 4725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7258"/>
                  </a:lnTo>
                  <a:lnTo>
                    <a:pt x="160016" y="105295"/>
                  </a:lnTo>
                  <a:lnTo>
                    <a:pt x="0" y="47258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5" name="Graphic 80">
            <a:extLst>
              <a:ext uri="{FF2B5EF4-FFF2-40B4-BE49-F238E27FC236}">
                <a16:creationId xmlns:a16="http://schemas.microsoft.com/office/drawing/2014/main" id="{67639285-A71C-4142-8056-91DE60350758}"/>
              </a:ext>
            </a:extLst>
          </p:cNvPr>
          <p:cNvGrpSpPr/>
          <p:nvPr/>
        </p:nvGrpSpPr>
        <p:grpSpPr>
          <a:xfrm>
            <a:off x="7571415" y="3242591"/>
            <a:ext cx="546202" cy="1250899"/>
            <a:chOff x="7731590" y="3273459"/>
            <a:chExt cx="557154" cy="1275982"/>
          </a:xfrm>
          <a:solidFill>
            <a:schemeClr val="accent1"/>
          </a:solidFill>
        </p:grpSpPr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B46B371B-1C18-4CED-B786-0D078D1BC131}"/>
                </a:ext>
              </a:extLst>
            </p:cNvPr>
            <p:cNvSpPr/>
            <p:nvPr/>
          </p:nvSpPr>
          <p:spPr>
            <a:xfrm>
              <a:off x="7989440" y="3426013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27C1C6E-D00D-434D-89AC-647B761C4920}"/>
                </a:ext>
              </a:extLst>
            </p:cNvPr>
            <p:cNvSpPr/>
            <p:nvPr/>
          </p:nvSpPr>
          <p:spPr>
            <a:xfrm>
              <a:off x="8010167" y="3273459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B6B4E72-DD14-4F86-A0BD-6B91CE6C5169}"/>
                </a:ext>
              </a:extLst>
            </p:cNvPr>
            <p:cNvSpPr/>
            <p:nvPr/>
          </p:nvSpPr>
          <p:spPr>
            <a:xfrm>
              <a:off x="7731590" y="3512239"/>
              <a:ext cx="557154" cy="864749"/>
            </a:xfrm>
            <a:custGeom>
              <a:avLst/>
              <a:gdLst>
                <a:gd name="connsiteX0" fmla="*/ 557154 w 557154"/>
                <a:gd name="connsiteY0" fmla="*/ 158358 h 864749"/>
                <a:gd name="connsiteX1" fmla="*/ 557154 w 557154"/>
                <a:gd name="connsiteY1" fmla="*/ 864749 h 864749"/>
                <a:gd name="connsiteX2" fmla="*/ 0 w 557154"/>
                <a:gd name="connsiteY2" fmla="*/ 864749 h 864749"/>
                <a:gd name="connsiteX3" fmla="*/ 0 w 557154"/>
                <a:gd name="connsiteY3" fmla="*/ 158358 h 864749"/>
                <a:gd name="connsiteX4" fmla="*/ 122706 w 557154"/>
                <a:gd name="connsiteY4" fmla="*/ 4145 h 864749"/>
                <a:gd name="connsiteX5" fmla="*/ 157529 w 557154"/>
                <a:gd name="connsiteY5" fmla="*/ 0 h 864749"/>
                <a:gd name="connsiteX6" fmla="*/ 399626 w 557154"/>
                <a:gd name="connsiteY6" fmla="*/ 0 h 864749"/>
                <a:gd name="connsiteX7" fmla="*/ 434448 w 557154"/>
                <a:gd name="connsiteY7" fmla="*/ 4145 h 864749"/>
                <a:gd name="connsiteX8" fmla="*/ 557154 w 557154"/>
                <a:gd name="connsiteY8" fmla="*/ 158358 h 8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154" h="864749">
                  <a:moveTo>
                    <a:pt x="557154" y="158358"/>
                  </a:moveTo>
                  <a:lnTo>
                    <a:pt x="557154" y="864749"/>
                  </a:lnTo>
                  <a:lnTo>
                    <a:pt x="0" y="864749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6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9626" y="0"/>
                  </a:lnTo>
                  <a:cubicBezTo>
                    <a:pt x="411233" y="0"/>
                    <a:pt x="422840" y="1658"/>
                    <a:pt x="434448" y="4145"/>
                  </a:cubicBezTo>
                  <a:cubicBezTo>
                    <a:pt x="504921" y="20727"/>
                    <a:pt x="557154" y="83739"/>
                    <a:pt x="557154" y="158358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DAFC47F7-09D5-48DA-A8A5-8FF2E4558E58}"/>
                </a:ext>
              </a:extLst>
            </p:cNvPr>
            <p:cNvSpPr/>
            <p:nvPr/>
          </p:nvSpPr>
          <p:spPr>
            <a:xfrm>
              <a:off x="7731590" y="3517214"/>
              <a:ext cx="123535" cy="1032227"/>
            </a:xfrm>
            <a:custGeom>
              <a:avLst/>
              <a:gdLst>
                <a:gd name="connsiteX0" fmla="*/ 123536 w 123535"/>
                <a:gd name="connsiteY0" fmla="*/ 0 h 1032227"/>
                <a:gd name="connsiteX1" fmla="*/ 123536 w 123535"/>
                <a:gd name="connsiteY1" fmla="*/ 1032227 h 1032227"/>
                <a:gd name="connsiteX2" fmla="*/ 0 w 123535"/>
                <a:gd name="connsiteY2" fmla="*/ 1032227 h 1032227"/>
                <a:gd name="connsiteX3" fmla="*/ 0 w 123535"/>
                <a:gd name="connsiteY3" fmla="*/ 153383 h 1032227"/>
                <a:gd name="connsiteX4" fmla="*/ 123536 w 123535"/>
                <a:gd name="connsiteY4" fmla="*/ 0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535" h="1032227">
                  <a:moveTo>
                    <a:pt x="123536" y="0"/>
                  </a:moveTo>
                  <a:lnTo>
                    <a:pt x="123536" y="1032227"/>
                  </a:lnTo>
                  <a:lnTo>
                    <a:pt x="0" y="1032227"/>
                  </a:lnTo>
                  <a:lnTo>
                    <a:pt x="0" y="153383"/>
                  </a:lnTo>
                  <a:cubicBezTo>
                    <a:pt x="0" y="78764"/>
                    <a:pt x="53062" y="15753"/>
                    <a:pt x="123536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5FD2B6E-3424-4C01-93F7-A485B1FBE52F}"/>
                </a:ext>
              </a:extLst>
            </p:cNvPr>
            <p:cNvSpPr/>
            <p:nvPr/>
          </p:nvSpPr>
          <p:spPr>
            <a:xfrm>
              <a:off x="8166038" y="3517214"/>
              <a:ext cx="122706" cy="1032227"/>
            </a:xfrm>
            <a:custGeom>
              <a:avLst/>
              <a:gdLst>
                <a:gd name="connsiteX0" fmla="*/ 122706 w 122706"/>
                <a:gd name="connsiteY0" fmla="*/ 153383 h 1032227"/>
                <a:gd name="connsiteX1" fmla="*/ 122706 w 122706"/>
                <a:gd name="connsiteY1" fmla="*/ 1032227 h 1032227"/>
                <a:gd name="connsiteX2" fmla="*/ 0 w 122706"/>
                <a:gd name="connsiteY2" fmla="*/ 1032227 h 1032227"/>
                <a:gd name="connsiteX3" fmla="*/ 0 w 122706"/>
                <a:gd name="connsiteY3" fmla="*/ 0 h 1032227"/>
                <a:gd name="connsiteX4" fmla="*/ 122706 w 122706"/>
                <a:gd name="connsiteY4" fmla="*/ 153383 h 103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706" h="1032227">
                  <a:moveTo>
                    <a:pt x="122706" y="153383"/>
                  </a:moveTo>
                  <a:lnTo>
                    <a:pt x="122706" y="1032227"/>
                  </a:lnTo>
                  <a:lnTo>
                    <a:pt x="0" y="1032227"/>
                  </a:lnTo>
                  <a:lnTo>
                    <a:pt x="0" y="0"/>
                  </a:lnTo>
                  <a:cubicBezTo>
                    <a:pt x="70473" y="15753"/>
                    <a:pt x="122706" y="78764"/>
                    <a:pt x="122706" y="153383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2AF04C74-F79F-4868-AFB4-BDA9209B4973}"/>
                </a:ext>
              </a:extLst>
            </p:cNvPr>
            <p:cNvSpPr/>
            <p:nvPr/>
          </p:nvSpPr>
          <p:spPr>
            <a:xfrm>
              <a:off x="7855126" y="3469955"/>
              <a:ext cx="310911" cy="104466"/>
            </a:xfrm>
            <a:custGeom>
              <a:avLst/>
              <a:gdLst>
                <a:gd name="connsiteX0" fmla="*/ 160016 w 310911"/>
                <a:gd name="connsiteY0" fmla="*/ 0 h 104466"/>
                <a:gd name="connsiteX1" fmla="*/ 310912 w 310911"/>
                <a:gd name="connsiteY1" fmla="*/ 47259 h 104466"/>
                <a:gd name="connsiteX2" fmla="*/ 160016 w 310911"/>
                <a:gd name="connsiteY2" fmla="*/ 104466 h 104466"/>
                <a:gd name="connsiteX3" fmla="*/ 0 w 310911"/>
                <a:gd name="connsiteY3" fmla="*/ 47259 h 10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4466">
                  <a:moveTo>
                    <a:pt x="160016" y="0"/>
                  </a:moveTo>
                  <a:lnTo>
                    <a:pt x="310912" y="47259"/>
                  </a:lnTo>
                  <a:lnTo>
                    <a:pt x="160016" y="104466"/>
                  </a:lnTo>
                  <a:lnTo>
                    <a:pt x="0" y="4725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6" name="Graphic 80">
            <a:extLst>
              <a:ext uri="{FF2B5EF4-FFF2-40B4-BE49-F238E27FC236}">
                <a16:creationId xmlns:a16="http://schemas.microsoft.com/office/drawing/2014/main" id="{15E5C0D3-2B6A-4FA2-98C6-6E58B35F8186}"/>
              </a:ext>
            </a:extLst>
          </p:cNvPr>
          <p:cNvGrpSpPr/>
          <p:nvPr/>
        </p:nvGrpSpPr>
        <p:grpSpPr>
          <a:xfrm>
            <a:off x="272471" y="3483992"/>
            <a:ext cx="545388" cy="1082649"/>
            <a:chOff x="286287" y="3519701"/>
            <a:chExt cx="556324" cy="1104358"/>
          </a:xfrm>
          <a:solidFill>
            <a:schemeClr val="accent2"/>
          </a:solidFill>
        </p:grpSpPr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C3B8E10D-0794-433A-81F0-8E4AD32F1C17}"/>
                </a:ext>
              </a:extLst>
            </p:cNvPr>
            <p:cNvSpPr/>
            <p:nvPr/>
          </p:nvSpPr>
          <p:spPr>
            <a:xfrm>
              <a:off x="543308" y="3672255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643EDC50-2307-4203-8CB4-03280B657617}"/>
                </a:ext>
              </a:extLst>
            </p:cNvPr>
            <p:cNvSpPr/>
            <p:nvPr/>
          </p:nvSpPr>
          <p:spPr>
            <a:xfrm>
              <a:off x="564864" y="3519701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D5B33E5B-272E-4643-BE40-3703B5D9ADE8}"/>
                </a:ext>
              </a:extLst>
            </p:cNvPr>
            <p:cNvSpPr/>
            <p:nvPr/>
          </p:nvSpPr>
          <p:spPr>
            <a:xfrm>
              <a:off x="286287" y="3758481"/>
              <a:ext cx="556324" cy="865578"/>
            </a:xfrm>
            <a:custGeom>
              <a:avLst/>
              <a:gdLst>
                <a:gd name="connsiteX0" fmla="*/ 556325 w 556324"/>
                <a:gd name="connsiteY0" fmla="*/ 159187 h 865578"/>
                <a:gd name="connsiteX1" fmla="*/ 556325 w 556324"/>
                <a:gd name="connsiteY1" fmla="*/ 392163 h 865578"/>
                <a:gd name="connsiteX2" fmla="*/ 485023 w 556324"/>
                <a:gd name="connsiteY2" fmla="*/ 392163 h 865578"/>
                <a:gd name="connsiteX3" fmla="*/ 485023 w 556324"/>
                <a:gd name="connsiteY3" fmla="*/ 865578 h 865578"/>
                <a:gd name="connsiteX4" fmla="*/ 70473 w 556324"/>
                <a:gd name="connsiteY4" fmla="*/ 865578 h 865578"/>
                <a:gd name="connsiteX5" fmla="*/ 70473 w 556324"/>
                <a:gd name="connsiteY5" fmla="*/ 392163 h 865578"/>
                <a:gd name="connsiteX6" fmla="*/ 0 w 556324"/>
                <a:gd name="connsiteY6" fmla="*/ 392163 h 865578"/>
                <a:gd name="connsiteX7" fmla="*/ 0 w 556324"/>
                <a:gd name="connsiteY7" fmla="*/ 158358 h 865578"/>
                <a:gd name="connsiteX8" fmla="*/ 122707 w 556324"/>
                <a:gd name="connsiteY8" fmla="*/ 4145 h 865578"/>
                <a:gd name="connsiteX9" fmla="*/ 157529 w 556324"/>
                <a:gd name="connsiteY9" fmla="*/ 0 h 865578"/>
                <a:gd name="connsiteX10" fmla="*/ 398796 w 556324"/>
                <a:gd name="connsiteY10" fmla="*/ 0 h 865578"/>
                <a:gd name="connsiteX11" fmla="*/ 433618 w 556324"/>
                <a:gd name="connsiteY11" fmla="*/ 4145 h 865578"/>
                <a:gd name="connsiteX12" fmla="*/ 556325 w 556324"/>
                <a:gd name="connsiteY12" fmla="*/ 159187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6324" h="865578">
                  <a:moveTo>
                    <a:pt x="556325" y="159187"/>
                  </a:moveTo>
                  <a:lnTo>
                    <a:pt x="556325" y="392163"/>
                  </a:lnTo>
                  <a:lnTo>
                    <a:pt x="485023" y="392163"/>
                  </a:lnTo>
                  <a:lnTo>
                    <a:pt x="485023" y="865578"/>
                  </a:lnTo>
                  <a:lnTo>
                    <a:pt x="70473" y="865578"/>
                  </a:lnTo>
                  <a:lnTo>
                    <a:pt x="70473" y="392163"/>
                  </a:lnTo>
                  <a:lnTo>
                    <a:pt x="0" y="392163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7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1" y="1658"/>
                    <a:pt x="433618" y="4145"/>
                  </a:cubicBezTo>
                  <a:cubicBezTo>
                    <a:pt x="504092" y="20727"/>
                    <a:pt x="556325" y="83739"/>
                    <a:pt x="556325" y="159187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851315D4-062C-4BDE-9417-F0DD3DB75E85}"/>
                </a:ext>
              </a:extLst>
            </p:cNvPr>
            <p:cNvSpPr/>
            <p:nvPr/>
          </p:nvSpPr>
          <p:spPr>
            <a:xfrm>
              <a:off x="408994" y="3716197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7258 h 105295"/>
                <a:gd name="connsiteX2" fmla="*/ 160016 w 310911"/>
                <a:gd name="connsiteY2" fmla="*/ 105295 h 105295"/>
                <a:gd name="connsiteX3" fmla="*/ 0 w 310911"/>
                <a:gd name="connsiteY3" fmla="*/ 4725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7258"/>
                  </a:lnTo>
                  <a:lnTo>
                    <a:pt x="160016" y="105295"/>
                  </a:lnTo>
                  <a:lnTo>
                    <a:pt x="0" y="47258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7" name="Graphic 80">
            <a:extLst>
              <a:ext uri="{FF2B5EF4-FFF2-40B4-BE49-F238E27FC236}">
                <a16:creationId xmlns:a16="http://schemas.microsoft.com/office/drawing/2014/main" id="{3ED14084-F71D-4F9C-8903-25EBFC3F9E84}"/>
              </a:ext>
            </a:extLst>
          </p:cNvPr>
          <p:cNvGrpSpPr/>
          <p:nvPr/>
        </p:nvGrpSpPr>
        <p:grpSpPr>
          <a:xfrm>
            <a:off x="11609406" y="2094917"/>
            <a:ext cx="546201" cy="1082650"/>
            <a:chOff x="11850551" y="2102772"/>
            <a:chExt cx="557153" cy="1104359"/>
          </a:xfrm>
          <a:solidFill>
            <a:schemeClr val="accent1"/>
          </a:solidFill>
        </p:grpSpPr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81388A79-CC09-486C-8FF2-F342F0EA8B8B}"/>
                </a:ext>
              </a:extLst>
            </p:cNvPr>
            <p:cNvSpPr/>
            <p:nvPr/>
          </p:nvSpPr>
          <p:spPr>
            <a:xfrm>
              <a:off x="12108400" y="2255326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6CDBEC77-D13E-448F-9BE9-DF453E8F36A5}"/>
                </a:ext>
              </a:extLst>
            </p:cNvPr>
            <p:cNvSpPr/>
            <p:nvPr/>
          </p:nvSpPr>
          <p:spPr>
            <a:xfrm>
              <a:off x="12129128" y="2102772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ABAFFA27-0AB9-47D0-B979-F4A4E079E0C7}"/>
                </a:ext>
              </a:extLst>
            </p:cNvPr>
            <p:cNvSpPr/>
            <p:nvPr/>
          </p:nvSpPr>
          <p:spPr>
            <a:xfrm>
              <a:off x="11850551" y="2341552"/>
              <a:ext cx="557153" cy="865578"/>
            </a:xfrm>
            <a:custGeom>
              <a:avLst/>
              <a:gdLst>
                <a:gd name="connsiteX0" fmla="*/ 557154 w 557153"/>
                <a:gd name="connsiteY0" fmla="*/ 158358 h 865578"/>
                <a:gd name="connsiteX1" fmla="*/ 557154 w 557153"/>
                <a:gd name="connsiteY1" fmla="*/ 392164 h 865578"/>
                <a:gd name="connsiteX2" fmla="*/ 485851 w 557153"/>
                <a:gd name="connsiteY2" fmla="*/ 392164 h 865578"/>
                <a:gd name="connsiteX3" fmla="*/ 485851 w 557153"/>
                <a:gd name="connsiteY3" fmla="*/ 865579 h 865578"/>
                <a:gd name="connsiteX4" fmla="*/ 71302 w 557153"/>
                <a:gd name="connsiteY4" fmla="*/ 865579 h 865578"/>
                <a:gd name="connsiteX5" fmla="*/ 71302 w 557153"/>
                <a:gd name="connsiteY5" fmla="*/ 392164 h 865578"/>
                <a:gd name="connsiteX6" fmla="*/ 0 w 557153"/>
                <a:gd name="connsiteY6" fmla="*/ 392164 h 865578"/>
                <a:gd name="connsiteX7" fmla="*/ 0 w 557153"/>
                <a:gd name="connsiteY7" fmla="*/ 158358 h 865578"/>
                <a:gd name="connsiteX8" fmla="*/ 122706 w 557153"/>
                <a:gd name="connsiteY8" fmla="*/ 4145 h 865578"/>
                <a:gd name="connsiteX9" fmla="*/ 157529 w 557153"/>
                <a:gd name="connsiteY9" fmla="*/ 0 h 865578"/>
                <a:gd name="connsiteX10" fmla="*/ 398796 w 557153"/>
                <a:gd name="connsiteY10" fmla="*/ 0 h 865578"/>
                <a:gd name="connsiteX11" fmla="*/ 433618 w 557153"/>
                <a:gd name="connsiteY11" fmla="*/ 4145 h 865578"/>
                <a:gd name="connsiteX12" fmla="*/ 557154 w 557153"/>
                <a:gd name="connsiteY12" fmla="*/ 158358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7153" h="865578">
                  <a:moveTo>
                    <a:pt x="557154" y="158358"/>
                  </a:moveTo>
                  <a:lnTo>
                    <a:pt x="557154" y="392164"/>
                  </a:lnTo>
                  <a:lnTo>
                    <a:pt x="485851" y="392164"/>
                  </a:lnTo>
                  <a:lnTo>
                    <a:pt x="485851" y="865579"/>
                  </a:lnTo>
                  <a:lnTo>
                    <a:pt x="71302" y="865579"/>
                  </a:lnTo>
                  <a:lnTo>
                    <a:pt x="71302" y="392164"/>
                  </a:lnTo>
                  <a:lnTo>
                    <a:pt x="0" y="392164"/>
                  </a:lnTo>
                  <a:lnTo>
                    <a:pt x="0" y="158358"/>
                  </a:lnTo>
                  <a:cubicBezTo>
                    <a:pt x="0" y="82910"/>
                    <a:pt x="52233" y="19899"/>
                    <a:pt x="122706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0" y="1658"/>
                    <a:pt x="433618" y="4145"/>
                  </a:cubicBezTo>
                  <a:cubicBezTo>
                    <a:pt x="504920" y="20727"/>
                    <a:pt x="557154" y="83739"/>
                    <a:pt x="557154" y="158358"/>
                  </a:cubicBez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76DC5256-754D-442D-88A8-34B2826166F7}"/>
                </a:ext>
              </a:extLst>
            </p:cNvPr>
            <p:cNvSpPr/>
            <p:nvPr/>
          </p:nvSpPr>
          <p:spPr>
            <a:xfrm>
              <a:off x="11974086" y="2298439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8088 h 105295"/>
                <a:gd name="connsiteX2" fmla="*/ 160016 w 310911"/>
                <a:gd name="connsiteY2" fmla="*/ 105295 h 105295"/>
                <a:gd name="connsiteX3" fmla="*/ 0 w 310911"/>
                <a:gd name="connsiteY3" fmla="*/ 4808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8088"/>
                  </a:lnTo>
                  <a:lnTo>
                    <a:pt x="160016" y="105295"/>
                  </a:lnTo>
                  <a:lnTo>
                    <a:pt x="0" y="48088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8" name="Graphic 80">
            <a:extLst>
              <a:ext uri="{FF2B5EF4-FFF2-40B4-BE49-F238E27FC236}">
                <a16:creationId xmlns:a16="http://schemas.microsoft.com/office/drawing/2014/main" id="{A4953FEA-855D-4E4C-8B06-2D53D8BB595F}"/>
              </a:ext>
            </a:extLst>
          </p:cNvPr>
          <p:cNvGrpSpPr/>
          <p:nvPr/>
        </p:nvGrpSpPr>
        <p:grpSpPr>
          <a:xfrm>
            <a:off x="392765" y="3483992"/>
            <a:ext cx="546202" cy="1082649"/>
            <a:chOff x="408994" y="3519701"/>
            <a:chExt cx="557154" cy="1104358"/>
          </a:xfrm>
          <a:solidFill>
            <a:schemeClr val="bg1"/>
          </a:solidFill>
        </p:grpSpPr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1B804143-A977-4A67-9175-F92FBB0B8DC5}"/>
                </a:ext>
              </a:extLst>
            </p:cNvPr>
            <p:cNvSpPr/>
            <p:nvPr/>
          </p:nvSpPr>
          <p:spPr>
            <a:xfrm>
              <a:off x="666014" y="3672255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CBEBA1F-72F3-4152-90CA-F1001EBC442D}"/>
                </a:ext>
              </a:extLst>
            </p:cNvPr>
            <p:cNvSpPr/>
            <p:nvPr/>
          </p:nvSpPr>
          <p:spPr>
            <a:xfrm>
              <a:off x="687571" y="3519701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29FF05A-1C99-492A-B3D6-4886AF37BDF6}"/>
                </a:ext>
              </a:extLst>
            </p:cNvPr>
            <p:cNvSpPr/>
            <p:nvPr/>
          </p:nvSpPr>
          <p:spPr>
            <a:xfrm>
              <a:off x="408994" y="3758481"/>
              <a:ext cx="557154" cy="865578"/>
            </a:xfrm>
            <a:custGeom>
              <a:avLst/>
              <a:gdLst>
                <a:gd name="connsiteX0" fmla="*/ 557154 w 557154"/>
                <a:gd name="connsiteY0" fmla="*/ 159187 h 865578"/>
                <a:gd name="connsiteX1" fmla="*/ 557154 w 557154"/>
                <a:gd name="connsiteY1" fmla="*/ 392163 h 865578"/>
                <a:gd name="connsiteX2" fmla="*/ 485852 w 557154"/>
                <a:gd name="connsiteY2" fmla="*/ 392163 h 865578"/>
                <a:gd name="connsiteX3" fmla="*/ 485852 w 557154"/>
                <a:gd name="connsiteY3" fmla="*/ 865578 h 865578"/>
                <a:gd name="connsiteX4" fmla="*/ 71302 w 557154"/>
                <a:gd name="connsiteY4" fmla="*/ 865578 h 865578"/>
                <a:gd name="connsiteX5" fmla="*/ 71302 w 557154"/>
                <a:gd name="connsiteY5" fmla="*/ 392163 h 865578"/>
                <a:gd name="connsiteX6" fmla="*/ 0 w 557154"/>
                <a:gd name="connsiteY6" fmla="*/ 392163 h 865578"/>
                <a:gd name="connsiteX7" fmla="*/ 0 w 557154"/>
                <a:gd name="connsiteY7" fmla="*/ 158358 h 865578"/>
                <a:gd name="connsiteX8" fmla="*/ 122707 w 557154"/>
                <a:gd name="connsiteY8" fmla="*/ 4145 h 865578"/>
                <a:gd name="connsiteX9" fmla="*/ 157529 w 557154"/>
                <a:gd name="connsiteY9" fmla="*/ 0 h 865578"/>
                <a:gd name="connsiteX10" fmla="*/ 398796 w 557154"/>
                <a:gd name="connsiteY10" fmla="*/ 0 h 865578"/>
                <a:gd name="connsiteX11" fmla="*/ 433618 w 557154"/>
                <a:gd name="connsiteY11" fmla="*/ 4145 h 865578"/>
                <a:gd name="connsiteX12" fmla="*/ 557154 w 557154"/>
                <a:gd name="connsiteY12" fmla="*/ 159187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7154" h="865578">
                  <a:moveTo>
                    <a:pt x="557154" y="159187"/>
                  </a:moveTo>
                  <a:lnTo>
                    <a:pt x="557154" y="392163"/>
                  </a:lnTo>
                  <a:lnTo>
                    <a:pt x="485852" y="392163"/>
                  </a:lnTo>
                  <a:lnTo>
                    <a:pt x="485852" y="865578"/>
                  </a:lnTo>
                  <a:lnTo>
                    <a:pt x="71302" y="865578"/>
                  </a:lnTo>
                  <a:lnTo>
                    <a:pt x="71302" y="392163"/>
                  </a:lnTo>
                  <a:lnTo>
                    <a:pt x="0" y="392163"/>
                  </a:lnTo>
                  <a:lnTo>
                    <a:pt x="0" y="158358"/>
                  </a:lnTo>
                  <a:cubicBezTo>
                    <a:pt x="0" y="82910"/>
                    <a:pt x="52233" y="19898"/>
                    <a:pt x="122707" y="4145"/>
                  </a:cubicBezTo>
                  <a:cubicBezTo>
                    <a:pt x="133485" y="1658"/>
                    <a:pt x="145921" y="0"/>
                    <a:pt x="157529" y="0"/>
                  </a:cubicBezTo>
                  <a:lnTo>
                    <a:pt x="398796" y="0"/>
                  </a:lnTo>
                  <a:cubicBezTo>
                    <a:pt x="410404" y="0"/>
                    <a:pt x="422011" y="1658"/>
                    <a:pt x="433618" y="4145"/>
                  </a:cubicBezTo>
                  <a:cubicBezTo>
                    <a:pt x="504092" y="20727"/>
                    <a:pt x="557154" y="83739"/>
                    <a:pt x="557154" y="159187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CFF0E0A-93CD-48B1-8FEA-8207E5DA353C}"/>
                </a:ext>
              </a:extLst>
            </p:cNvPr>
            <p:cNvSpPr/>
            <p:nvPr/>
          </p:nvSpPr>
          <p:spPr>
            <a:xfrm>
              <a:off x="531700" y="3716197"/>
              <a:ext cx="310911" cy="105295"/>
            </a:xfrm>
            <a:custGeom>
              <a:avLst/>
              <a:gdLst>
                <a:gd name="connsiteX0" fmla="*/ 160016 w 310911"/>
                <a:gd name="connsiteY0" fmla="*/ 0 h 105295"/>
                <a:gd name="connsiteX1" fmla="*/ 310912 w 310911"/>
                <a:gd name="connsiteY1" fmla="*/ 47258 h 105295"/>
                <a:gd name="connsiteX2" fmla="*/ 160016 w 310911"/>
                <a:gd name="connsiteY2" fmla="*/ 105295 h 105295"/>
                <a:gd name="connsiteX3" fmla="*/ 0 w 310911"/>
                <a:gd name="connsiteY3" fmla="*/ 47258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911" h="105295">
                  <a:moveTo>
                    <a:pt x="160016" y="0"/>
                  </a:moveTo>
                  <a:lnTo>
                    <a:pt x="310912" y="47258"/>
                  </a:lnTo>
                  <a:lnTo>
                    <a:pt x="160016" y="105295"/>
                  </a:lnTo>
                  <a:lnTo>
                    <a:pt x="0" y="47258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69" name="Graphic 80">
            <a:extLst>
              <a:ext uri="{FF2B5EF4-FFF2-40B4-BE49-F238E27FC236}">
                <a16:creationId xmlns:a16="http://schemas.microsoft.com/office/drawing/2014/main" id="{4B3D7801-F983-486F-B8E0-37D96FD3E3D2}"/>
              </a:ext>
            </a:extLst>
          </p:cNvPr>
          <p:cNvGrpSpPr/>
          <p:nvPr/>
        </p:nvGrpSpPr>
        <p:grpSpPr>
          <a:xfrm>
            <a:off x="11832113" y="2094918"/>
            <a:ext cx="421030" cy="1083461"/>
            <a:chOff x="12077723" y="2102772"/>
            <a:chExt cx="429473" cy="1105187"/>
          </a:xfrm>
          <a:solidFill>
            <a:schemeClr val="accent2"/>
          </a:solidFill>
        </p:grpSpPr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B7B84E79-A339-4A48-B936-CDC8B49BB6DE}"/>
                </a:ext>
              </a:extLst>
            </p:cNvPr>
            <p:cNvSpPr/>
            <p:nvPr/>
          </p:nvSpPr>
          <p:spPr>
            <a:xfrm>
              <a:off x="12334744" y="2255326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3 w 51404"/>
                <a:gd name="connsiteY1" fmla="*/ 0 h 87055"/>
                <a:gd name="connsiteX2" fmla="*/ 51403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3" y="0"/>
                  </a:lnTo>
                  <a:lnTo>
                    <a:pt x="51403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C4472D2B-91B1-4873-8B8D-E1F4E97AF6E6}"/>
                </a:ext>
              </a:extLst>
            </p:cNvPr>
            <p:cNvSpPr/>
            <p:nvPr/>
          </p:nvSpPr>
          <p:spPr>
            <a:xfrm>
              <a:off x="12355472" y="2102772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19 w 9120"/>
                <a:gd name="connsiteY1" fmla="*/ 0 h 152554"/>
                <a:gd name="connsiteX2" fmla="*/ 9119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19" y="0"/>
                  </a:lnTo>
                  <a:lnTo>
                    <a:pt x="9119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9AC9CF96-9D2E-44D9-98D6-AAC1BC2CED1B}"/>
                </a:ext>
              </a:extLst>
            </p:cNvPr>
            <p:cNvSpPr/>
            <p:nvPr/>
          </p:nvSpPr>
          <p:spPr>
            <a:xfrm>
              <a:off x="12077723" y="2342381"/>
              <a:ext cx="429473" cy="865578"/>
            </a:xfrm>
            <a:custGeom>
              <a:avLst/>
              <a:gdLst>
                <a:gd name="connsiteX0" fmla="*/ 398797 w 429473"/>
                <a:gd name="connsiteY0" fmla="*/ 0 h 865578"/>
                <a:gd name="connsiteX1" fmla="*/ 157529 w 429473"/>
                <a:gd name="connsiteY1" fmla="*/ 0 h 865578"/>
                <a:gd name="connsiteX2" fmla="*/ 122707 w 429473"/>
                <a:gd name="connsiteY2" fmla="*/ 4145 h 865578"/>
                <a:gd name="connsiteX3" fmla="*/ 0 w 429473"/>
                <a:gd name="connsiteY3" fmla="*/ 158358 h 865578"/>
                <a:gd name="connsiteX4" fmla="*/ 0 w 429473"/>
                <a:gd name="connsiteY4" fmla="*/ 392164 h 865578"/>
                <a:gd name="connsiteX5" fmla="*/ 71303 w 429473"/>
                <a:gd name="connsiteY5" fmla="*/ 392164 h 865578"/>
                <a:gd name="connsiteX6" fmla="*/ 71303 w 429473"/>
                <a:gd name="connsiteY6" fmla="*/ 865579 h 865578"/>
                <a:gd name="connsiteX7" fmla="*/ 429473 w 429473"/>
                <a:gd name="connsiteY7" fmla="*/ 865579 h 865578"/>
                <a:gd name="connsiteX8" fmla="*/ 429473 w 429473"/>
                <a:gd name="connsiteY8" fmla="*/ 3316 h 865578"/>
                <a:gd name="connsiteX9" fmla="*/ 398797 w 429473"/>
                <a:gd name="connsiteY9" fmla="*/ 0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473" h="865578">
                  <a:moveTo>
                    <a:pt x="398797" y="0"/>
                  </a:moveTo>
                  <a:lnTo>
                    <a:pt x="157529" y="0"/>
                  </a:lnTo>
                  <a:cubicBezTo>
                    <a:pt x="145922" y="0"/>
                    <a:pt x="134315" y="1658"/>
                    <a:pt x="122707" y="4145"/>
                  </a:cubicBezTo>
                  <a:cubicBezTo>
                    <a:pt x="52234" y="19898"/>
                    <a:pt x="0" y="82910"/>
                    <a:pt x="0" y="158358"/>
                  </a:cubicBezTo>
                  <a:lnTo>
                    <a:pt x="0" y="392164"/>
                  </a:lnTo>
                  <a:lnTo>
                    <a:pt x="71303" y="392164"/>
                  </a:lnTo>
                  <a:lnTo>
                    <a:pt x="71303" y="865579"/>
                  </a:lnTo>
                  <a:lnTo>
                    <a:pt x="429473" y="865579"/>
                  </a:lnTo>
                  <a:lnTo>
                    <a:pt x="429473" y="3316"/>
                  </a:lnTo>
                  <a:cubicBezTo>
                    <a:pt x="419525" y="829"/>
                    <a:pt x="409575" y="0"/>
                    <a:pt x="398797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C89F2B2D-7880-494E-9BAA-665B57875EBA}"/>
                </a:ext>
              </a:extLst>
            </p:cNvPr>
            <p:cNvSpPr/>
            <p:nvPr/>
          </p:nvSpPr>
          <p:spPr>
            <a:xfrm>
              <a:off x="12200430" y="2298439"/>
              <a:ext cx="306766" cy="105295"/>
            </a:xfrm>
            <a:custGeom>
              <a:avLst/>
              <a:gdLst>
                <a:gd name="connsiteX0" fmla="*/ 160016 w 306766"/>
                <a:gd name="connsiteY0" fmla="*/ 0 h 105295"/>
                <a:gd name="connsiteX1" fmla="*/ 0 w 306766"/>
                <a:gd name="connsiteY1" fmla="*/ 48088 h 105295"/>
                <a:gd name="connsiteX2" fmla="*/ 160016 w 306766"/>
                <a:gd name="connsiteY2" fmla="*/ 105295 h 105295"/>
                <a:gd name="connsiteX3" fmla="*/ 306766 w 306766"/>
                <a:gd name="connsiteY3" fmla="*/ 49746 h 105295"/>
                <a:gd name="connsiteX4" fmla="*/ 306766 w 306766"/>
                <a:gd name="connsiteY4" fmla="*/ 46430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766" h="105295">
                  <a:moveTo>
                    <a:pt x="160016" y="0"/>
                  </a:moveTo>
                  <a:lnTo>
                    <a:pt x="0" y="48088"/>
                  </a:lnTo>
                  <a:lnTo>
                    <a:pt x="160016" y="105295"/>
                  </a:lnTo>
                  <a:lnTo>
                    <a:pt x="306766" y="49746"/>
                  </a:lnTo>
                  <a:lnTo>
                    <a:pt x="306766" y="4643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70" name="Graphic 80">
            <a:extLst>
              <a:ext uri="{FF2B5EF4-FFF2-40B4-BE49-F238E27FC236}">
                <a16:creationId xmlns:a16="http://schemas.microsoft.com/office/drawing/2014/main" id="{F510A2FF-B2FC-42F3-B8B6-6E6CD64158A9}"/>
              </a:ext>
            </a:extLst>
          </p:cNvPr>
          <p:cNvGrpSpPr/>
          <p:nvPr/>
        </p:nvGrpSpPr>
        <p:grpSpPr>
          <a:xfrm>
            <a:off x="11931275" y="2094918"/>
            <a:ext cx="321868" cy="1083461"/>
            <a:chOff x="12178874" y="2102772"/>
            <a:chExt cx="328322" cy="1105187"/>
          </a:xfrm>
          <a:solidFill>
            <a:schemeClr val="accent1">
              <a:lumMod val="25000"/>
            </a:schemeClr>
          </a:solidFill>
        </p:grpSpPr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868D7D9-23EB-4D2A-8679-4B15470F42C2}"/>
                </a:ext>
              </a:extLst>
            </p:cNvPr>
            <p:cNvSpPr/>
            <p:nvPr/>
          </p:nvSpPr>
          <p:spPr>
            <a:xfrm>
              <a:off x="12435894" y="2255326"/>
              <a:ext cx="51404" cy="87055"/>
            </a:xfrm>
            <a:custGeom>
              <a:avLst/>
              <a:gdLst>
                <a:gd name="connsiteX0" fmla="*/ 0 w 51404"/>
                <a:gd name="connsiteY0" fmla="*/ 0 h 87055"/>
                <a:gd name="connsiteX1" fmla="*/ 51404 w 51404"/>
                <a:gd name="connsiteY1" fmla="*/ 0 h 87055"/>
                <a:gd name="connsiteX2" fmla="*/ 51404 w 51404"/>
                <a:gd name="connsiteY2" fmla="*/ 87055 h 87055"/>
                <a:gd name="connsiteX3" fmla="*/ 0 w 51404"/>
                <a:gd name="connsiteY3" fmla="*/ 87055 h 87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04" h="87055">
                  <a:moveTo>
                    <a:pt x="0" y="0"/>
                  </a:moveTo>
                  <a:lnTo>
                    <a:pt x="51404" y="0"/>
                  </a:lnTo>
                  <a:lnTo>
                    <a:pt x="51404" y="87055"/>
                  </a:lnTo>
                  <a:lnTo>
                    <a:pt x="0" y="87055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2EC532CA-BDA4-4999-A5A8-3FE7A58498B1}"/>
                </a:ext>
              </a:extLst>
            </p:cNvPr>
            <p:cNvSpPr/>
            <p:nvPr/>
          </p:nvSpPr>
          <p:spPr>
            <a:xfrm>
              <a:off x="12457451" y="2102772"/>
              <a:ext cx="9120" cy="152554"/>
            </a:xfrm>
            <a:custGeom>
              <a:avLst/>
              <a:gdLst>
                <a:gd name="connsiteX0" fmla="*/ 0 w 9120"/>
                <a:gd name="connsiteY0" fmla="*/ 0 h 152554"/>
                <a:gd name="connsiteX1" fmla="*/ 9120 w 9120"/>
                <a:gd name="connsiteY1" fmla="*/ 0 h 152554"/>
                <a:gd name="connsiteX2" fmla="*/ 9120 w 9120"/>
                <a:gd name="connsiteY2" fmla="*/ 152554 h 152554"/>
                <a:gd name="connsiteX3" fmla="*/ 0 w 9120"/>
                <a:gd name="connsiteY3" fmla="*/ 152554 h 152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20" h="152554">
                  <a:moveTo>
                    <a:pt x="0" y="0"/>
                  </a:moveTo>
                  <a:lnTo>
                    <a:pt x="9120" y="0"/>
                  </a:lnTo>
                  <a:lnTo>
                    <a:pt x="9120" y="152554"/>
                  </a:lnTo>
                  <a:lnTo>
                    <a:pt x="0" y="15255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0F14FA37-063F-4962-91CA-4780FA73BA3F}"/>
                </a:ext>
              </a:extLst>
            </p:cNvPr>
            <p:cNvSpPr/>
            <p:nvPr/>
          </p:nvSpPr>
          <p:spPr>
            <a:xfrm>
              <a:off x="12178874" y="2342381"/>
              <a:ext cx="328322" cy="865578"/>
            </a:xfrm>
            <a:custGeom>
              <a:avLst/>
              <a:gdLst>
                <a:gd name="connsiteX0" fmla="*/ 157529 w 328322"/>
                <a:gd name="connsiteY0" fmla="*/ 0 h 865578"/>
                <a:gd name="connsiteX1" fmla="*/ 122706 w 328322"/>
                <a:gd name="connsiteY1" fmla="*/ 4145 h 865578"/>
                <a:gd name="connsiteX2" fmla="*/ 0 w 328322"/>
                <a:gd name="connsiteY2" fmla="*/ 158358 h 865578"/>
                <a:gd name="connsiteX3" fmla="*/ 0 w 328322"/>
                <a:gd name="connsiteY3" fmla="*/ 392164 h 865578"/>
                <a:gd name="connsiteX4" fmla="*/ 71302 w 328322"/>
                <a:gd name="connsiteY4" fmla="*/ 392164 h 865578"/>
                <a:gd name="connsiteX5" fmla="*/ 71302 w 328322"/>
                <a:gd name="connsiteY5" fmla="*/ 865579 h 865578"/>
                <a:gd name="connsiteX6" fmla="*/ 328323 w 328322"/>
                <a:gd name="connsiteY6" fmla="*/ 865579 h 865578"/>
                <a:gd name="connsiteX7" fmla="*/ 328323 w 328322"/>
                <a:gd name="connsiteY7" fmla="*/ 0 h 865578"/>
                <a:gd name="connsiteX8" fmla="*/ 157529 w 328322"/>
                <a:gd name="connsiteY8" fmla="*/ 0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322" h="865578">
                  <a:moveTo>
                    <a:pt x="157529" y="0"/>
                  </a:moveTo>
                  <a:cubicBezTo>
                    <a:pt x="145921" y="0"/>
                    <a:pt x="134314" y="1658"/>
                    <a:pt x="122706" y="4145"/>
                  </a:cubicBezTo>
                  <a:cubicBezTo>
                    <a:pt x="52233" y="19898"/>
                    <a:pt x="0" y="82910"/>
                    <a:pt x="0" y="158358"/>
                  </a:cubicBezTo>
                  <a:lnTo>
                    <a:pt x="0" y="392164"/>
                  </a:lnTo>
                  <a:lnTo>
                    <a:pt x="71302" y="392164"/>
                  </a:lnTo>
                  <a:lnTo>
                    <a:pt x="71302" y="865579"/>
                  </a:lnTo>
                  <a:lnTo>
                    <a:pt x="328323" y="865579"/>
                  </a:lnTo>
                  <a:lnTo>
                    <a:pt x="328323" y="0"/>
                  </a:lnTo>
                  <a:lnTo>
                    <a:pt x="157529" y="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906912BD-FE5E-45F2-AD88-E2E6AD66F6C1}"/>
                </a:ext>
              </a:extLst>
            </p:cNvPr>
            <p:cNvSpPr/>
            <p:nvPr/>
          </p:nvSpPr>
          <p:spPr>
            <a:xfrm>
              <a:off x="12301580" y="2298439"/>
              <a:ext cx="205616" cy="105295"/>
            </a:xfrm>
            <a:custGeom>
              <a:avLst/>
              <a:gdLst>
                <a:gd name="connsiteX0" fmla="*/ 160016 w 205616"/>
                <a:gd name="connsiteY0" fmla="*/ 0 h 105295"/>
                <a:gd name="connsiteX1" fmla="*/ 0 w 205616"/>
                <a:gd name="connsiteY1" fmla="*/ 48088 h 105295"/>
                <a:gd name="connsiteX2" fmla="*/ 160016 w 205616"/>
                <a:gd name="connsiteY2" fmla="*/ 105295 h 105295"/>
                <a:gd name="connsiteX3" fmla="*/ 205617 w 205616"/>
                <a:gd name="connsiteY3" fmla="*/ 87884 h 105295"/>
                <a:gd name="connsiteX4" fmla="*/ 205617 w 205616"/>
                <a:gd name="connsiteY4" fmla="*/ 14924 h 10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616" h="105295">
                  <a:moveTo>
                    <a:pt x="160016" y="0"/>
                  </a:moveTo>
                  <a:lnTo>
                    <a:pt x="0" y="48088"/>
                  </a:lnTo>
                  <a:lnTo>
                    <a:pt x="160016" y="105295"/>
                  </a:lnTo>
                  <a:lnTo>
                    <a:pt x="205617" y="87884"/>
                  </a:lnTo>
                  <a:lnTo>
                    <a:pt x="205617" y="14924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71" name="Graphic 80">
            <a:extLst>
              <a:ext uri="{FF2B5EF4-FFF2-40B4-BE49-F238E27FC236}">
                <a16:creationId xmlns:a16="http://schemas.microsoft.com/office/drawing/2014/main" id="{6E84F92E-D4CD-4FD1-A719-B67D7A135C5A}"/>
              </a:ext>
            </a:extLst>
          </p:cNvPr>
          <p:cNvGrpSpPr/>
          <p:nvPr/>
        </p:nvGrpSpPr>
        <p:grpSpPr>
          <a:xfrm>
            <a:off x="12001988" y="2294866"/>
            <a:ext cx="251155" cy="883513"/>
            <a:chOff x="12251005" y="2306730"/>
            <a:chExt cx="256191" cy="901229"/>
          </a:xfrm>
          <a:solidFill>
            <a:schemeClr val="tx1"/>
          </a:solidFill>
        </p:grpSpPr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3A1D8104-623E-4CA8-94B9-0C6106010F82}"/>
                </a:ext>
              </a:extLst>
            </p:cNvPr>
            <p:cNvSpPr/>
            <p:nvPr/>
          </p:nvSpPr>
          <p:spPr>
            <a:xfrm>
              <a:off x="12251005" y="2342381"/>
              <a:ext cx="256191" cy="865578"/>
            </a:xfrm>
            <a:custGeom>
              <a:avLst/>
              <a:gdLst>
                <a:gd name="connsiteX0" fmla="*/ 157529 w 256191"/>
                <a:gd name="connsiteY0" fmla="*/ 0 h 865578"/>
                <a:gd name="connsiteX1" fmla="*/ 122707 w 256191"/>
                <a:gd name="connsiteY1" fmla="*/ 4145 h 865578"/>
                <a:gd name="connsiteX2" fmla="*/ 0 w 256191"/>
                <a:gd name="connsiteY2" fmla="*/ 158358 h 865578"/>
                <a:gd name="connsiteX3" fmla="*/ 0 w 256191"/>
                <a:gd name="connsiteY3" fmla="*/ 392164 h 865578"/>
                <a:gd name="connsiteX4" fmla="*/ 71302 w 256191"/>
                <a:gd name="connsiteY4" fmla="*/ 392164 h 865578"/>
                <a:gd name="connsiteX5" fmla="*/ 71302 w 256191"/>
                <a:gd name="connsiteY5" fmla="*/ 865579 h 865578"/>
                <a:gd name="connsiteX6" fmla="*/ 256192 w 256191"/>
                <a:gd name="connsiteY6" fmla="*/ 865579 h 865578"/>
                <a:gd name="connsiteX7" fmla="*/ 256192 w 256191"/>
                <a:gd name="connsiteY7" fmla="*/ 0 h 865578"/>
                <a:gd name="connsiteX8" fmla="*/ 157529 w 256191"/>
                <a:gd name="connsiteY8" fmla="*/ 0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191" h="865578">
                  <a:moveTo>
                    <a:pt x="157529" y="0"/>
                  </a:moveTo>
                  <a:cubicBezTo>
                    <a:pt x="145921" y="0"/>
                    <a:pt x="134315" y="1658"/>
                    <a:pt x="122707" y="4145"/>
                  </a:cubicBezTo>
                  <a:cubicBezTo>
                    <a:pt x="52234" y="19898"/>
                    <a:pt x="0" y="82910"/>
                    <a:pt x="0" y="158358"/>
                  </a:cubicBezTo>
                  <a:lnTo>
                    <a:pt x="0" y="392164"/>
                  </a:lnTo>
                  <a:lnTo>
                    <a:pt x="71302" y="392164"/>
                  </a:lnTo>
                  <a:lnTo>
                    <a:pt x="71302" y="865579"/>
                  </a:lnTo>
                  <a:lnTo>
                    <a:pt x="256192" y="865579"/>
                  </a:lnTo>
                  <a:lnTo>
                    <a:pt x="256192" y="0"/>
                  </a:lnTo>
                  <a:lnTo>
                    <a:pt x="157529" y="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896761D6-C614-4E7F-8EC8-064B41F281DE}"/>
                </a:ext>
              </a:extLst>
            </p:cNvPr>
            <p:cNvSpPr/>
            <p:nvPr/>
          </p:nvSpPr>
          <p:spPr>
            <a:xfrm>
              <a:off x="12373712" y="2306730"/>
              <a:ext cx="133484" cy="87884"/>
            </a:xfrm>
            <a:custGeom>
              <a:avLst/>
              <a:gdLst>
                <a:gd name="connsiteX0" fmla="*/ 0 w 133484"/>
                <a:gd name="connsiteY0" fmla="*/ 39797 h 87884"/>
                <a:gd name="connsiteX1" fmla="*/ 133485 w 133484"/>
                <a:gd name="connsiteY1" fmla="*/ 87884 h 87884"/>
                <a:gd name="connsiteX2" fmla="*/ 133485 w 133484"/>
                <a:gd name="connsiteY2" fmla="*/ 0 h 8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484" h="87884">
                  <a:moveTo>
                    <a:pt x="0" y="39797"/>
                  </a:moveTo>
                  <a:lnTo>
                    <a:pt x="133485" y="87884"/>
                  </a:lnTo>
                  <a:lnTo>
                    <a:pt x="133485" y="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72" name="Graphic 80">
            <a:extLst>
              <a:ext uri="{FF2B5EF4-FFF2-40B4-BE49-F238E27FC236}">
                <a16:creationId xmlns:a16="http://schemas.microsoft.com/office/drawing/2014/main" id="{A5707738-7361-45B9-A5B7-F6A301DF11E5}"/>
              </a:ext>
            </a:extLst>
          </p:cNvPr>
          <p:cNvGrpSpPr/>
          <p:nvPr/>
        </p:nvGrpSpPr>
        <p:grpSpPr>
          <a:xfrm>
            <a:off x="12088958" y="2320875"/>
            <a:ext cx="164185" cy="857503"/>
            <a:chOff x="12339719" y="2333261"/>
            <a:chExt cx="167477" cy="874698"/>
          </a:xfrm>
          <a:solidFill>
            <a:schemeClr val="tx1"/>
          </a:solidFill>
        </p:grpSpPr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5021DA2B-60A3-4382-BED9-A091CE9A43B9}"/>
                </a:ext>
              </a:extLst>
            </p:cNvPr>
            <p:cNvSpPr/>
            <p:nvPr/>
          </p:nvSpPr>
          <p:spPr>
            <a:xfrm>
              <a:off x="12339719" y="2342381"/>
              <a:ext cx="167477" cy="865578"/>
            </a:xfrm>
            <a:custGeom>
              <a:avLst/>
              <a:gdLst>
                <a:gd name="connsiteX0" fmla="*/ 157529 w 167477"/>
                <a:gd name="connsiteY0" fmla="*/ 0 h 865578"/>
                <a:gd name="connsiteX1" fmla="*/ 122706 w 167477"/>
                <a:gd name="connsiteY1" fmla="*/ 4145 h 865578"/>
                <a:gd name="connsiteX2" fmla="*/ 0 w 167477"/>
                <a:gd name="connsiteY2" fmla="*/ 158358 h 865578"/>
                <a:gd name="connsiteX3" fmla="*/ 0 w 167477"/>
                <a:gd name="connsiteY3" fmla="*/ 392164 h 865578"/>
                <a:gd name="connsiteX4" fmla="*/ 71302 w 167477"/>
                <a:gd name="connsiteY4" fmla="*/ 392164 h 865578"/>
                <a:gd name="connsiteX5" fmla="*/ 71302 w 167477"/>
                <a:gd name="connsiteY5" fmla="*/ 865579 h 865578"/>
                <a:gd name="connsiteX6" fmla="*/ 167477 w 167477"/>
                <a:gd name="connsiteY6" fmla="*/ 865579 h 865578"/>
                <a:gd name="connsiteX7" fmla="*/ 167477 w 167477"/>
                <a:gd name="connsiteY7" fmla="*/ 0 h 865578"/>
                <a:gd name="connsiteX8" fmla="*/ 157529 w 167477"/>
                <a:gd name="connsiteY8" fmla="*/ 0 h 86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477" h="865578">
                  <a:moveTo>
                    <a:pt x="157529" y="0"/>
                  </a:moveTo>
                  <a:cubicBezTo>
                    <a:pt x="145921" y="0"/>
                    <a:pt x="134314" y="1658"/>
                    <a:pt x="122706" y="4145"/>
                  </a:cubicBezTo>
                  <a:cubicBezTo>
                    <a:pt x="52233" y="19898"/>
                    <a:pt x="0" y="82910"/>
                    <a:pt x="0" y="158358"/>
                  </a:cubicBezTo>
                  <a:lnTo>
                    <a:pt x="0" y="392164"/>
                  </a:lnTo>
                  <a:lnTo>
                    <a:pt x="71302" y="392164"/>
                  </a:lnTo>
                  <a:lnTo>
                    <a:pt x="71302" y="865579"/>
                  </a:lnTo>
                  <a:lnTo>
                    <a:pt x="167477" y="865579"/>
                  </a:lnTo>
                  <a:lnTo>
                    <a:pt x="167477" y="0"/>
                  </a:lnTo>
                  <a:lnTo>
                    <a:pt x="157529" y="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ED08E8E5-D374-4C96-AB59-F72F81521265}"/>
                </a:ext>
              </a:extLst>
            </p:cNvPr>
            <p:cNvSpPr/>
            <p:nvPr/>
          </p:nvSpPr>
          <p:spPr>
            <a:xfrm>
              <a:off x="12462425" y="2333261"/>
              <a:ext cx="44771" cy="29018"/>
            </a:xfrm>
            <a:custGeom>
              <a:avLst/>
              <a:gdLst>
                <a:gd name="connsiteX0" fmla="*/ 0 w 44771"/>
                <a:gd name="connsiteY0" fmla="*/ 13266 h 29018"/>
                <a:gd name="connsiteX1" fmla="*/ 44772 w 44771"/>
                <a:gd name="connsiteY1" fmla="*/ 29018 h 29018"/>
                <a:gd name="connsiteX2" fmla="*/ 44772 w 44771"/>
                <a:gd name="connsiteY2" fmla="*/ 0 h 2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771" h="29018">
                  <a:moveTo>
                    <a:pt x="0" y="13266"/>
                  </a:moveTo>
                  <a:lnTo>
                    <a:pt x="44772" y="29018"/>
                  </a:lnTo>
                  <a:lnTo>
                    <a:pt x="44772" y="0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906E729F-796E-43C2-AD67-06842E6B1AAC}"/>
              </a:ext>
            </a:extLst>
          </p:cNvPr>
          <p:cNvSpPr/>
          <p:nvPr/>
        </p:nvSpPr>
        <p:spPr>
          <a:xfrm rot="7892">
            <a:off x="7486903" y="4689388"/>
            <a:ext cx="1706071" cy="215392"/>
          </a:xfrm>
          <a:custGeom>
            <a:avLst/>
            <a:gdLst>
              <a:gd name="connsiteX0" fmla="*/ 0 w 1740281"/>
              <a:gd name="connsiteY0" fmla="*/ 0 h 219711"/>
              <a:gd name="connsiteX1" fmla="*/ 1740282 w 1740281"/>
              <a:gd name="connsiteY1" fmla="*/ 0 h 219711"/>
              <a:gd name="connsiteX2" fmla="*/ 1740282 w 1740281"/>
              <a:gd name="connsiteY2" fmla="*/ 219712 h 219711"/>
              <a:gd name="connsiteX3" fmla="*/ 0 w 1740281"/>
              <a:gd name="connsiteY3" fmla="*/ 219712 h 21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0281" h="219711">
                <a:moveTo>
                  <a:pt x="0" y="0"/>
                </a:moveTo>
                <a:lnTo>
                  <a:pt x="1740282" y="0"/>
                </a:lnTo>
                <a:lnTo>
                  <a:pt x="1740282" y="219712"/>
                </a:lnTo>
                <a:lnTo>
                  <a:pt x="0" y="219712"/>
                </a:lnTo>
                <a:close/>
              </a:path>
            </a:pathLst>
          </a:custGeom>
          <a:solidFill>
            <a:srgbClr val="FFFFFF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76" name="Freeform: Shape 175">
            <a:extLst>
              <a:ext uri="{FF2B5EF4-FFF2-40B4-BE49-F238E27FC236}">
                <a16:creationId xmlns:a16="http://schemas.microsoft.com/office/drawing/2014/main" id="{8CD0BEAC-825C-4289-9A48-5CB6AD9C379B}"/>
              </a:ext>
            </a:extLst>
          </p:cNvPr>
          <p:cNvSpPr/>
          <p:nvPr/>
        </p:nvSpPr>
        <p:spPr>
          <a:xfrm>
            <a:off x="1193373" y="2610232"/>
            <a:ext cx="651865" cy="60147"/>
          </a:xfrm>
          <a:custGeom>
            <a:avLst/>
            <a:gdLst>
              <a:gd name="connsiteX0" fmla="*/ 0 w 664936"/>
              <a:gd name="connsiteY0" fmla="*/ 0 h 61353"/>
              <a:gd name="connsiteX1" fmla="*/ 664937 w 664936"/>
              <a:gd name="connsiteY1" fmla="*/ 0 h 61353"/>
              <a:gd name="connsiteX2" fmla="*/ 664937 w 664936"/>
              <a:gd name="connsiteY2" fmla="*/ 61353 h 61353"/>
              <a:gd name="connsiteX3" fmla="*/ 0 w 664936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936" h="61353">
                <a:moveTo>
                  <a:pt x="0" y="0"/>
                </a:moveTo>
                <a:lnTo>
                  <a:pt x="664937" y="0"/>
                </a:lnTo>
                <a:lnTo>
                  <a:pt x="664937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77" name="Freeform: Shape 176">
            <a:extLst>
              <a:ext uri="{FF2B5EF4-FFF2-40B4-BE49-F238E27FC236}">
                <a16:creationId xmlns:a16="http://schemas.microsoft.com/office/drawing/2014/main" id="{58D42932-B2A8-48E6-BA02-058653147DDB}"/>
              </a:ext>
            </a:extLst>
          </p:cNvPr>
          <p:cNvSpPr/>
          <p:nvPr/>
        </p:nvSpPr>
        <p:spPr>
          <a:xfrm>
            <a:off x="1193373" y="3286482"/>
            <a:ext cx="651052" cy="60147"/>
          </a:xfrm>
          <a:custGeom>
            <a:avLst/>
            <a:gdLst>
              <a:gd name="connsiteX0" fmla="*/ 0 w 664107"/>
              <a:gd name="connsiteY0" fmla="*/ 0 h 61353"/>
              <a:gd name="connsiteX1" fmla="*/ 664108 w 664107"/>
              <a:gd name="connsiteY1" fmla="*/ 0 h 61353"/>
              <a:gd name="connsiteX2" fmla="*/ 664108 w 664107"/>
              <a:gd name="connsiteY2" fmla="*/ 61353 h 61353"/>
              <a:gd name="connsiteX3" fmla="*/ 0 w 664107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07" h="61353">
                <a:moveTo>
                  <a:pt x="0" y="0"/>
                </a:moveTo>
                <a:lnTo>
                  <a:pt x="664108" y="0"/>
                </a:lnTo>
                <a:lnTo>
                  <a:pt x="664108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78" name="Freeform: Shape 177">
            <a:extLst>
              <a:ext uri="{FF2B5EF4-FFF2-40B4-BE49-F238E27FC236}">
                <a16:creationId xmlns:a16="http://schemas.microsoft.com/office/drawing/2014/main" id="{72012CF2-46F3-43D8-9C40-D7E946711B6C}"/>
              </a:ext>
            </a:extLst>
          </p:cNvPr>
          <p:cNvSpPr/>
          <p:nvPr/>
        </p:nvSpPr>
        <p:spPr>
          <a:xfrm>
            <a:off x="1193373" y="3963545"/>
            <a:ext cx="651052" cy="60147"/>
          </a:xfrm>
          <a:custGeom>
            <a:avLst/>
            <a:gdLst>
              <a:gd name="connsiteX0" fmla="*/ 0 w 664107"/>
              <a:gd name="connsiteY0" fmla="*/ 0 h 61353"/>
              <a:gd name="connsiteX1" fmla="*/ 664108 w 664107"/>
              <a:gd name="connsiteY1" fmla="*/ 0 h 61353"/>
              <a:gd name="connsiteX2" fmla="*/ 664108 w 664107"/>
              <a:gd name="connsiteY2" fmla="*/ 61353 h 61353"/>
              <a:gd name="connsiteX3" fmla="*/ 0 w 664107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07" h="61353">
                <a:moveTo>
                  <a:pt x="0" y="0"/>
                </a:moveTo>
                <a:lnTo>
                  <a:pt x="664108" y="0"/>
                </a:lnTo>
                <a:lnTo>
                  <a:pt x="664108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A63C43A-9DD1-49A9-9F4D-CFDA7FC0DFB7}"/>
              </a:ext>
            </a:extLst>
          </p:cNvPr>
          <p:cNvSpPr/>
          <p:nvPr/>
        </p:nvSpPr>
        <p:spPr>
          <a:xfrm>
            <a:off x="10557642" y="2610232"/>
            <a:ext cx="651052" cy="60147"/>
          </a:xfrm>
          <a:custGeom>
            <a:avLst/>
            <a:gdLst>
              <a:gd name="connsiteX0" fmla="*/ 0 w 664107"/>
              <a:gd name="connsiteY0" fmla="*/ 0 h 61353"/>
              <a:gd name="connsiteX1" fmla="*/ 664108 w 664107"/>
              <a:gd name="connsiteY1" fmla="*/ 0 h 61353"/>
              <a:gd name="connsiteX2" fmla="*/ 664108 w 664107"/>
              <a:gd name="connsiteY2" fmla="*/ 61353 h 61353"/>
              <a:gd name="connsiteX3" fmla="*/ 0 w 664107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07" h="61353">
                <a:moveTo>
                  <a:pt x="0" y="0"/>
                </a:moveTo>
                <a:lnTo>
                  <a:pt x="664108" y="0"/>
                </a:lnTo>
                <a:lnTo>
                  <a:pt x="664108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80" name="Freeform: Shape 179">
            <a:extLst>
              <a:ext uri="{FF2B5EF4-FFF2-40B4-BE49-F238E27FC236}">
                <a16:creationId xmlns:a16="http://schemas.microsoft.com/office/drawing/2014/main" id="{D651E7B9-A161-4E48-919A-CEE039AF4A06}"/>
              </a:ext>
            </a:extLst>
          </p:cNvPr>
          <p:cNvSpPr/>
          <p:nvPr/>
        </p:nvSpPr>
        <p:spPr>
          <a:xfrm>
            <a:off x="10557642" y="3286482"/>
            <a:ext cx="651052" cy="60147"/>
          </a:xfrm>
          <a:custGeom>
            <a:avLst/>
            <a:gdLst>
              <a:gd name="connsiteX0" fmla="*/ 0 w 664107"/>
              <a:gd name="connsiteY0" fmla="*/ 0 h 61353"/>
              <a:gd name="connsiteX1" fmla="*/ 664108 w 664107"/>
              <a:gd name="connsiteY1" fmla="*/ 0 h 61353"/>
              <a:gd name="connsiteX2" fmla="*/ 664108 w 664107"/>
              <a:gd name="connsiteY2" fmla="*/ 61353 h 61353"/>
              <a:gd name="connsiteX3" fmla="*/ 0 w 664107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07" h="61353">
                <a:moveTo>
                  <a:pt x="0" y="0"/>
                </a:moveTo>
                <a:lnTo>
                  <a:pt x="664108" y="0"/>
                </a:lnTo>
                <a:lnTo>
                  <a:pt x="664108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sp>
        <p:nvSpPr>
          <p:cNvPr id="181" name="Freeform: Shape 180">
            <a:extLst>
              <a:ext uri="{FF2B5EF4-FFF2-40B4-BE49-F238E27FC236}">
                <a16:creationId xmlns:a16="http://schemas.microsoft.com/office/drawing/2014/main" id="{20AAD529-30BC-4D26-9690-9DC21EE90CCE}"/>
              </a:ext>
            </a:extLst>
          </p:cNvPr>
          <p:cNvSpPr/>
          <p:nvPr/>
        </p:nvSpPr>
        <p:spPr>
          <a:xfrm>
            <a:off x="10557642" y="3963545"/>
            <a:ext cx="651052" cy="60147"/>
          </a:xfrm>
          <a:custGeom>
            <a:avLst/>
            <a:gdLst>
              <a:gd name="connsiteX0" fmla="*/ 0 w 664107"/>
              <a:gd name="connsiteY0" fmla="*/ 0 h 61353"/>
              <a:gd name="connsiteX1" fmla="*/ 664108 w 664107"/>
              <a:gd name="connsiteY1" fmla="*/ 0 h 61353"/>
              <a:gd name="connsiteX2" fmla="*/ 664108 w 664107"/>
              <a:gd name="connsiteY2" fmla="*/ 61353 h 61353"/>
              <a:gd name="connsiteX3" fmla="*/ 0 w 664107"/>
              <a:gd name="connsiteY3" fmla="*/ 61353 h 6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107" h="61353">
                <a:moveTo>
                  <a:pt x="0" y="0"/>
                </a:moveTo>
                <a:lnTo>
                  <a:pt x="664108" y="0"/>
                </a:lnTo>
                <a:lnTo>
                  <a:pt x="664108" y="61353"/>
                </a:lnTo>
                <a:lnTo>
                  <a:pt x="0" y="61353"/>
                </a:lnTo>
                <a:close/>
              </a:path>
            </a:pathLst>
          </a:custGeom>
          <a:solidFill>
            <a:srgbClr val="231F20">
              <a:alpha val="20000"/>
            </a:srgbClr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grpSp>
        <p:nvGrpSpPr>
          <p:cNvPr id="182" name="Graphic 80">
            <a:extLst>
              <a:ext uri="{FF2B5EF4-FFF2-40B4-BE49-F238E27FC236}">
                <a16:creationId xmlns:a16="http://schemas.microsoft.com/office/drawing/2014/main" id="{C64D0125-0B23-4A4B-BA0B-762C27D3D9FB}"/>
              </a:ext>
            </a:extLst>
          </p:cNvPr>
          <p:cNvGrpSpPr/>
          <p:nvPr/>
        </p:nvGrpSpPr>
        <p:grpSpPr>
          <a:xfrm>
            <a:off x="9596100" y="3000377"/>
            <a:ext cx="533196" cy="1904390"/>
            <a:chOff x="9796874" y="3026388"/>
            <a:chExt cx="543888" cy="1942577"/>
          </a:xfrm>
          <a:solidFill>
            <a:schemeClr val="accent1"/>
          </a:solidFill>
        </p:grpSpPr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1DCED5E2-18F9-4E76-A4BE-95D641F20807}"/>
                </a:ext>
              </a:extLst>
            </p:cNvPr>
            <p:cNvSpPr/>
            <p:nvPr/>
          </p:nvSpPr>
          <p:spPr>
            <a:xfrm>
              <a:off x="10047262" y="4128259"/>
              <a:ext cx="38138" cy="739555"/>
            </a:xfrm>
            <a:custGeom>
              <a:avLst/>
              <a:gdLst>
                <a:gd name="connsiteX0" fmla="*/ 0 w 38138"/>
                <a:gd name="connsiteY0" fmla="*/ 0 h 739555"/>
                <a:gd name="connsiteX1" fmla="*/ 38139 w 38138"/>
                <a:gd name="connsiteY1" fmla="*/ 0 h 739555"/>
                <a:gd name="connsiteX2" fmla="*/ 38139 w 38138"/>
                <a:gd name="connsiteY2" fmla="*/ 739556 h 739555"/>
                <a:gd name="connsiteX3" fmla="*/ 0 w 38138"/>
                <a:gd name="connsiteY3" fmla="*/ 739556 h 7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38" h="739555">
                  <a:moveTo>
                    <a:pt x="0" y="0"/>
                  </a:moveTo>
                  <a:lnTo>
                    <a:pt x="38139" y="0"/>
                  </a:lnTo>
                  <a:lnTo>
                    <a:pt x="38139" y="739556"/>
                  </a:lnTo>
                  <a:lnTo>
                    <a:pt x="0" y="739556"/>
                  </a:ln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FF604066-9876-4CA5-B591-30604F49D660}"/>
                </a:ext>
              </a:extLst>
            </p:cNvPr>
            <p:cNvSpPr/>
            <p:nvPr/>
          </p:nvSpPr>
          <p:spPr>
            <a:xfrm>
              <a:off x="9909631" y="4857866"/>
              <a:ext cx="325006" cy="41454"/>
            </a:xfrm>
            <a:custGeom>
              <a:avLst/>
              <a:gdLst>
                <a:gd name="connsiteX0" fmla="*/ 0 w 325006"/>
                <a:gd name="connsiteY0" fmla="*/ 0 h 41454"/>
                <a:gd name="connsiteX1" fmla="*/ 325006 w 325006"/>
                <a:gd name="connsiteY1" fmla="*/ 0 h 41454"/>
                <a:gd name="connsiteX2" fmla="*/ 325006 w 325006"/>
                <a:gd name="connsiteY2" fmla="*/ 41455 h 41454"/>
                <a:gd name="connsiteX3" fmla="*/ 0 w 325006"/>
                <a:gd name="connsiteY3" fmla="*/ 41455 h 4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006" h="41454">
                  <a:moveTo>
                    <a:pt x="0" y="0"/>
                  </a:moveTo>
                  <a:lnTo>
                    <a:pt x="325006" y="0"/>
                  </a:lnTo>
                  <a:lnTo>
                    <a:pt x="325006" y="41455"/>
                  </a:lnTo>
                  <a:lnTo>
                    <a:pt x="0" y="41455"/>
                  </a:ln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37ED6F07-B700-47CE-8395-BB37D340262D}"/>
                </a:ext>
              </a:extLst>
            </p:cNvPr>
            <p:cNvSpPr/>
            <p:nvPr/>
          </p:nvSpPr>
          <p:spPr>
            <a:xfrm>
              <a:off x="9909631" y="4857866"/>
              <a:ext cx="43942" cy="72960"/>
            </a:xfrm>
            <a:custGeom>
              <a:avLst/>
              <a:gdLst>
                <a:gd name="connsiteX0" fmla="*/ 0 w 43942"/>
                <a:gd name="connsiteY0" fmla="*/ 0 h 72960"/>
                <a:gd name="connsiteX1" fmla="*/ 43942 w 43942"/>
                <a:gd name="connsiteY1" fmla="*/ 0 h 72960"/>
                <a:gd name="connsiteX2" fmla="*/ 43942 w 43942"/>
                <a:gd name="connsiteY2" fmla="*/ 72960 h 72960"/>
                <a:gd name="connsiteX3" fmla="*/ 0 w 43942"/>
                <a:gd name="connsiteY3" fmla="*/ 72960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42" h="72960">
                  <a:moveTo>
                    <a:pt x="0" y="0"/>
                  </a:moveTo>
                  <a:lnTo>
                    <a:pt x="43942" y="0"/>
                  </a:lnTo>
                  <a:lnTo>
                    <a:pt x="43942" y="72960"/>
                  </a:lnTo>
                  <a:lnTo>
                    <a:pt x="0" y="72960"/>
                  </a:ln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EFF35108-F990-47F8-98F0-6FB0511E82DC}"/>
                </a:ext>
              </a:extLst>
            </p:cNvPr>
            <p:cNvSpPr/>
            <p:nvPr/>
          </p:nvSpPr>
          <p:spPr>
            <a:xfrm>
              <a:off x="10190696" y="4857866"/>
              <a:ext cx="43942" cy="72960"/>
            </a:xfrm>
            <a:custGeom>
              <a:avLst/>
              <a:gdLst>
                <a:gd name="connsiteX0" fmla="*/ 0 w 43942"/>
                <a:gd name="connsiteY0" fmla="*/ 0 h 72960"/>
                <a:gd name="connsiteX1" fmla="*/ 43942 w 43942"/>
                <a:gd name="connsiteY1" fmla="*/ 0 h 72960"/>
                <a:gd name="connsiteX2" fmla="*/ 43942 w 43942"/>
                <a:gd name="connsiteY2" fmla="*/ 72960 h 72960"/>
                <a:gd name="connsiteX3" fmla="*/ 0 w 43942"/>
                <a:gd name="connsiteY3" fmla="*/ 72960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42" h="72960">
                  <a:moveTo>
                    <a:pt x="0" y="0"/>
                  </a:moveTo>
                  <a:lnTo>
                    <a:pt x="43942" y="0"/>
                  </a:lnTo>
                  <a:lnTo>
                    <a:pt x="43942" y="72960"/>
                  </a:lnTo>
                  <a:lnTo>
                    <a:pt x="0" y="72960"/>
                  </a:ln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0028B555-9FB5-4D54-9765-47510C0C7BEA}"/>
                </a:ext>
              </a:extLst>
            </p:cNvPr>
            <p:cNvSpPr/>
            <p:nvPr/>
          </p:nvSpPr>
          <p:spPr>
            <a:xfrm>
              <a:off x="9872322" y="4894346"/>
              <a:ext cx="74618" cy="74618"/>
            </a:xfrm>
            <a:custGeom>
              <a:avLst/>
              <a:gdLst>
                <a:gd name="connsiteX0" fmla="*/ 74619 w 74618"/>
                <a:gd name="connsiteY0" fmla="*/ 37309 h 74618"/>
                <a:gd name="connsiteX1" fmla="*/ 37309 w 74618"/>
                <a:gd name="connsiteY1" fmla="*/ 74619 h 74618"/>
                <a:gd name="connsiteX2" fmla="*/ 0 w 74618"/>
                <a:gd name="connsiteY2" fmla="*/ 37309 h 74618"/>
                <a:gd name="connsiteX3" fmla="*/ 37309 w 74618"/>
                <a:gd name="connsiteY3" fmla="*/ 0 h 74618"/>
                <a:gd name="connsiteX4" fmla="*/ 74619 w 74618"/>
                <a:gd name="connsiteY4" fmla="*/ 37309 h 7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8" h="74618">
                  <a:moveTo>
                    <a:pt x="74619" y="37309"/>
                  </a:moveTo>
                  <a:cubicBezTo>
                    <a:pt x="74619" y="58037"/>
                    <a:pt x="58037" y="74619"/>
                    <a:pt x="37309" y="74619"/>
                  </a:cubicBezTo>
                  <a:cubicBezTo>
                    <a:pt x="16582" y="74619"/>
                    <a:pt x="0" y="58037"/>
                    <a:pt x="0" y="37309"/>
                  </a:cubicBezTo>
                  <a:cubicBezTo>
                    <a:pt x="0" y="16582"/>
                    <a:pt x="16582" y="0"/>
                    <a:pt x="37309" y="0"/>
                  </a:cubicBezTo>
                  <a:cubicBezTo>
                    <a:pt x="58037" y="0"/>
                    <a:pt x="74619" y="16582"/>
                    <a:pt x="74619" y="37309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D973BA19-FA83-4BA1-ADA5-E6919374685B}"/>
                </a:ext>
              </a:extLst>
            </p:cNvPr>
            <p:cNvSpPr/>
            <p:nvPr/>
          </p:nvSpPr>
          <p:spPr>
            <a:xfrm>
              <a:off x="10198158" y="4894346"/>
              <a:ext cx="74618" cy="74618"/>
            </a:xfrm>
            <a:custGeom>
              <a:avLst/>
              <a:gdLst>
                <a:gd name="connsiteX0" fmla="*/ 74619 w 74618"/>
                <a:gd name="connsiteY0" fmla="*/ 37309 h 74618"/>
                <a:gd name="connsiteX1" fmla="*/ 37309 w 74618"/>
                <a:gd name="connsiteY1" fmla="*/ 74619 h 74618"/>
                <a:gd name="connsiteX2" fmla="*/ 0 w 74618"/>
                <a:gd name="connsiteY2" fmla="*/ 37309 h 74618"/>
                <a:gd name="connsiteX3" fmla="*/ 37309 w 74618"/>
                <a:gd name="connsiteY3" fmla="*/ 0 h 74618"/>
                <a:gd name="connsiteX4" fmla="*/ 74619 w 74618"/>
                <a:gd name="connsiteY4" fmla="*/ 37309 h 7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8" h="74618">
                  <a:moveTo>
                    <a:pt x="74619" y="37309"/>
                  </a:moveTo>
                  <a:cubicBezTo>
                    <a:pt x="74619" y="58037"/>
                    <a:pt x="58037" y="74619"/>
                    <a:pt x="37309" y="74619"/>
                  </a:cubicBezTo>
                  <a:cubicBezTo>
                    <a:pt x="16582" y="74619"/>
                    <a:pt x="0" y="58037"/>
                    <a:pt x="0" y="37309"/>
                  </a:cubicBezTo>
                  <a:cubicBezTo>
                    <a:pt x="0" y="16582"/>
                    <a:pt x="16582" y="0"/>
                    <a:pt x="37309" y="0"/>
                  </a:cubicBezTo>
                  <a:cubicBezTo>
                    <a:pt x="57208" y="0"/>
                    <a:pt x="74619" y="16582"/>
                    <a:pt x="74619" y="37309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06AFADD4-4380-488D-BEC7-63071AF58C1C}"/>
                </a:ext>
              </a:extLst>
            </p:cNvPr>
            <p:cNvSpPr/>
            <p:nvPr/>
          </p:nvSpPr>
          <p:spPr>
            <a:xfrm>
              <a:off x="10020731" y="3026388"/>
              <a:ext cx="108611" cy="117731"/>
            </a:xfrm>
            <a:custGeom>
              <a:avLst/>
              <a:gdLst>
                <a:gd name="connsiteX0" fmla="*/ 0 w 108611"/>
                <a:gd name="connsiteY0" fmla="*/ 0 h 117731"/>
                <a:gd name="connsiteX1" fmla="*/ 108611 w 108611"/>
                <a:gd name="connsiteY1" fmla="*/ 0 h 117731"/>
                <a:gd name="connsiteX2" fmla="*/ 108611 w 108611"/>
                <a:gd name="connsiteY2" fmla="*/ 117732 h 117731"/>
                <a:gd name="connsiteX3" fmla="*/ 0 w 108611"/>
                <a:gd name="connsiteY3" fmla="*/ 117732 h 11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11" h="117731">
                  <a:moveTo>
                    <a:pt x="0" y="0"/>
                  </a:moveTo>
                  <a:lnTo>
                    <a:pt x="108611" y="0"/>
                  </a:lnTo>
                  <a:lnTo>
                    <a:pt x="108611" y="117732"/>
                  </a:lnTo>
                  <a:lnTo>
                    <a:pt x="0" y="117732"/>
                  </a:ln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5DA8B64D-D6EB-4FA1-B021-F4615FF4033E}"/>
                </a:ext>
              </a:extLst>
            </p:cNvPr>
            <p:cNvSpPr/>
            <p:nvPr/>
          </p:nvSpPr>
          <p:spPr>
            <a:xfrm>
              <a:off x="9869006" y="3760140"/>
              <a:ext cx="388857" cy="708879"/>
            </a:xfrm>
            <a:custGeom>
              <a:avLst/>
              <a:gdLst>
                <a:gd name="connsiteX0" fmla="*/ 311741 w 388857"/>
                <a:gd name="connsiteY0" fmla="*/ 0 h 708879"/>
                <a:gd name="connsiteX1" fmla="*/ 77934 w 388857"/>
                <a:gd name="connsiteY1" fmla="*/ 0 h 708879"/>
                <a:gd name="connsiteX2" fmla="*/ 0 w 388857"/>
                <a:gd name="connsiteY2" fmla="*/ 232977 h 708879"/>
                <a:gd name="connsiteX3" fmla="*/ 75448 w 388857"/>
                <a:gd name="connsiteY3" fmla="*/ 708879 h 708879"/>
                <a:gd name="connsiteX4" fmla="*/ 313399 w 388857"/>
                <a:gd name="connsiteY4" fmla="*/ 708879 h 708879"/>
                <a:gd name="connsiteX5" fmla="*/ 388846 w 388857"/>
                <a:gd name="connsiteY5" fmla="*/ 232977 h 708879"/>
                <a:gd name="connsiteX6" fmla="*/ 311741 w 388857"/>
                <a:gd name="connsiteY6" fmla="*/ 0 h 70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8857" h="708879">
                  <a:moveTo>
                    <a:pt x="311741" y="0"/>
                  </a:moveTo>
                  <a:lnTo>
                    <a:pt x="77934" y="0"/>
                  </a:lnTo>
                  <a:cubicBezTo>
                    <a:pt x="47258" y="39797"/>
                    <a:pt x="0" y="120219"/>
                    <a:pt x="0" y="232977"/>
                  </a:cubicBezTo>
                  <a:cubicBezTo>
                    <a:pt x="0" y="371436"/>
                    <a:pt x="57207" y="627627"/>
                    <a:pt x="75448" y="708879"/>
                  </a:cubicBezTo>
                  <a:lnTo>
                    <a:pt x="313399" y="708879"/>
                  </a:lnTo>
                  <a:cubicBezTo>
                    <a:pt x="332468" y="627627"/>
                    <a:pt x="388846" y="371436"/>
                    <a:pt x="388846" y="232977"/>
                  </a:cubicBezTo>
                  <a:cubicBezTo>
                    <a:pt x="389676" y="119390"/>
                    <a:pt x="342417" y="39797"/>
                    <a:pt x="311741" y="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7AADB85D-25A3-46E9-AC25-8F977C322FF6}"/>
                </a:ext>
              </a:extLst>
            </p:cNvPr>
            <p:cNvSpPr/>
            <p:nvPr/>
          </p:nvSpPr>
          <p:spPr>
            <a:xfrm>
              <a:off x="9796874" y="3151581"/>
              <a:ext cx="128510" cy="204787"/>
            </a:xfrm>
            <a:custGeom>
              <a:avLst/>
              <a:gdLst>
                <a:gd name="connsiteX0" fmla="*/ 94517 w 128510"/>
                <a:gd name="connsiteY0" fmla="*/ 204787 h 204787"/>
                <a:gd name="connsiteX1" fmla="*/ 0 w 128510"/>
                <a:gd name="connsiteY1" fmla="*/ 129339 h 204787"/>
                <a:gd name="connsiteX2" fmla="*/ 128510 w 128510"/>
                <a:gd name="connsiteY2" fmla="*/ 0 h 204787"/>
                <a:gd name="connsiteX3" fmla="*/ 94517 w 128510"/>
                <a:gd name="connsiteY3" fmla="*/ 204787 h 20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10" h="204787">
                  <a:moveTo>
                    <a:pt x="94517" y="204787"/>
                  </a:moveTo>
                  <a:lnTo>
                    <a:pt x="0" y="129339"/>
                  </a:lnTo>
                  <a:cubicBezTo>
                    <a:pt x="0" y="129339"/>
                    <a:pt x="37309" y="11607"/>
                    <a:pt x="128510" y="0"/>
                  </a:cubicBezTo>
                  <a:lnTo>
                    <a:pt x="94517" y="204787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F2EB797-E005-4216-87FD-14207B3054AE}"/>
                </a:ext>
              </a:extLst>
            </p:cNvPr>
            <p:cNvSpPr/>
            <p:nvPr/>
          </p:nvSpPr>
          <p:spPr>
            <a:xfrm>
              <a:off x="9880095" y="3144120"/>
              <a:ext cx="383936" cy="666594"/>
            </a:xfrm>
            <a:custGeom>
              <a:avLst/>
              <a:gdLst>
                <a:gd name="connsiteX0" fmla="*/ 20416 w 383936"/>
                <a:gd name="connsiteY0" fmla="*/ 271115 h 666594"/>
                <a:gd name="connsiteX1" fmla="*/ 75136 w 383936"/>
                <a:gd name="connsiteY1" fmla="*/ 544717 h 666594"/>
                <a:gd name="connsiteX2" fmla="*/ 67675 w 383936"/>
                <a:gd name="connsiteY2" fmla="*/ 615191 h 666594"/>
                <a:gd name="connsiteX3" fmla="*/ 200331 w 383936"/>
                <a:gd name="connsiteY3" fmla="*/ 666595 h 666594"/>
                <a:gd name="connsiteX4" fmla="*/ 303138 w 383936"/>
                <a:gd name="connsiteY4" fmla="*/ 623482 h 666594"/>
                <a:gd name="connsiteX5" fmla="*/ 295677 w 383936"/>
                <a:gd name="connsiteY5" fmla="*/ 544717 h 666594"/>
                <a:gd name="connsiteX6" fmla="*/ 362005 w 383936"/>
                <a:gd name="connsiteY6" fmla="*/ 289355 h 666594"/>
                <a:gd name="connsiteX7" fmla="*/ 383561 w 383936"/>
                <a:gd name="connsiteY7" fmla="*/ 88713 h 666594"/>
                <a:gd name="connsiteX8" fmla="*/ 314746 w 383936"/>
                <a:gd name="connsiteY8" fmla="*/ 0 h 666594"/>
                <a:gd name="connsiteX9" fmla="*/ 69333 w 383936"/>
                <a:gd name="connsiteY9" fmla="*/ 0 h 666594"/>
                <a:gd name="connsiteX10" fmla="*/ 517 w 383936"/>
                <a:gd name="connsiteY10" fmla="*/ 88713 h 666594"/>
                <a:gd name="connsiteX11" fmla="*/ 20416 w 383936"/>
                <a:gd name="connsiteY11" fmla="*/ 271115 h 666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3936" h="666594">
                  <a:moveTo>
                    <a:pt x="20416" y="271115"/>
                  </a:moveTo>
                  <a:cubicBezTo>
                    <a:pt x="42802" y="298475"/>
                    <a:pt x="70162" y="481706"/>
                    <a:pt x="75136" y="544717"/>
                  </a:cubicBezTo>
                  <a:cubicBezTo>
                    <a:pt x="77624" y="584514"/>
                    <a:pt x="75136" y="591147"/>
                    <a:pt x="67675" y="615191"/>
                  </a:cubicBezTo>
                  <a:cubicBezTo>
                    <a:pt x="67675" y="615191"/>
                    <a:pt x="93377" y="666595"/>
                    <a:pt x="200331" y="666595"/>
                  </a:cubicBezTo>
                  <a:cubicBezTo>
                    <a:pt x="289044" y="666595"/>
                    <a:pt x="303138" y="623482"/>
                    <a:pt x="303138" y="623482"/>
                  </a:cubicBezTo>
                  <a:cubicBezTo>
                    <a:pt x="295677" y="599438"/>
                    <a:pt x="293189" y="584514"/>
                    <a:pt x="295677" y="544717"/>
                  </a:cubicBezTo>
                  <a:cubicBezTo>
                    <a:pt x="299822" y="485852"/>
                    <a:pt x="341277" y="318374"/>
                    <a:pt x="362005" y="289355"/>
                  </a:cubicBezTo>
                  <a:lnTo>
                    <a:pt x="383561" y="88713"/>
                  </a:lnTo>
                  <a:cubicBezTo>
                    <a:pt x="387707" y="40626"/>
                    <a:pt x="357029" y="0"/>
                    <a:pt x="314746" y="0"/>
                  </a:cubicBezTo>
                  <a:lnTo>
                    <a:pt x="69333" y="0"/>
                  </a:lnTo>
                  <a:cubicBezTo>
                    <a:pt x="27049" y="0"/>
                    <a:pt x="-4457" y="40626"/>
                    <a:pt x="517" y="88713"/>
                  </a:cubicBezTo>
                  <a:lnTo>
                    <a:pt x="20416" y="27111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EA5698AE-AE77-460C-BDB8-739A5ED7902E}"/>
                </a:ext>
              </a:extLst>
            </p:cNvPr>
            <p:cNvSpPr/>
            <p:nvPr/>
          </p:nvSpPr>
          <p:spPr>
            <a:xfrm>
              <a:off x="9887246" y="3290041"/>
              <a:ext cx="376410" cy="210590"/>
            </a:xfrm>
            <a:custGeom>
              <a:avLst/>
              <a:gdLst>
                <a:gd name="connsiteX0" fmla="*/ 105295 w 376410"/>
                <a:gd name="connsiteY0" fmla="*/ 210591 h 210590"/>
                <a:gd name="connsiteX1" fmla="*/ 271115 w 376410"/>
                <a:gd name="connsiteY1" fmla="*/ 210591 h 210590"/>
                <a:gd name="connsiteX2" fmla="*/ 376411 w 376410"/>
                <a:gd name="connsiteY2" fmla="*/ 105295 h 210590"/>
                <a:gd name="connsiteX3" fmla="*/ 376411 w 376410"/>
                <a:gd name="connsiteY3" fmla="*/ 105295 h 210590"/>
                <a:gd name="connsiteX4" fmla="*/ 271115 w 376410"/>
                <a:gd name="connsiteY4" fmla="*/ 0 h 210590"/>
                <a:gd name="connsiteX5" fmla="*/ 105295 w 376410"/>
                <a:gd name="connsiteY5" fmla="*/ 0 h 210590"/>
                <a:gd name="connsiteX6" fmla="*/ 0 w 376410"/>
                <a:gd name="connsiteY6" fmla="*/ 105295 h 210590"/>
                <a:gd name="connsiteX7" fmla="*/ 0 w 376410"/>
                <a:gd name="connsiteY7" fmla="*/ 105295 h 210590"/>
                <a:gd name="connsiteX8" fmla="*/ 105295 w 376410"/>
                <a:gd name="connsiteY8" fmla="*/ 210591 h 21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6410" h="210590">
                  <a:moveTo>
                    <a:pt x="105295" y="210591"/>
                  </a:moveTo>
                  <a:lnTo>
                    <a:pt x="271115" y="210591"/>
                  </a:lnTo>
                  <a:cubicBezTo>
                    <a:pt x="329152" y="210591"/>
                    <a:pt x="376411" y="163332"/>
                    <a:pt x="376411" y="105295"/>
                  </a:cubicBezTo>
                  <a:lnTo>
                    <a:pt x="376411" y="105295"/>
                  </a:lnTo>
                  <a:cubicBezTo>
                    <a:pt x="376411" y="47258"/>
                    <a:pt x="329152" y="0"/>
                    <a:pt x="271115" y="0"/>
                  </a:cubicBezTo>
                  <a:lnTo>
                    <a:pt x="105295" y="0"/>
                  </a:lnTo>
                  <a:cubicBezTo>
                    <a:pt x="47258" y="0"/>
                    <a:pt x="0" y="47258"/>
                    <a:pt x="0" y="105295"/>
                  </a:cubicBezTo>
                  <a:lnTo>
                    <a:pt x="0" y="105295"/>
                  </a:lnTo>
                  <a:cubicBezTo>
                    <a:pt x="0" y="164161"/>
                    <a:pt x="47258" y="210591"/>
                    <a:pt x="105295" y="21059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E89BC57-ACCB-44C9-9DD7-A60B78D4FEDB}"/>
                </a:ext>
              </a:extLst>
            </p:cNvPr>
            <p:cNvSpPr/>
            <p:nvPr/>
          </p:nvSpPr>
          <p:spPr>
            <a:xfrm>
              <a:off x="9979275" y="3144120"/>
              <a:ext cx="192351" cy="207274"/>
            </a:xfrm>
            <a:custGeom>
              <a:avLst/>
              <a:gdLst>
                <a:gd name="connsiteX0" fmla="*/ 96175 w 192351"/>
                <a:gd name="connsiteY0" fmla="*/ 207275 h 207274"/>
                <a:gd name="connsiteX1" fmla="*/ 0 w 192351"/>
                <a:gd name="connsiteY1" fmla="*/ 0 h 207274"/>
                <a:gd name="connsiteX2" fmla="*/ 192351 w 192351"/>
                <a:gd name="connsiteY2" fmla="*/ 0 h 207274"/>
                <a:gd name="connsiteX3" fmla="*/ 96175 w 192351"/>
                <a:gd name="connsiteY3" fmla="*/ 207275 h 20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351" h="207274">
                  <a:moveTo>
                    <a:pt x="96175" y="207275"/>
                  </a:moveTo>
                  <a:cubicBezTo>
                    <a:pt x="96175" y="207275"/>
                    <a:pt x="5804" y="115245"/>
                    <a:pt x="0" y="0"/>
                  </a:cubicBezTo>
                  <a:lnTo>
                    <a:pt x="192351" y="0"/>
                  </a:lnTo>
                  <a:cubicBezTo>
                    <a:pt x="186547" y="115245"/>
                    <a:pt x="96175" y="207275"/>
                    <a:pt x="96175" y="207275"/>
                  </a:cubicBezTo>
                  <a:close/>
                </a:path>
              </a:pathLst>
            </a:custGeom>
            <a:solidFill>
              <a:schemeClr val="bg1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87ED888-9886-4E84-9D8C-FC1F2BB39BE3}"/>
                </a:ext>
              </a:extLst>
            </p:cNvPr>
            <p:cNvSpPr/>
            <p:nvPr/>
          </p:nvSpPr>
          <p:spPr>
            <a:xfrm>
              <a:off x="10225518" y="3151581"/>
              <a:ext cx="115243" cy="185717"/>
            </a:xfrm>
            <a:custGeom>
              <a:avLst/>
              <a:gdLst>
                <a:gd name="connsiteX0" fmla="*/ 8291 w 115243"/>
                <a:gd name="connsiteY0" fmla="*/ 185718 h 185717"/>
                <a:gd name="connsiteX1" fmla="*/ 115244 w 115243"/>
                <a:gd name="connsiteY1" fmla="*/ 125194 h 185717"/>
                <a:gd name="connsiteX2" fmla="*/ 0 w 115243"/>
                <a:gd name="connsiteY2" fmla="*/ 0 h 185717"/>
                <a:gd name="connsiteX3" fmla="*/ 8291 w 115243"/>
                <a:gd name="connsiteY3" fmla="*/ 185718 h 18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43" h="185717">
                  <a:moveTo>
                    <a:pt x="8291" y="185718"/>
                  </a:moveTo>
                  <a:lnTo>
                    <a:pt x="115244" y="125194"/>
                  </a:lnTo>
                  <a:cubicBezTo>
                    <a:pt x="115244" y="125194"/>
                    <a:pt x="82080" y="11607"/>
                    <a:pt x="0" y="0"/>
                  </a:cubicBezTo>
                  <a:lnTo>
                    <a:pt x="8291" y="185718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83" name="Graphic 80">
            <a:extLst>
              <a:ext uri="{FF2B5EF4-FFF2-40B4-BE49-F238E27FC236}">
                <a16:creationId xmlns:a16="http://schemas.microsoft.com/office/drawing/2014/main" id="{7BFD2423-2782-4108-BE6D-327083A3376C}"/>
              </a:ext>
            </a:extLst>
          </p:cNvPr>
          <p:cNvGrpSpPr/>
          <p:nvPr/>
        </p:nvGrpSpPr>
        <p:grpSpPr>
          <a:xfrm>
            <a:off x="9640130" y="2127430"/>
            <a:ext cx="444602" cy="557580"/>
            <a:chOff x="9822576" y="2135936"/>
            <a:chExt cx="453517" cy="568761"/>
          </a:xfrm>
          <a:solidFill>
            <a:schemeClr val="accent1"/>
          </a:solidFill>
        </p:grpSpPr>
        <p:grpSp>
          <p:nvGrpSpPr>
            <p:cNvPr id="203" name="Graphic 80">
              <a:extLst>
                <a:ext uri="{FF2B5EF4-FFF2-40B4-BE49-F238E27FC236}">
                  <a16:creationId xmlns:a16="http://schemas.microsoft.com/office/drawing/2014/main" id="{E2682ADC-E02F-4A3A-B1E6-620626C5F822}"/>
                </a:ext>
              </a:extLst>
            </p:cNvPr>
            <p:cNvGrpSpPr/>
            <p:nvPr/>
          </p:nvGrpSpPr>
          <p:grpSpPr>
            <a:xfrm>
              <a:off x="9822576" y="2135936"/>
              <a:ext cx="453517" cy="568761"/>
              <a:chOff x="9822576" y="2135936"/>
              <a:chExt cx="453517" cy="568761"/>
            </a:xfrm>
            <a:solidFill>
              <a:schemeClr val="accent1"/>
            </a:solidFill>
          </p:grpSpPr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250703D5-2B72-4A75-8055-E7305EB00336}"/>
                  </a:ext>
                </a:extLst>
              </p:cNvPr>
              <p:cNvSpPr/>
              <p:nvPr/>
            </p:nvSpPr>
            <p:spPr>
              <a:xfrm rot="-10800000">
                <a:off x="9834598" y="2147883"/>
                <a:ext cx="429472" cy="544717"/>
              </a:xfrm>
              <a:custGeom>
                <a:avLst/>
                <a:gdLst>
                  <a:gd name="connsiteX0" fmla="*/ 0 w 429472"/>
                  <a:gd name="connsiteY0" fmla="*/ 0 h 544717"/>
                  <a:gd name="connsiteX1" fmla="*/ 429473 w 429472"/>
                  <a:gd name="connsiteY1" fmla="*/ 0 h 544717"/>
                  <a:gd name="connsiteX2" fmla="*/ 429473 w 429472"/>
                  <a:gd name="connsiteY2" fmla="*/ 544718 h 544717"/>
                  <a:gd name="connsiteX3" fmla="*/ 0 w 429472"/>
                  <a:gd name="connsiteY3" fmla="*/ 544718 h 544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9472" h="544717">
                    <a:moveTo>
                      <a:pt x="0" y="0"/>
                    </a:moveTo>
                    <a:lnTo>
                      <a:pt x="429473" y="0"/>
                    </a:lnTo>
                    <a:lnTo>
                      <a:pt x="429473" y="544718"/>
                    </a:lnTo>
                    <a:lnTo>
                      <a:pt x="0" y="544718"/>
                    </a:lnTo>
                    <a:close/>
                  </a:path>
                </a:pathLst>
              </a:custGeom>
              <a:solidFill>
                <a:srgbClr val="FFFFFF"/>
              </a:solidFill>
              <a:ln w="82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511859D4-D9A6-4663-B133-30F3AE2DA865}"/>
                  </a:ext>
                </a:extLst>
              </p:cNvPr>
              <p:cNvSpPr/>
              <p:nvPr/>
            </p:nvSpPr>
            <p:spPr>
              <a:xfrm>
                <a:off x="9822576" y="2135936"/>
                <a:ext cx="453517" cy="568761"/>
              </a:xfrm>
              <a:custGeom>
                <a:avLst/>
                <a:gdLst>
                  <a:gd name="connsiteX0" fmla="*/ 453517 w 453517"/>
                  <a:gd name="connsiteY0" fmla="*/ 568762 h 568761"/>
                  <a:gd name="connsiteX1" fmla="*/ 0 w 453517"/>
                  <a:gd name="connsiteY1" fmla="*/ 568762 h 568761"/>
                  <a:gd name="connsiteX2" fmla="*/ 0 w 453517"/>
                  <a:gd name="connsiteY2" fmla="*/ 0 h 568761"/>
                  <a:gd name="connsiteX3" fmla="*/ 453517 w 453517"/>
                  <a:gd name="connsiteY3" fmla="*/ 0 h 568761"/>
                  <a:gd name="connsiteX4" fmla="*/ 453517 w 453517"/>
                  <a:gd name="connsiteY4" fmla="*/ 568762 h 568761"/>
                  <a:gd name="connsiteX5" fmla="*/ 24044 w 453517"/>
                  <a:gd name="connsiteY5" fmla="*/ 544718 h 568761"/>
                  <a:gd name="connsiteX6" fmla="*/ 429473 w 453517"/>
                  <a:gd name="connsiteY6" fmla="*/ 544718 h 568761"/>
                  <a:gd name="connsiteX7" fmla="*/ 429473 w 453517"/>
                  <a:gd name="connsiteY7" fmla="*/ 24044 h 568761"/>
                  <a:gd name="connsiteX8" fmla="*/ 24044 w 453517"/>
                  <a:gd name="connsiteY8" fmla="*/ 24044 h 568761"/>
                  <a:gd name="connsiteX9" fmla="*/ 24044 w 453517"/>
                  <a:gd name="connsiteY9" fmla="*/ 544718 h 56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3517" h="568761">
                    <a:moveTo>
                      <a:pt x="453517" y="568762"/>
                    </a:moveTo>
                    <a:lnTo>
                      <a:pt x="0" y="568762"/>
                    </a:lnTo>
                    <a:lnTo>
                      <a:pt x="0" y="0"/>
                    </a:lnTo>
                    <a:lnTo>
                      <a:pt x="453517" y="0"/>
                    </a:lnTo>
                    <a:lnTo>
                      <a:pt x="453517" y="568762"/>
                    </a:lnTo>
                    <a:close/>
                    <a:moveTo>
                      <a:pt x="24044" y="544718"/>
                    </a:moveTo>
                    <a:lnTo>
                      <a:pt x="429473" y="544718"/>
                    </a:lnTo>
                    <a:lnTo>
                      <a:pt x="429473" y="24044"/>
                    </a:lnTo>
                    <a:lnTo>
                      <a:pt x="24044" y="24044"/>
                    </a:lnTo>
                    <a:lnTo>
                      <a:pt x="24044" y="544718"/>
                    </a:lnTo>
                    <a:close/>
                  </a:path>
                </a:pathLst>
              </a:custGeom>
              <a:solidFill>
                <a:schemeClr val="tx1"/>
              </a:solidFill>
              <a:ln w="8287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7AE8EB86-A776-4922-B370-16C21C317E9F}"/>
                </a:ext>
              </a:extLst>
            </p:cNvPr>
            <p:cNvSpPr/>
            <p:nvPr/>
          </p:nvSpPr>
          <p:spPr>
            <a:xfrm rot="-10800000">
              <a:off x="9905071" y="2209776"/>
              <a:ext cx="288526" cy="406258"/>
            </a:xfrm>
            <a:custGeom>
              <a:avLst/>
              <a:gdLst>
                <a:gd name="connsiteX0" fmla="*/ 0 w 288526"/>
                <a:gd name="connsiteY0" fmla="*/ 0 h 406258"/>
                <a:gd name="connsiteX1" fmla="*/ 288526 w 288526"/>
                <a:gd name="connsiteY1" fmla="*/ 0 h 406258"/>
                <a:gd name="connsiteX2" fmla="*/ 288526 w 288526"/>
                <a:gd name="connsiteY2" fmla="*/ 406258 h 406258"/>
                <a:gd name="connsiteX3" fmla="*/ 0 w 288526"/>
                <a:gd name="connsiteY3" fmla="*/ 406258 h 40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526" h="406258">
                  <a:moveTo>
                    <a:pt x="0" y="0"/>
                  </a:moveTo>
                  <a:lnTo>
                    <a:pt x="288526" y="0"/>
                  </a:lnTo>
                  <a:lnTo>
                    <a:pt x="288526" y="406258"/>
                  </a:lnTo>
                  <a:lnTo>
                    <a:pt x="0" y="40625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84" name="Graphic 80">
            <a:extLst>
              <a:ext uri="{FF2B5EF4-FFF2-40B4-BE49-F238E27FC236}">
                <a16:creationId xmlns:a16="http://schemas.microsoft.com/office/drawing/2014/main" id="{D1B959E2-1711-4032-BF2D-E69CBD47BC0B}"/>
              </a:ext>
            </a:extLst>
          </p:cNvPr>
          <p:cNvGrpSpPr/>
          <p:nvPr/>
        </p:nvGrpSpPr>
        <p:grpSpPr>
          <a:xfrm>
            <a:off x="2168733" y="3000377"/>
            <a:ext cx="533196" cy="1904390"/>
            <a:chOff x="2220573" y="3026388"/>
            <a:chExt cx="543888" cy="1942577"/>
          </a:xfrm>
          <a:solidFill>
            <a:schemeClr val="accent1"/>
          </a:solidFill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0036E08-BEA1-4649-AF7C-84C234FB3306}"/>
                </a:ext>
              </a:extLst>
            </p:cNvPr>
            <p:cNvSpPr/>
            <p:nvPr/>
          </p:nvSpPr>
          <p:spPr>
            <a:xfrm>
              <a:off x="2470961" y="4128259"/>
              <a:ext cx="38138" cy="739555"/>
            </a:xfrm>
            <a:custGeom>
              <a:avLst/>
              <a:gdLst>
                <a:gd name="connsiteX0" fmla="*/ 0 w 38138"/>
                <a:gd name="connsiteY0" fmla="*/ 0 h 739555"/>
                <a:gd name="connsiteX1" fmla="*/ 38139 w 38138"/>
                <a:gd name="connsiteY1" fmla="*/ 0 h 739555"/>
                <a:gd name="connsiteX2" fmla="*/ 38139 w 38138"/>
                <a:gd name="connsiteY2" fmla="*/ 739556 h 739555"/>
                <a:gd name="connsiteX3" fmla="*/ 0 w 38138"/>
                <a:gd name="connsiteY3" fmla="*/ 739556 h 7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38" h="739555">
                  <a:moveTo>
                    <a:pt x="0" y="0"/>
                  </a:moveTo>
                  <a:lnTo>
                    <a:pt x="38139" y="0"/>
                  </a:lnTo>
                  <a:lnTo>
                    <a:pt x="38139" y="739556"/>
                  </a:lnTo>
                  <a:lnTo>
                    <a:pt x="0" y="739556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B503EEAD-100D-4D9C-A82E-A23BFD13C5E5}"/>
                </a:ext>
              </a:extLst>
            </p:cNvPr>
            <p:cNvSpPr/>
            <p:nvPr/>
          </p:nvSpPr>
          <p:spPr>
            <a:xfrm>
              <a:off x="2333331" y="4858695"/>
              <a:ext cx="325006" cy="41454"/>
            </a:xfrm>
            <a:custGeom>
              <a:avLst/>
              <a:gdLst>
                <a:gd name="connsiteX0" fmla="*/ 0 w 325006"/>
                <a:gd name="connsiteY0" fmla="*/ 0 h 41454"/>
                <a:gd name="connsiteX1" fmla="*/ 325007 w 325006"/>
                <a:gd name="connsiteY1" fmla="*/ 0 h 41454"/>
                <a:gd name="connsiteX2" fmla="*/ 325007 w 325006"/>
                <a:gd name="connsiteY2" fmla="*/ 41455 h 41454"/>
                <a:gd name="connsiteX3" fmla="*/ 0 w 325006"/>
                <a:gd name="connsiteY3" fmla="*/ 41455 h 4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006" h="41454">
                  <a:moveTo>
                    <a:pt x="0" y="0"/>
                  </a:moveTo>
                  <a:lnTo>
                    <a:pt x="325007" y="0"/>
                  </a:lnTo>
                  <a:lnTo>
                    <a:pt x="325007" y="41455"/>
                  </a:lnTo>
                  <a:lnTo>
                    <a:pt x="0" y="41455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31DA4D6-EDCA-49EE-A8F9-10AAFF06494C}"/>
                </a:ext>
              </a:extLst>
            </p:cNvPr>
            <p:cNvSpPr/>
            <p:nvPr/>
          </p:nvSpPr>
          <p:spPr>
            <a:xfrm>
              <a:off x="2333331" y="4858695"/>
              <a:ext cx="43942" cy="72960"/>
            </a:xfrm>
            <a:custGeom>
              <a:avLst/>
              <a:gdLst>
                <a:gd name="connsiteX0" fmla="*/ 0 w 43942"/>
                <a:gd name="connsiteY0" fmla="*/ 0 h 72960"/>
                <a:gd name="connsiteX1" fmla="*/ 43942 w 43942"/>
                <a:gd name="connsiteY1" fmla="*/ 0 h 72960"/>
                <a:gd name="connsiteX2" fmla="*/ 43942 w 43942"/>
                <a:gd name="connsiteY2" fmla="*/ 72961 h 72960"/>
                <a:gd name="connsiteX3" fmla="*/ 0 w 43942"/>
                <a:gd name="connsiteY3" fmla="*/ 72961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42" h="72960">
                  <a:moveTo>
                    <a:pt x="0" y="0"/>
                  </a:moveTo>
                  <a:lnTo>
                    <a:pt x="43942" y="0"/>
                  </a:lnTo>
                  <a:lnTo>
                    <a:pt x="43942" y="72961"/>
                  </a:lnTo>
                  <a:lnTo>
                    <a:pt x="0" y="72961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FF1322C-2F18-4355-905F-E4706B4CF301}"/>
                </a:ext>
              </a:extLst>
            </p:cNvPr>
            <p:cNvSpPr/>
            <p:nvPr/>
          </p:nvSpPr>
          <p:spPr>
            <a:xfrm>
              <a:off x="2614395" y="4858695"/>
              <a:ext cx="43942" cy="72960"/>
            </a:xfrm>
            <a:custGeom>
              <a:avLst/>
              <a:gdLst>
                <a:gd name="connsiteX0" fmla="*/ 0 w 43942"/>
                <a:gd name="connsiteY0" fmla="*/ 0 h 72960"/>
                <a:gd name="connsiteX1" fmla="*/ 43942 w 43942"/>
                <a:gd name="connsiteY1" fmla="*/ 0 h 72960"/>
                <a:gd name="connsiteX2" fmla="*/ 43942 w 43942"/>
                <a:gd name="connsiteY2" fmla="*/ 72961 h 72960"/>
                <a:gd name="connsiteX3" fmla="*/ 0 w 43942"/>
                <a:gd name="connsiteY3" fmla="*/ 72961 h 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42" h="72960">
                  <a:moveTo>
                    <a:pt x="0" y="0"/>
                  </a:moveTo>
                  <a:lnTo>
                    <a:pt x="43942" y="0"/>
                  </a:lnTo>
                  <a:lnTo>
                    <a:pt x="43942" y="72961"/>
                  </a:lnTo>
                  <a:lnTo>
                    <a:pt x="0" y="72961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B271FB6-F6C8-487B-A2E6-1652C0F79AAF}"/>
                </a:ext>
              </a:extLst>
            </p:cNvPr>
            <p:cNvSpPr/>
            <p:nvPr/>
          </p:nvSpPr>
          <p:spPr>
            <a:xfrm>
              <a:off x="2296021" y="4894346"/>
              <a:ext cx="74618" cy="74618"/>
            </a:xfrm>
            <a:custGeom>
              <a:avLst/>
              <a:gdLst>
                <a:gd name="connsiteX0" fmla="*/ 74619 w 74618"/>
                <a:gd name="connsiteY0" fmla="*/ 37309 h 74618"/>
                <a:gd name="connsiteX1" fmla="*/ 37309 w 74618"/>
                <a:gd name="connsiteY1" fmla="*/ 74619 h 74618"/>
                <a:gd name="connsiteX2" fmla="*/ 0 w 74618"/>
                <a:gd name="connsiteY2" fmla="*/ 37309 h 74618"/>
                <a:gd name="connsiteX3" fmla="*/ 37309 w 74618"/>
                <a:gd name="connsiteY3" fmla="*/ 0 h 74618"/>
                <a:gd name="connsiteX4" fmla="*/ 74619 w 74618"/>
                <a:gd name="connsiteY4" fmla="*/ 37309 h 7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8" h="74618">
                  <a:moveTo>
                    <a:pt x="74619" y="37309"/>
                  </a:moveTo>
                  <a:cubicBezTo>
                    <a:pt x="74619" y="58037"/>
                    <a:pt x="58037" y="74619"/>
                    <a:pt x="37309" y="74619"/>
                  </a:cubicBezTo>
                  <a:cubicBezTo>
                    <a:pt x="16582" y="74619"/>
                    <a:pt x="0" y="58037"/>
                    <a:pt x="0" y="37309"/>
                  </a:cubicBezTo>
                  <a:cubicBezTo>
                    <a:pt x="0" y="16582"/>
                    <a:pt x="16582" y="0"/>
                    <a:pt x="37309" y="0"/>
                  </a:cubicBezTo>
                  <a:cubicBezTo>
                    <a:pt x="58037" y="0"/>
                    <a:pt x="74619" y="16582"/>
                    <a:pt x="74619" y="37309"/>
                  </a:cubicBez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523CBF65-61EB-4A2E-87FD-53ACEE82D523}"/>
                </a:ext>
              </a:extLst>
            </p:cNvPr>
            <p:cNvSpPr/>
            <p:nvPr/>
          </p:nvSpPr>
          <p:spPr>
            <a:xfrm>
              <a:off x="2621028" y="4894346"/>
              <a:ext cx="74618" cy="74618"/>
            </a:xfrm>
            <a:custGeom>
              <a:avLst/>
              <a:gdLst>
                <a:gd name="connsiteX0" fmla="*/ 74619 w 74618"/>
                <a:gd name="connsiteY0" fmla="*/ 37309 h 74618"/>
                <a:gd name="connsiteX1" fmla="*/ 37309 w 74618"/>
                <a:gd name="connsiteY1" fmla="*/ 74619 h 74618"/>
                <a:gd name="connsiteX2" fmla="*/ 0 w 74618"/>
                <a:gd name="connsiteY2" fmla="*/ 37309 h 74618"/>
                <a:gd name="connsiteX3" fmla="*/ 37309 w 74618"/>
                <a:gd name="connsiteY3" fmla="*/ 0 h 74618"/>
                <a:gd name="connsiteX4" fmla="*/ 74619 w 74618"/>
                <a:gd name="connsiteY4" fmla="*/ 37309 h 7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618" h="74618">
                  <a:moveTo>
                    <a:pt x="74619" y="37309"/>
                  </a:moveTo>
                  <a:cubicBezTo>
                    <a:pt x="74619" y="58037"/>
                    <a:pt x="58037" y="74619"/>
                    <a:pt x="37309" y="74619"/>
                  </a:cubicBezTo>
                  <a:cubicBezTo>
                    <a:pt x="16582" y="74619"/>
                    <a:pt x="0" y="58037"/>
                    <a:pt x="0" y="37309"/>
                  </a:cubicBezTo>
                  <a:cubicBezTo>
                    <a:pt x="0" y="16582"/>
                    <a:pt x="16582" y="0"/>
                    <a:pt x="37309" y="0"/>
                  </a:cubicBezTo>
                  <a:cubicBezTo>
                    <a:pt x="58037" y="0"/>
                    <a:pt x="74619" y="16582"/>
                    <a:pt x="74619" y="37309"/>
                  </a:cubicBezTo>
                  <a:close/>
                </a:path>
              </a:pathLst>
            </a:custGeom>
            <a:solidFill>
              <a:srgbClr val="715356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094D3A3A-46CE-41F9-B7BB-E63EFCD365E8}"/>
                </a:ext>
              </a:extLst>
            </p:cNvPr>
            <p:cNvSpPr/>
            <p:nvPr/>
          </p:nvSpPr>
          <p:spPr>
            <a:xfrm>
              <a:off x="2444430" y="3026388"/>
              <a:ext cx="108611" cy="117731"/>
            </a:xfrm>
            <a:custGeom>
              <a:avLst/>
              <a:gdLst>
                <a:gd name="connsiteX0" fmla="*/ 0 w 108611"/>
                <a:gd name="connsiteY0" fmla="*/ 0 h 117731"/>
                <a:gd name="connsiteX1" fmla="*/ 108612 w 108611"/>
                <a:gd name="connsiteY1" fmla="*/ 0 h 117731"/>
                <a:gd name="connsiteX2" fmla="*/ 108612 w 108611"/>
                <a:gd name="connsiteY2" fmla="*/ 117732 h 117731"/>
                <a:gd name="connsiteX3" fmla="*/ 0 w 108611"/>
                <a:gd name="connsiteY3" fmla="*/ 117732 h 11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11" h="117731">
                  <a:moveTo>
                    <a:pt x="0" y="0"/>
                  </a:moveTo>
                  <a:lnTo>
                    <a:pt x="108612" y="0"/>
                  </a:lnTo>
                  <a:lnTo>
                    <a:pt x="108612" y="117732"/>
                  </a:lnTo>
                  <a:lnTo>
                    <a:pt x="0" y="117732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108BB12-15F0-411D-8B7D-1A4276812C19}"/>
                </a:ext>
              </a:extLst>
            </p:cNvPr>
            <p:cNvSpPr/>
            <p:nvPr/>
          </p:nvSpPr>
          <p:spPr>
            <a:xfrm>
              <a:off x="2292705" y="3760140"/>
              <a:ext cx="388857" cy="708879"/>
            </a:xfrm>
            <a:custGeom>
              <a:avLst/>
              <a:gdLst>
                <a:gd name="connsiteX0" fmla="*/ 311741 w 388857"/>
                <a:gd name="connsiteY0" fmla="*/ 0 h 708879"/>
                <a:gd name="connsiteX1" fmla="*/ 77935 w 388857"/>
                <a:gd name="connsiteY1" fmla="*/ 0 h 708879"/>
                <a:gd name="connsiteX2" fmla="*/ 0 w 388857"/>
                <a:gd name="connsiteY2" fmla="*/ 232977 h 708879"/>
                <a:gd name="connsiteX3" fmla="*/ 75448 w 388857"/>
                <a:gd name="connsiteY3" fmla="*/ 708879 h 708879"/>
                <a:gd name="connsiteX4" fmla="*/ 313399 w 388857"/>
                <a:gd name="connsiteY4" fmla="*/ 708879 h 708879"/>
                <a:gd name="connsiteX5" fmla="*/ 388847 w 388857"/>
                <a:gd name="connsiteY5" fmla="*/ 232977 h 708879"/>
                <a:gd name="connsiteX6" fmla="*/ 311741 w 388857"/>
                <a:gd name="connsiteY6" fmla="*/ 0 h 70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8857" h="708879">
                  <a:moveTo>
                    <a:pt x="311741" y="0"/>
                  </a:moveTo>
                  <a:lnTo>
                    <a:pt x="77935" y="0"/>
                  </a:lnTo>
                  <a:cubicBezTo>
                    <a:pt x="47259" y="39797"/>
                    <a:pt x="0" y="120219"/>
                    <a:pt x="0" y="232977"/>
                  </a:cubicBezTo>
                  <a:cubicBezTo>
                    <a:pt x="0" y="371436"/>
                    <a:pt x="57208" y="627627"/>
                    <a:pt x="75448" y="708879"/>
                  </a:cubicBezTo>
                  <a:lnTo>
                    <a:pt x="313399" y="708879"/>
                  </a:lnTo>
                  <a:cubicBezTo>
                    <a:pt x="332468" y="627627"/>
                    <a:pt x="388847" y="371436"/>
                    <a:pt x="388847" y="232977"/>
                  </a:cubicBezTo>
                  <a:cubicBezTo>
                    <a:pt x="389676" y="120219"/>
                    <a:pt x="342418" y="39797"/>
                    <a:pt x="311741" y="0"/>
                  </a:cubicBezTo>
                  <a:close/>
                </a:path>
              </a:pathLst>
            </a:custGeom>
            <a:solidFill>
              <a:srgbClr val="23ADAD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7444E82B-DAA7-4879-B952-05DF1DDCDFE0}"/>
                </a:ext>
              </a:extLst>
            </p:cNvPr>
            <p:cNvSpPr/>
            <p:nvPr/>
          </p:nvSpPr>
          <p:spPr>
            <a:xfrm>
              <a:off x="2220573" y="3151581"/>
              <a:ext cx="128510" cy="204787"/>
            </a:xfrm>
            <a:custGeom>
              <a:avLst/>
              <a:gdLst>
                <a:gd name="connsiteX0" fmla="*/ 94517 w 128510"/>
                <a:gd name="connsiteY0" fmla="*/ 204787 h 204787"/>
                <a:gd name="connsiteX1" fmla="*/ 0 w 128510"/>
                <a:gd name="connsiteY1" fmla="*/ 129339 h 204787"/>
                <a:gd name="connsiteX2" fmla="*/ 128510 w 128510"/>
                <a:gd name="connsiteY2" fmla="*/ 0 h 204787"/>
                <a:gd name="connsiteX3" fmla="*/ 94517 w 128510"/>
                <a:gd name="connsiteY3" fmla="*/ 204787 h 20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10" h="204787">
                  <a:moveTo>
                    <a:pt x="94517" y="204787"/>
                  </a:moveTo>
                  <a:lnTo>
                    <a:pt x="0" y="129339"/>
                  </a:lnTo>
                  <a:cubicBezTo>
                    <a:pt x="0" y="129339"/>
                    <a:pt x="37309" y="11607"/>
                    <a:pt x="128510" y="0"/>
                  </a:cubicBezTo>
                  <a:lnTo>
                    <a:pt x="94517" y="204787"/>
                  </a:lnTo>
                  <a:close/>
                </a:path>
              </a:pathLst>
            </a:custGeom>
            <a:solidFill>
              <a:srgbClr val="23ADAD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D7DB0447-2D0A-47DA-BFD5-2C82F32A716F}"/>
                </a:ext>
              </a:extLst>
            </p:cNvPr>
            <p:cNvSpPr/>
            <p:nvPr/>
          </p:nvSpPr>
          <p:spPr>
            <a:xfrm>
              <a:off x="2303795" y="3144120"/>
              <a:ext cx="383935" cy="666594"/>
            </a:xfrm>
            <a:custGeom>
              <a:avLst/>
              <a:gdLst>
                <a:gd name="connsiteX0" fmla="*/ 20416 w 383935"/>
                <a:gd name="connsiteY0" fmla="*/ 271115 h 666594"/>
                <a:gd name="connsiteX1" fmla="*/ 75136 w 383935"/>
                <a:gd name="connsiteY1" fmla="*/ 544717 h 666594"/>
                <a:gd name="connsiteX2" fmla="*/ 67674 w 383935"/>
                <a:gd name="connsiteY2" fmla="*/ 615191 h 666594"/>
                <a:gd name="connsiteX3" fmla="*/ 200330 w 383935"/>
                <a:gd name="connsiteY3" fmla="*/ 666595 h 666594"/>
                <a:gd name="connsiteX4" fmla="*/ 303138 w 383935"/>
                <a:gd name="connsiteY4" fmla="*/ 623482 h 666594"/>
                <a:gd name="connsiteX5" fmla="*/ 295676 w 383935"/>
                <a:gd name="connsiteY5" fmla="*/ 544717 h 666594"/>
                <a:gd name="connsiteX6" fmla="*/ 362004 w 383935"/>
                <a:gd name="connsiteY6" fmla="*/ 289355 h 666594"/>
                <a:gd name="connsiteX7" fmla="*/ 383561 w 383935"/>
                <a:gd name="connsiteY7" fmla="*/ 88713 h 666594"/>
                <a:gd name="connsiteX8" fmla="*/ 314745 w 383935"/>
                <a:gd name="connsiteY8" fmla="*/ 0 h 666594"/>
                <a:gd name="connsiteX9" fmla="*/ 69333 w 383935"/>
                <a:gd name="connsiteY9" fmla="*/ 0 h 666594"/>
                <a:gd name="connsiteX10" fmla="*/ 517 w 383935"/>
                <a:gd name="connsiteY10" fmla="*/ 88713 h 666594"/>
                <a:gd name="connsiteX11" fmla="*/ 20416 w 383935"/>
                <a:gd name="connsiteY11" fmla="*/ 271115 h 666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3935" h="666594">
                  <a:moveTo>
                    <a:pt x="20416" y="271115"/>
                  </a:moveTo>
                  <a:cubicBezTo>
                    <a:pt x="42801" y="298475"/>
                    <a:pt x="70161" y="481706"/>
                    <a:pt x="75136" y="544717"/>
                  </a:cubicBezTo>
                  <a:cubicBezTo>
                    <a:pt x="77624" y="584514"/>
                    <a:pt x="75136" y="591147"/>
                    <a:pt x="67674" y="615191"/>
                  </a:cubicBezTo>
                  <a:cubicBezTo>
                    <a:pt x="67674" y="615191"/>
                    <a:pt x="93376" y="666595"/>
                    <a:pt x="200330" y="666595"/>
                  </a:cubicBezTo>
                  <a:cubicBezTo>
                    <a:pt x="289044" y="666595"/>
                    <a:pt x="303138" y="623482"/>
                    <a:pt x="303138" y="623482"/>
                  </a:cubicBezTo>
                  <a:cubicBezTo>
                    <a:pt x="295676" y="599438"/>
                    <a:pt x="293189" y="584514"/>
                    <a:pt x="295676" y="544717"/>
                  </a:cubicBezTo>
                  <a:cubicBezTo>
                    <a:pt x="299822" y="485852"/>
                    <a:pt x="341277" y="318374"/>
                    <a:pt x="362004" y="289355"/>
                  </a:cubicBezTo>
                  <a:lnTo>
                    <a:pt x="383561" y="88713"/>
                  </a:lnTo>
                  <a:cubicBezTo>
                    <a:pt x="387706" y="40626"/>
                    <a:pt x="357030" y="0"/>
                    <a:pt x="314745" y="0"/>
                  </a:cubicBezTo>
                  <a:lnTo>
                    <a:pt x="69333" y="0"/>
                  </a:lnTo>
                  <a:cubicBezTo>
                    <a:pt x="27048" y="0"/>
                    <a:pt x="-4457" y="40626"/>
                    <a:pt x="517" y="88713"/>
                  </a:cubicBezTo>
                  <a:lnTo>
                    <a:pt x="20416" y="271115"/>
                  </a:lnTo>
                  <a:close/>
                </a:path>
              </a:pathLst>
            </a:custGeom>
            <a:solidFill>
              <a:srgbClr val="23ADAD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5F32C6C0-6ECE-4E02-8F94-303A5736DEDF}"/>
                </a:ext>
              </a:extLst>
            </p:cNvPr>
            <p:cNvSpPr/>
            <p:nvPr/>
          </p:nvSpPr>
          <p:spPr>
            <a:xfrm>
              <a:off x="2310945" y="3290041"/>
              <a:ext cx="376410" cy="210590"/>
            </a:xfrm>
            <a:custGeom>
              <a:avLst/>
              <a:gdLst>
                <a:gd name="connsiteX0" fmla="*/ 105295 w 376410"/>
                <a:gd name="connsiteY0" fmla="*/ 210591 h 210590"/>
                <a:gd name="connsiteX1" fmla="*/ 271115 w 376410"/>
                <a:gd name="connsiteY1" fmla="*/ 210591 h 210590"/>
                <a:gd name="connsiteX2" fmla="*/ 376411 w 376410"/>
                <a:gd name="connsiteY2" fmla="*/ 105295 h 210590"/>
                <a:gd name="connsiteX3" fmla="*/ 376411 w 376410"/>
                <a:gd name="connsiteY3" fmla="*/ 105295 h 210590"/>
                <a:gd name="connsiteX4" fmla="*/ 271115 w 376410"/>
                <a:gd name="connsiteY4" fmla="*/ 0 h 210590"/>
                <a:gd name="connsiteX5" fmla="*/ 105295 w 376410"/>
                <a:gd name="connsiteY5" fmla="*/ 0 h 210590"/>
                <a:gd name="connsiteX6" fmla="*/ 0 w 376410"/>
                <a:gd name="connsiteY6" fmla="*/ 105295 h 210590"/>
                <a:gd name="connsiteX7" fmla="*/ 0 w 376410"/>
                <a:gd name="connsiteY7" fmla="*/ 105295 h 210590"/>
                <a:gd name="connsiteX8" fmla="*/ 105295 w 376410"/>
                <a:gd name="connsiteY8" fmla="*/ 210591 h 21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6410" h="210590">
                  <a:moveTo>
                    <a:pt x="105295" y="210591"/>
                  </a:moveTo>
                  <a:lnTo>
                    <a:pt x="271115" y="210591"/>
                  </a:lnTo>
                  <a:cubicBezTo>
                    <a:pt x="329152" y="210591"/>
                    <a:pt x="376411" y="163332"/>
                    <a:pt x="376411" y="105295"/>
                  </a:cubicBezTo>
                  <a:lnTo>
                    <a:pt x="376411" y="105295"/>
                  </a:lnTo>
                  <a:cubicBezTo>
                    <a:pt x="376411" y="47258"/>
                    <a:pt x="329152" y="0"/>
                    <a:pt x="271115" y="0"/>
                  </a:cubicBezTo>
                  <a:lnTo>
                    <a:pt x="105295" y="0"/>
                  </a:lnTo>
                  <a:cubicBezTo>
                    <a:pt x="47258" y="0"/>
                    <a:pt x="0" y="47258"/>
                    <a:pt x="0" y="105295"/>
                  </a:cubicBezTo>
                  <a:lnTo>
                    <a:pt x="0" y="105295"/>
                  </a:lnTo>
                  <a:cubicBezTo>
                    <a:pt x="0" y="164161"/>
                    <a:pt x="47258" y="210591"/>
                    <a:pt x="105295" y="210591"/>
                  </a:cubicBezTo>
                  <a:close/>
                </a:path>
              </a:pathLst>
            </a:custGeom>
            <a:solidFill>
              <a:srgbClr val="23ADAD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83E7D984-188F-4CE0-AC15-B426282D7DA7}"/>
                </a:ext>
              </a:extLst>
            </p:cNvPr>
            <p:cNvSpPr/>
            <p:nvPr/>
          </p:nvSpPr>
          <p:spPr>
            <a:xfrm>
              <a:off x="2402975" y="3144120"/>
              <a:ext cx="192350" cy="207274"/>
            </a:xfrm>
            <a:custGeom>
              <a:avLst/>
              <a:gdLst>
                <a:gd name="connsiteX0" fmla="*/ 96175 w 192350"/>
                <a:gd name="connsiteY0" fmla="*/ 207275 h 207274"/>
                <a:gd name="connsiteX1" fmla="*/ 0 w 192350"/>
                <a:gd name="connsiteY1" fmla="*/ 0 h 207274"/>
                <a:gd name="connsiteX2" fmla="*/ 192351 w 192350"/>
                <a:gd name="connsiteY2" fmla="*/ 0 h 207274"/>
                <a:gd name="connsiteX3" fmla="*/ 96175 w 192350"/>
                <a:gd name="connsiteY3" fmla="*/ 207275 h 20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350" h="207274">
                  <a:moveTo>
                    <a:pt x="96175" y="207275"/>
                  </a:moveTo>
                  <a:cubicBezTo>
                    <a:pt x="96175" y="207275"/>
                    <a:pt x="5804" y="115245"/>
                    <a:pt x="0" y="0"/>
                  </a:cubicBezTo>
                  <a:lnTo>
                    <a:pt x="192351" y="0"/>
                  </a:lnTo>
                  <a:cubicBezTo>
                    <a:pt x="186547" y="115245"/>
                    <a:pt x="96175" y="207275"/>
                    <a:pt x="96175" y="207275"/>
                  </a:cubicBez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CABF2E58-78AB-4F7C-9D63-2B0D3BF3BC40}"/>
                </a:ext>
              </a:extLst>
            </p:cNvPr>
            <p:cNvSpPr/>
            <p:nvPr/>
          </p:nvSpPr>
          <p:spPr>
            <a:xfrm>
              <a:off x="2649217" y="3151581"/>
              <a:ext cx="115244" cy="185717"/>
            </a:xfrm>
            <a:custGeom>
              <a:avLst/>
              <a:gdLst>
                <a:gd name="connsiteX0" fmla="*/ 8291 w 115244"/>
                <a:gd name="connsiteY0" fmla="*/ 185718 h 185717"/>
                <a:gd name="connsiteX1" fmla="*/ 115245 w 115244"/>
                <a:gd name="connsiteY1" fmla="*/ 125194 h 185717"/>
                <a:gd name="connsiteX2" fmla="*/ 0 w 115244"/>
                <a:gd name="connsiteY2" fmla="*/ 0 h 185717"/>
                <a:gd name="connsiteX3" fmla="*/ 8291 w 115244"/>
                <a:gd name="connsiteY3" fmla="*/ 185718 h 18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44" h="185717">
                  <a:moveTo>
                    <a:pt x="8291" y="185718"/>
                  </a:moveTo>
                  <a:lnTo>
                    <a:pt x="115245" y="125194"/>
                  </a:lnTo>
                  <a:cubicBezTo>
                    <a:pt x="115245" y="125194"/>
                    <a:pt x="82081" y="11607"/>
                    <a:pt x="0" y="0"/>
                  </a:cubicBezTo>
                  <a:lnTo>
                    <a:pt x="8291" y="185718"/>
                  </a:lnTo>
                  <a:close/>
                </a:path>
              </a:pathLst>
            </a:custGeom>
            <a:solidFill>
              <a:srgbClr val="23ADAD"/>
            </a:soli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185" name="Graphic 80">
            <a:extLst>
              <a:ext uri="{FF2B5EF4-FFF2-40B4-BE49-F238E27FC236}">
                <a16:creationId xmlns:a16="http://schemas.microsoft.com/office/drawing/2014/main" id="{CB0830A2-90AB-45E9-BCDC-7ACDF49B8E25}"/>
              </a:ext>
            </a:extLst>
          </p:cNvPr>
          <p:cNvGrpSpPr/>
          <p:nvPr/>
        </p:nvGrpSpPr>
        <p:grpSpPr>
          <a:xfrm>
            <a:off x="2221121" y="2127430"/>
            <a:ext cx="444601" cy="557580"/>
            <a:chOff x="2249592" y="2135936"/>
            <a:chExt cx="453516" cy="568761"/>
          </a:xfrm>
          <a:solidFill>
            <a:schemeClr val="accent1"/>
          </a:solidFill>
        </p:grpSpPr>
        <p:grpSp>
          <p:nvGrpSpPr>
            <p:cNvPr id="186" name="Graphic 80">
              <a:extLst>
                <a:ext uri="{FF2B5EF4-FFF2-40B4-BE49-F238E27FC236}">
                  <a16:creationId xmlns:a16="http://schemas.microsoft.com/office/drawing/2014/main" id="{C0F9B748-0F98-4F33-A8D7-C2990B940FC1}"/>
                </a:ext>
              </a:extLst>
            </p:cNvPr>
            <p:cNvGrpSpPr/>
            <p:nvPr/>
          </p:nvGrpSpPr>
          <p:grpSpPr>
            <a:xfrm>
              <a:off x="2249592" y="2135936"/>
              <a:ext cx="453516" cy="568761"/>
              <a:chOff x="2249592" y="2135936"/>
              <a:chExt cx="453516" cy="568761"/>
            </a:xfrm>
            <a:solidFill>
              <a:schemeClr val="accent1"/>
            </a:solidFill>
          </p:grpSpPr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3F5B2546-0430-4D1B-9A06-D04D3CFFF382}"/>
                  </a:ext>
                </a:extLst>
              </p:cNvPr>
              <p:cNvSpPr/>
              <p:nvPr/>
            </p:nvSpPr>
            <p:spPr>
              <a:xfrm rot="-10800000">
                <a:off x="2261771" y="2148132"/>
                <a:ext cx="429472" cy="544717"/>
              </a:xfrm>
              <a:custGeom>
                <a:avLst/>
                <a:gdLst>
                  <a:gd name="connsiteX0" fmla="*/ 0 w 429472"/>
                  <a:gd name="connsiteY0" fmla="*/ 0 h 544717"/>
                  <a:gd name="connsiteX1" fmla="*/ 429473 w 429472"/>
                  <a:gd name="connsiteY1" fmla="*/ 0 h 544717"/>
                  <a:gd name="connsiteX2" fmla="*/ 429473 w 429472"/>
                  <a:gd name="connsiteY2" fmla="*/ 544718 h 544717"/>
                  <a:gd name="connsiteX3" fmla="*/ 0 w 429472"/>
                  <a:gd name="connsiteY3" fmla="*/ 544718 h 544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9472" h="544717">
                    <a:moveTo>
                      <a:pt x="0" y="0"/>
                    </a:moveTo>
                    <a:lnTo>
                      <a:pt x="429473" y="0"/>
                    </a:lnTo>
                    <a:lnTo>
                      <a:pt x="429473" y="544718"/>
                    </a:lnTo>
                    <a:lnTo>
                      <a:pt x="0" y="544718"/>
                    </a:lnTo>
                    <a:close/>
                  </a:path>
                </a:pathLst>
              </a:custGeom>
              <a:solidFill>
                <a:srgbClr val="FFFFFF"/>
              </a:solidFill>
              <a:ln w="8287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E6895A5B-6A25-49CC-A50D-F239443AA463}"/>
                  </a:ext>
                </a:extLst>
              </p:cNvPr>
              <p:cNvSpPr/>
              <p:nvPr/>
            </p:nvSpPr>
            <p:spPr>
              <a:xfrm>
                <a:off x="2249592" y="2135936"/>
                <a:ext cx="453516" cy="568761"/>
              </a:xfrm>
              <a:custGeom>
                <a:avLst/>
                <a:gdLst>
                  <a:gd name="connsiteX0" fmla="*/ 453517 w 453516"/>
                  <a:gd name="connsiteY0" fmla="*/ 568762 h 568761"/>
                  <a:gd name="connsiteX1" fmla="*/ 0 w 453516"/>
                  <a:gd name="connsiteY1" fmla="*/ 568762 h 568761"/>
                  <a:gd name="connsiteX2" fmla="*/ 0 w 453516"/>
                  <a:gd name="connsiteY2" fmla="*/ 0 h 568761"/>
                  <a:gd name="connsiteX3" fmla="*/ 453517 w 453516"/>
                  <a:gd name="connsiteY3" fmla="*/ 0 h 568761"/>
                  <a:gd name="connsiteX4" fmla="*/ 453517 w 453516"/>
                  <a:gd name="connsiteY4" fmla="*/ 568762 h 568761"/>
                  <a:gd name="connsiteX5" fmla="*/ 24044 w 453516"/>
                  <a:gd name="connsiteY5" fmla="*/ 544718 h 568761"/>
                  <a:gd name="connsiteX6" fmla="*/ 429473 w 453516"/>
                  <a:gd name="connsiteY6" fmla="*/ 544718 h 568761"/>
                  <a:gd name="connsiteX7" fmla="*/ 429473 w 453516"/>
                  <a:gd name="connsiteY7" fmla="*/ 24044 h 568761"/>
                  <a:gd name="connsiteX8" fmla="*/ 24044 w 453516"/>
                  <a:gd name="connsiteY8" fmla="*/ 24044 h 568761"/>
                  <a:gd name="connsiteX9" fmla="*/ 24044 w 453516"/>
                  <a:gd name="connsiteY9" fmla="*/ 544718 h 568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3516" h="568761">
                    <a:moveTo>
                      <a:pt x="453517" y="568762"/>
                    </a:moveTo>
                    <a:lnTo>
                      <a:pt x="0" y="568762"/>
                    </a:lnTo>
                    <a:lnTo>
                      <a:pt x="0" y="0"/>
                    </a:lnTo>
                    <a:lnTo>
                      <a:pt x="453517" y="0"/>
                    </a:lnTo>
                    <a:lnTo>
                      <a:pt x="453517" y="568762"/>
                    </a:lnTo>
                    <a:close/>
                    <a:moveTo>
                      <a:pt x="24044" y="544718"/>
                    </a:moveTo>
                    <a:lnTo>
                      <a:pt x="429473" y="544718"/>
                    </a:lnTo>
                    <a:lnTo>
                      <a:pt x="429473" y="24044"/>
                    </a:lnTo>
                    <a:lnTo>
                      <a:pt x="24044" y="24044"/>
                    </a:lnTo>
                    <a:lnTo>
                      <a:pt x="24044" y="544718"/>
                    </a:lnTo>
                    <a:close/>
                  </a:path>
                </a:pathLst>
              </a:custGeom>
              <a:solidFill>
                <a:schemeClr val="tx1"/>
              </a:solidFill>
              <a:ln w="82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A2388379-3404-40C5-AA16-8B38C091DA03}"/>
                </a:ext>
              </a:extLst>
            </p:cNvPr>
            <p:cNvSpPr/>
            <p:nvPr/>
          </p:nvSpPr>
          <p:spPr>
            <a:xfrm rot="-10800000">
              <a:off x="2331416" y="2210016"/>
              <a:ext cx="288526" cy="406258"/>
            </a:xfrm>
            <a:custGeom>
              <a:avLst/>
              <a:gdLst>
                <a:gd name="connsiteX0" fmla="*/ 0 w 288526"/>
                <a:gd name="connsiteY0" fmla="*/ 0 h 406258"/>
                <a:gd name="connsiteX1" fmla="*/ 288526 w 288526"/>
                <a:gd name="connsiteY1" fmla="*/ 0 h 406258"/>
                <a:gd name="connsiteX2" fmla="*/ 288526 w 288526"/>
                <a:gd name="connsiteY2" fmla="*/ 406258 h 406258"/>
                <a:gd name="connsiteX3" fmla="*/ 0 w 288526"/>
                <a:gd name="connsiteY3" fmla="*/ 406258 h 40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526" h="406258">
                  <a:moveTo>
                    <a:pt x="0" y="0"/>
                  </a:moveTo>
                  <a:lnTo>
                    <a:pt x="288526" y="0"/>
                  </a:lnTo>
                  <a:lnTo>
                    <a:pt x="288526" y="406258"/>
                  </a:lnTo>
                  <a:lnTo>
                    <a:pt x="0" y="40625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39F3844-10DB-4795-A5BD-3B998E7E0620}"/>
              </a:ext>
            </a:extLst>
          </p:cNvPr>
          <p:cNvSpPr/>
          <p:nvPr/>
        </p:nvSpPr>
        <p:spPr>
          <a:xfrm rot="10800000">
            <a:off x="61144" y="246041"/>
            <a:ext cx="12192000" cy="78841"/>
          </a:xfrm>
          <a:custGeom>
            <a:avLst/>
            <a:gdLst>
              <a:gd name="connsiteX0" fmla="*/ 0 w 12436475"/>
              <a:gd name="connsiteY0" fmla="*/ 0 h 80422"/>
              <a:gd name="connsiteX1" fmla="*/ 12436475 w 12436475"/>
              <a:gd name="connsiteY1" fmla="*/ 0 h 80422"/>
              <a:gd name="connsiteX2" fmla="*/ 12436475 w 12436475"/>
              <a:gd name="connsiteY2" fmla="*/ 80423 h 80422"/>
              <a:gd name="connsiteX3" fmla="*/ 0 w 12436475"/>
              <a:gd name="connsiteY3" fmla="*/ 80423 h 8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6475" h="80422">
                <a:moveTo>
                  <a:pt x="0" y="0"/>
                </a:moveTo>
                <a:lnTo>
                  <a:pt x="12436475" y="0"/>
                </a:lnTo>
                <a:lnTo>
                  <a:pt x="12436475" y="80423"/>
                </a:lnTo>
                <a:lnTo>
                  <a:pt x="0" y="80423"/>
                </a:lnTo>
                <a:close/>
              </a:path>
            </a:pathLst>
          </a:custGeom>
          <a:solidFill>
            <a:schemeClr val="tx1"/>
          </a:solidFill>
          <a:ln w="82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65"/>
          </a:p>
        </p:txBody>
      </p:sp>
      <p:grpSp>
        <p:nvGrpSpPr>
          <p:cNvPr id="25" name="Graphic 80">
            <a:extLst>
              <a:ext uri="{FF2B5EF4-FFF2-40B4-BE49-F238E27FC236}">
                <a16:creationId xmlns:a16="http://schemas.microsoft.com/office/drawing/2014/main" id="{84008465-CBB7-483D-BC8F-47E2BD74ECD5}"/>
              </a:ext>
            </a:extLst>
          </p:cNvPr>
          <p:cNvGrpSpPr/>
          <p:nvPr/>
        </p:nvGrpSpPr>
        <p:grpSpPr>
          <a:xfrm>
            <a:off x="11406205" y="324593"/>
            <a:ext cx="112165" cy="195117"/>
            <a:chOff x="11643276" y="296949"/>
            <a:chExt cx="114414" cy="199030"/>
          </a:xfrm>
          <a:solidFill>
            <a:schemeClr val="tx1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209104E-30AB-4623-B384-A674655BF56A}"/>
                </a:ext>
              </a:extLst>
            </p:cNvPr>
            <p:cNvSpPr/>
            <p:nvPr/>
          </p:nvSpPr>
          <p:spPr>
            <a:xfrm>
              <a:off x="11643276" y="404779"/>
              <a:ext cx="114414" cy="91200"/>
            </a:xfrm>
            <a:custGeom>
              <a:avLst/>
              <a:gdLst>
                <a:gd name="connsiteX0" fmla="*/ 829 w 114414"/>
                <a:gd name="connsiteY0" fmla="*/ 91201 h 91200"/>
                <a:gd name="connsiteX1" fmla="*/ 114415 w 114414"/>
                <a:gd name="connsiteY1" fmla="*/ 91201 h 91200"/>
                <a:gd name="connsiteX2" fmla="*/ 114415 w 114414"/>
                <a:gd name="connsiteY2" fmla="*/ 57208 h 91200"/>
                <a:gd name="connsiteX3" fmla="*/ 57207 w 114414"/>
                <a:gd name="connsiteY3" fmla="*/ 0 h 91200"/>
                <a:gd name="connsiteX4" fmla="*/ 57207 w 114414"/>
                <a:gd name="connsiteY4" fmla="*/ 0 h 91200"/>
                <a:gd name="connsiteX5" fmla="*/ 0 w 114414"/>
                <a:gd name="connsiteY5" fmla="*/ 57208 h 91200"/>
                <a:gd name="connsiteX6" fmla="*/ 0 w 114414"/>
                <a:gd name="connsiteY6" fmla="*/ 91201 h 9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14" h="91200">
                  <a:moveTo>
                    <a:pt x="829" y="91201"/>
                  </a:moveTo>
                  <a:lnTo>
                    <a:pt x="114415" y="91201"/>
                  </a:lnTo>
                  <a:lnTo>
                    <a:pt x="114415" y="57208"/>
                  </a:lnTo>
                  <a:cubicBezTo>
                    <a:pt x="114415" y="25702"/>
                    <a:pt x="88713" y="0"/>
                    <a:pt x="57207" y="0"/>
                  </a:cubicBezTo>
                  <a:lnTo>
                    <a:pt x="57207" y="0"/>
                  </a:lnTo>
                  <a:cubicBezTo>
                    <a:pt x="25702" y="0"/>
                    <a:pt x="0" y="25702"/>
                    <a:pt x="0" y="57208"/>
                  </a:cubicBezTo>
                  <a:lnTo>
                    <a:pt x="0" y="9120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2DAE523-C7EA-46C5-A15F-B033CDB20A55}"/>
                </a:ext>
              </a:extLst>
            </p:cNvPr>
            <p:cNvSpPr/>
            <p:nvPr/>
          </p:nvSpPr>
          <p:spPr>
            <a:xfrm>
              <a:off x="11665662" y="360007"/>
              <a:ext cx="71302" cy="69644"/>
            </a:xfrm>
            <a:custGeom>
              <a:avLst/>
              <a:gdLst>
                <a:gd name="connsiteX0" fmla="*/ 23215 w 71302"/>
                <a:gd name="connsiteY0" fmla="*/ 0 h 69644"/>
                <a:gd name="connsiteX1" fmla="*/ 48088 w 71302"/>
                <a:gd name="connsiteY1" fmla="*/ 0 h 69644"/>
                <a:gd name="connsiteX2" fmla="*/ 71302 w 71302"/>
                <a:gd name="connsiteY2" fmla="*/ 23215 h 69644"/>
                <a:gd name="connsiteX3" fmla="*/ 71302 w 71302"/>
                <a:gd name="connsiteY3" fmla="*/ 69644 h 69644"/>
                <a:gd name="connsiteX4" fmla="*/ 0 w 71302"/>
                <a:gd name="connsiteY4" fmla="*/ 69644 h 69644"/>
                <a:gd name="connsiteX5" fmla="*/ 0 w 71302"/>
                <a:gd name="connsiteY5" fmla="*/ 23215 h 69644"/>
                <a:gd name="connsiteX6" fmla="*/ 23215 w 71302"/>
                <a:gd name="connsiteY6" fmla="*/ 0 h 69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302" h="69644">
                  <a:moveTo>
                    <a:pt x="23215" y="0"/>
                  </a:moveTo>
                  <a:lnTo>
                    <a:pt x="48088" y="0"/>
                  </a:lnTo>
                  <a:cubicBezTo>
                    <a:pt x="60525" y="0"/>
                    <a:pt x="71302" y="9949"/>
                    <a:pt x="71302" y="23215"/>
                  </a:cubicBezTo>
                  <a:lnTo>
                    <a:pt x="71302" y="69644"/>
                  </a:lnTo>
                  <a:lnTo>
                    <a:pt x="0" y="69644"/>
                  </a:lnTo>
                  <a:lnTo>
                    <a:pt x="0" y="23215"/>
                  </a:lnTo>
                  <a:cubicBezTo>
                    <a:pt x="0" y="9949"/>
                    <a:pt x="10779" y="0"/>
                    <a:pt x="23215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6A96DE1-6CD9-4FC6-9ABA-5FDD9CC144A7}"/>
                </a:ext>
              </a:extLst>
            </p:cNvPr>
            <p:cNvSpPr/>
            <p:nvPr/>
          </p:nvSpPr>
          <p:spPr>
            <a:xfrm rot="-10800000">
              <a:off x="11695841" y="296949"/>
              <a:ext cx="11607" cy="63011"/>
            </a:xfrm>
            <a:custGeom>
              <a:avLst/>
              <a:gdLst>
                <a:gd name="connsiteX0" fmla="*/ 0 w 11607"/>
                <a:gd name="connsiteY0" fmla="*/ 0 h 63011"/>
                <a:gd name="connsiteX1" fmla="*/ 11607 w 11607"/>
                <a:gd name="connsiteY1" fmla="*/ 0 h 63011"/>
                <a:gd name="connsiteX2" fmla="*/ 11607 w 11607"/>
                <a:gd name="connsiteY2" fmla="*/ 63011 h 63011"/>
                <a:gd name="connsiteX3" fmla="*/ 0 w 11607"/>
                <a:gd name="connsiteY3" fmla="*/ 63011 h 6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7" h="63011">
                  <a:moveTo>
                    <a:pt x="0" y="0"/>
                  </a:moveTo>
                  <a:lnTo>
                    <a:pt x="11607" y="0"/>
                  </a:lnTo>
                  <a:lnTo>
                    <a:pt x="11607" y="63011"/>
                  </a:lnTo>
                  <a:lnTo>
                    <a:pt x="0" y="6301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27" name="light">
            <a:extLst>
              <a:ext uri="{FF2B5EF4-FFF2-40B4-BE49-F238E27FC236}">
                <a16:creationId xmlns:a16="http://schemas.microsoft.com/office/drawing/2014/main" id="{D1CE63F8-EDB8-4936-A768-D36730D11414}"/>
              </a:ext>
            </a:extLst>
          </p:cNvPr>
          <p:cNvGrpSpPr/>
          <p:nvPr/>
        </p:nvGrpSpPr>
        <p:grpSpPr>
          <a:xfrm>
            <a:off x="7772177" y="324593"/>
            <a:ext cx="112166" cy="195117"/>
            <a:chOff x="7936377" y="296949"/>
            <a:chExt cx="114415" cy="199030"/>
          </a:xfrm>
          <a:solidFill>
            <a:schemeClr val="tx1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7E14F50-C171-4D12-A0A2-504543BB8004}"/>
                </a:ext>
              </a:extLst>
            </p:cNvPr>
            <p:cNvSpPr/>
            <p:nvPr/>
          </p:nvSpPr>
          <p:spPr>
            <a:xfrm>
              <a:off x="7936377" y="404779"/>
              <a:ext cx="114415" cy="91200"/>
            </a:xfrm>
            <a:custGeom>
              <a:avLst/>
              <a:gdLst>
                <a:gd name="connsiteX0" fmla="*/ 829 w 114415"/>
                <a:gd name="connsiteY0" fmla="*/ 91201 h 91200"/>
                <a:gd name="connsiteX1" fmla="*/ 114415 w 114415"/>
                <a:gd name="connsiteY1" fmla="*/ 91201 h 91200"/>
                <a:gd name="connsiteX2" fmla="*/ 114415 w 114415"/>
                <a:gd name="connsiteY2" fmla="*/ 57208 h 91200"/>
                <a:gd name="connsiteX3" fmla="*/ 57207 w 114415"/>
                <a:gd name="connsiteY3" fmla="*/ 0 h 91200"/>
                <a:gd name="connsiteX4" fmla="*/ 57207 w 114415"/>
                <a:gd name="connsiteY4" fmla="*/ 0 h 91200"/>
                <a:gd name="connsiteX5" fmla="*/ 0 w 114415"/>
                <a:gd name="connsiteY5" fmla="*/ 57208 h 91200"/>
                <a:gd name="connsiteX6" fmla="*/ 0 w 114415"/>
                <a:gd name="connsiteY6" fmla="*/ 91201 h 9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15" h="91200">
                  <a:moveTo>
                    <a:pt x="829" y="91201"/>
                  </a:moveTo>
                  <a:lnTo>
                    <a:pt x="114415" y="91201"/>
                  </a:lnTo>
                  <a:lnTo>
                    <a:pt x="114415" y="57208"/>
                  </a:lnTo>
                  <a:cubicBezTo>
                    <a:pt x="114415" y="25702"/>
                    <a:pt x="88714" y="0"/>
                    <a:pt x="57207" y="0"/>
                  </a:cubicBezTo>
                  <a:lnTo>
                    <a:pt x="57207" y="0"/>
                  </a:lnTo>
                  <a:cubicBezTo>
                    <a:pt x="25702" y="0"/>
                    <a:pt x="0" y="25702"/>
                    <a:pt x="0" y="57208"/>
                  </a:cubicBezTo>
                  <a:lnTo>
                    <a:pt x="0" y="9120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B94948F-F556-49A7-BF7F-CC91A33562AC}"/>
                </a:ext>
              </a:extLst>
            </p:cNvPr>
            <p:cNvSpPr/>
            <p:nvPr/>
          </p:nvSpPr>
          <p:spPr>
            <a:xfrm>
              <a:off x="7958763" y="360007"/>
              <a:ext cx="71302" cy="69644"/>
            </a:xfrm>
            <a:custGeom>
              <a:avLst/>
              <a:gdLst>
                <a:gd name="connsiteX0" fmla="*/ 23215 w 71302"/>
                <a:gd name="connsiteY0" fmla="*/ 0 h 69644"/>
                <a:gd name="connsiteX1" fmla="*/ 48088 w 71302"/>
                <a:gd name="connsiteY1" fmla="*/ 0 h 69644"/>
                <a:gd name="connsiteX2" fmla="*/ 71302 w 71302"/>
                <a:gd name="connsiteY2" fmla="*/ 23215 h 69644"/>
                <a:gd name="connsiteX3" fmla="*/ 71302 w 71302"/>
                <a:gd name="connsiteY3" fmla="*/ 69644 h 69644"/>
                <a:gd name="connsiteX4" fmla="*/ 0 w 71302"/>
                <a:gd name="connsiteY4" fmla="*/ 69644 h 69644"/>
                <a:gd name="connsiteX5" fmla="*/ 0 w 71302"/>
                <a:gd name="connsiteY5" fmla="*/ 23215 h 69644"/>
                <a:gd name="connsiteX6" fmla="*/ 23215 w 71302"/>
                <a:gd name="connsiteY6" fmla="*/ 0 h 69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302" h="69644">
                  <a:moveTo>
                    <a:pt x="23215" y="0"/>
                  </a:moveTo>
                  <a:lnTo>
                    <a:pt x="48088" y="0"/>
                  </a:lnTo>
                  <a:cubicBezTo>
                    <a:pt x="60524" y="0"/>
                    <a:pt x="71302" y="9949"/>
                    <a:pt x="71302" y="23215"/>
                  </a:cubicBezTo>
                  <a:lnTo>
                    <a:pt x="71302" y="69644"/>
                  </a:lnTo>
                  <a:lnTo>
                    <a:pt x="0" y="69644"/>
                  </a:lnTo>
                  <a:lnTo>
                    <a:pt x="0" y="23215"/>
                  </a:lnTo>
                  <a:cubicBezTo>
                    <a:pt x="0" y="9949"/>
                    <a:pt x="9949" y="0"/>
                    <a:pt x="23215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1D09F1-49F4-4E4A-B895-8BE541F2E8A5}"/>
                </a:ext>
              </a:extLst>
            </p:cNvPr>
            <p:cNvSpPr/>
            <p:nvPr/>
          </p:nvSpPr>
          <p:spPr>
            <a:xfrm rot="-10800000">
              <a:off x="7988859" y="296949"/>
              <a:ext cx="11607" cy="63011"/>
            </a:xfrm>
            <a:custGeom>
              <a:avLst/>
              <a:gdLst>
                <a:gd name="connsiteX0" fmla="*/ 0 w 11607"/>
                <a:gd name="connsiteY0" fmla="*/ 0 h 63011"/>
                <a:gd name="connsiteX1" fmla="*/ 11608 w 11607"/>
                <a:gd name="connsiteY1" fmla="*/ 0 h 63011"/>
                <a:gd name="connsiteX2" fmla="*/ 11608 w 11607"/>
                <a:gd name="connsiteY2" fmla="*/ 63011 h 63011"/>
                <a:gd name="connsiteX3" fmla="*/ 0 w 11607"/>
                <a:gd name="connsiteY3" fmla="*/ 63011 h 6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7" h="63011">
                  <a:moveTo>
                    <a:pt x="0" y="0"/>
                  </a:moveTo>
                  <a:lnTo>
                    <a:pt x="11608" y="0"/>
                  </a:lnTo>
                  <a:lnTo>
                    <a:pt x="11608" y="63011"/>
                  </a:lnTo>
                  <a:lnTo>
                    <a:pt x="0" y="6301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29" name="light">
            <a:extLst>
              <a:ext uri="{FF2B5EF4-FFF2-40B4-BE49-F238E27FC236}">
                <a16:creationId xmlns:a16="http://schemas.microsoft.com/office/drawing/2014/main" id="{0247BE9C-00D7-4BED-9CB8-44E5E07690DB}"/>
              </a:ext>
            </a:extLst>
          </p:cNvPr>
          <p:cNvGrpSpPr/>
          <p:nvPr/>
        </p:nvGrpSpPr>
        <p:grpSpPr>
          <a:xfrm>
            <a:off x="2612522" y="324593"/>
            <a:ext cx="112166" cy="195117"/>
            <a:chOff x="2673261" y="296949"/>
            <a:chExt cx="114415" cy="199030"/>
          </a:xfrm>
          <a:solidFill>
            <a:schemeClr val="tx1"/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11ED6D5-D5C3-402F-B110-52FC054F68D7}"/>
                </a:ext>
              </a:extLst>
            </p:cNvPr>
            <p:cNvSpPr/>
            <p:nvPr/>
          </p:nvSpPr>
          <p:spPr>
            <a:xfrm>
              <a:off x="2673261" y="404779"/>
              <a:ext cx="114415" cy="91200"/>
            </a:xfrm>
            <a:custGeom>
              <a:avLst/>
              <a:gdLst>
                <a:gd name="connsiteX0" fmla="*/ 829 w 114415"/>
                <a:gd name="connsiteY0" fmla="*/ 91201 h 91200"/>
                <a:gd name="connsiteX1" fmla="*/ 114416 w 114415"/>
                <a:gd name="connsiteY1" fmla="*/ 91201 h 91200"/>
                <a:gd name="connsiteX2" fmla="*/ 114416 w 114415"/>
                <a:gd name="connsiteY2" fmla="*/ 57208 h 91200"/>
                <a:gd name="connsiteX3" fmla="*/ 57208 w 114415"/>
                <a:gd name="connsiteY3" fmla="*/ 0 h 91200"/>
                <a:gd name="connsiteX4" fmla="*/ 57208 w 114415"/>
                <a:gd name="connsiteY4" fmla="*/ 0 h 91200"/>
                <a:gd name="connsiteX5" fmla="*/ 0 w 114415"/>
                <a:gd name="connsiteY5" fmla="*/ 57208 h 91200"/>
                <a:gd name="connsiteX6" fmla="*/ 0 w 114415"/>
                <a:gd name="connsiteY6" fmla="*/ 91201 h 9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15" h="91200">
                  <a:moveTo>
                    <a:pt x="829" y="91201"/>
                  </a:moveTo>
                  <a:lnTo>
                    <a:pt x="114416" y="91201"/>
                  </a:lnTo>
                  <a:lnTo>
                    <a:pt x="114416" y="57208"/>
                  </a:lnTo>
                  <a:cubicBezTo>
                    <a:pt x="114416" y="25702"/>
                    <a:pt x="88714" y="0"/>
                    <a:pt x="57208" y="0"/>
                  </a:cubicBezTo>
                  <a:lnTo>
                    <a:pt x="57208" y="0"/>
                  </a:lnTo>
                  <a:cubicBezTo>
                    <a:pt x="25702" y="0"/>
                    <a:pt x="0" y="25702"/>
                    <a:pt x="0" y="57208"/>
                  </a:cubicBezTo>
                  <a:lnTo>
                    <a:pt x="0" y="9120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A8B78B2-AE39-494D-8FAE-21EB99791D6E}"/>
                </a:ext>
              </a:extLst>
            </p:cNvPr>
            <p:cNvSpPr/>
            <p:nvPr/>
          </p:nvSpPr>
          <p:spPr>
            <a:xfrm>
              <a:off x="2695647" y="360007"/>
              <a:ext cx="71302" cy="69644"/>
            </a:xfrm>
            <a:custGeom>
              <a:avLst/>
              <a:gdLst>
                <a:gd name="connsiteX0" fmla="*/ 23215 w 71302"/>
                <a:gd name="connsiteY0" fmla="*/ 0 h 69644"/>
                <a:gd name="connsiteX1" fmla="*/ 48088 w 71302"/>
                <a:gd name="connsiteY1" fmla="*/ 0 h 69644"/>
                <a:gd name="connsiteX2" fmla="*/ 71303 w 71302"/>
                <a:gd name="connsiteY2" fmla="*/ 23215 h 69644"/>
                <a:gd name="connsiteX3" fmla="*/ 71303 w 71302"/>
                <a:gd name="connsiteY3" fmla="*/ 69644 h 69644"/>
                <a:gd name="connsiteX4" fmla="*/ 0 w 71302"/>
                <a:gd name="connsiteY4" fmla="*/ 69644 h 69644"/>
                <a:gd name="connsiteX5" fmla="*/ 0 w 71302"/>
                <a:gd name="connsiteY5" fmla="*/ 23215 h 69644"/>
                <a:gd name="connsiteX6" fmla="*/ 23215 w 71302"/>
                <a:gd name="connsiteY6" fmla="*/ 0 h 69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302" h="69644">
                  <a:moveTo>
                    <a:pt x="23215" y="0"/>
                  </a:moveTo>
                  <a:lnTo>
                    <a:pt x="48088" y="0"/>
                  </a:lnTo>
                  <a:cubicBezTo>
                    <a:pt x="60524" y="0"/>
                    <a:pt x="71303" y="9949"/>
                    <a:pt x="71303" y="23215"/>
                  </a:cubicBezTo>
                  <a:lnTo>
                    <a:pt x="71303" y="69644"/>
                  </a:lnTo>
                  <a:lnTo>
                    <a:pt x="0" y="69644"/>
                  </a:lnTo>
                  <a:lnTo>
                    <a:pt x="0" y="23215"/>
                  </a:lnTo>
                  <a:cubicBezTo>
                    <a:pt x="0" y="9949"/>
                    <a:pt x="10778" y="0"/>
                    <a:pt x="23215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6F7B8C0-572C-40C4-BF4B-1E03C735BBB7}"/>
                </a:ext>
              </a:extLst>
            </p:cNvPr>
            <p:cNvSpPr/>
            <p:nvPr/>
          </p:nvSpPr>
          <p:spPr>
            <a:xfrm rot="-10800000">
              <a:off x="2725718" y="296949"/>
              <a:ext cx="11607" cy="63011"/>
            </a:xfrm>
            <a:custGeom>
              <a:avLst/>
              <a:gdLst>
                <a:gd name="connsiteX0" fmla="*/ 0 w 11607"/>
                <a:gd name="connsiteY0" fmla="*/ 0 h 63011"/>
                <a:gd name="connsiteX1" fmla="*/ 11607 w 11607"/>
                <a:gd name="connsiteY1" fmla="*/ 0 h 63011"/>
                <a:gd name="connsiteX2" fmla="*/ 11607 w 11607"/>
                <a:gd name="connsiteY2" fmla="*/ 63011 h 63011"/>
                <a:gd name="connsiteX3" fmla="*/ 0 w 11607"/>
                <a:gd name="connsiteY3" fmla="*/ 63011 h 6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7" h="63011">
                  <a:moveTo>
                    <a:pt x="0" y="0"/>
                  </a:moveTo>
                  <a:lnTo>
                    <a:pt x="11607" y="0"/>
                  </a:lnTo>
                  <a:lnTo>
                    <a:pt x="11607" y="63011"/>
                  </a:lnTo>
                  <a:lnTo>
                    <a:pt x="0" y="6301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30" name="light">
            <a:extLst>
              <a:ext uri="{FF2B5EF4-FFF2-40B4-BE49-F238E27FC236}">
                <a16:creationId xmlns:a16="http://schemas.microsoft.com/office/drawing/2014/main" id="{9319A7A0-4EC2-4B3E-9247-CFB487F1C823}"/>
              </a:ext>
            </a:extLst>
          </p:cNvPr>
          <p:cNvGrpSpPr/>
          <p:nvPr/>
        </p:nvGrpSpPr>
        <p:grpSpPr>
          <a:xfrm>
            <a:off x="795914" y="324593"/>
            <a:ext cx="112166" cy="195117"/>
            <a:chOff x="820226" y="296949"/>
            <a:chExt cx="114415" cy="199030"/>
          </a:xfrm>
          <a:solidFill>
            <a:schemeClr val="tx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3AF74C1-21FE-4C69-B7BA-C66DD0C4F11A}"/>
                </a:ext>
              </a:extLst>
            </p:cNvPr>
            <p:cNvSpPr/>
            <p:nvPr/>
          </p:nvSpPr>
          <p:spPr>
            <a:xfrm>
              <a:off x="820226" y="404779"/>
              <a:ext cx="114415" cy="91200"/>
            </a:xfrm>
            <a:custGeom>
              <a:avLst/>
              <a:gdLst>
                <a:gd name="connsiteX0" fmla="*/ 829 w 114415"/>
                <a:gd name="connsiteY0" fmla="*/ 91201 h 91200"/>
                <a:gd name="connsiteX1" fmla="*/ 114416 w 114415"/>
                <a:gd name="connsiteY1" fmla="*/ 91201 h 91200"/>
                <a:gd name="connsiteX2" fmla="*/ 114416 w 114415"/>
                <a:gd name="connsiteY2" fmla="*/ 57208 h 91200"/>
                <a:gd name="connsiteX3" fmla="*/ 57208 w 114415"/>
                <a:gd name="connsiteY3" fmla="*/ 0 h 91200"/>
                <a:gd name="connsiteX4" fmla="*/ 57208 w 114415"/>
                <a:gd name="connsiteY4" fmla="*/ 0 h 91200"/>
                <a:gd name="connsiteX5" fmla="*/ 0 w 114415"/>
                <a:gd name="connsiteY5" fmla="*/ 57208 h 91200"/>
                <a:gd name="connsiteX6" fmla="*/ 0 w 114415"/>
                <a:gd name="connsiteY6" fmla="*/ 91201 h 9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15" h="91200">
                  <a:moveTo>
                    <a:pt x="829" y="91201"/>
                  </a:moveTo>
                  <a:lnTo>
                    <a:pt x="114416" y="91201"/>
                  </a:lnTo>
                  <a:lnTo>
                    <a:pt x="114416" y="57208"/>
                  </a:lnTo>
                  <a:cubicBezTo>
                    <a:pt x="114416" y="25702"/>
                    <a:pt x="88714" y="0"/>
                    <a:pt x="57208" y="0"/>
                  </a:cubicBezTo>
                  <a:lnTo>
                    <a:pt x="57208" y="0"/>
                  </a:lnTo>
                  <a:cubicBezTo>
                    <a:pt x="25702" y="0"/>
                    <a:pt x="0" y="25702"/>
                    <a:pt x="0" y="57208"/>
                  </a:cubicBezTo>
                  <a:lnTo>
                    <a:pt x="0" y="9120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AA5703E-39F5-47F2-AE8F-2A589AF62575}"/>
                </a:ext>
              </a:extLst>
            </p:cNvPr>
            <p:cNvSpPr/>
            <p:nvPr/>
          </p:nvSpPr>
          <p:spPr>
            <a:xfrm>
              <a:off x="841783" y="360007"/>
              <a:ext cx="71302" cy="69644"/>
            </a:xfrm>
            <a:custGeom>
              <a:avLst/>
              <a:gdLst>
                <a:gd name="connsiteX0" fmla="*/ 23215 w 71302"/>
                <a:gd name="connsiteY0" fmla="*/ 0 h 69644"/>
                <a:gd name="connsiteX1" fmla="*/ 48088 w 71302"/>
                <a:gd name="connsiteY1" fmla="*/ 0 h 69644"/>
                <a:gd name="connsiteX2" fmla="*/ 71302 w 71302"/>
                <a:gd name="connsiteY2" fmla="*/ 23215 h 69644"/>
                <a:gd name="connsiteX3" fmla="*/ 71302 w 71302"/>
                <a:gd name="connsiteY3" fmla="*/ 69644 h 69644"/>
                <a:gd name="connsiteX4" fmla="*/ 0 w 71302"/>
                <a:gd name="connsiteY4" fmla="*/ 69644 h 69644"/>
                <a:gd name="connsiteX5" fmla="*/ 0 w 71302"/>
                <a:gd name="connsiteY5" fmla="*/ 23215 h 69644"/>
                <a:gd name="connsiteX6" fmla="*/ 23215 w 71302"/>
                <a:gd name="connsiteY6" fmla="*/ 0 h 69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302" h="69644">
                  <a:moveTo>
                    <a:pt x="23215" y="0"/>
                  </a:moveTo>
                  <a:lnTo>
                    <a:pt x="48088" y="0"/>
                  </a:lnTo>
                  <a:cubicBezTo>
                    <a:pt x="60524" y="0"/>
                    <a:pt x="71302" y="9949"/>
                    <a:pt x="71302" y="23215"/>
                  </a:cubicBezTo>
                  <a:lnTo>
                    <a:pt x="71302" y="69644"/>
                  </a:lnTo>
                  <a:lnTo>
                    <a:pt x="0" y="69644"/>
                  </a:lnTo>
                  <a:lnTo>
                    <a:pt x="0" y="23215"/>
                  </a:lnTo>
                  <a:cubicBezTo>
                    <a:pt x="829" y="9949"/>
                    <a:pt x="10778" y="0"/>
                    <a:pt x="23215" y="0"/>
                  </a:cubicBez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87A7EEA-80A2-40DF-A52A-B8B7A2135621}"/>
                </a:ext>
              </a:extLst>
            </p:cNvPr>
            <p:cNvSpPr/>
            <p:nvPr/>
          </p:nvSpPr>
          <p:spPr>
            <a:xfrm rot="-10800000">
              <a:off x="872236" y="296949"/>
              <a:ext cx="11607" cy="63011"/>
            </a:xfrm>
            <a:custGeom>
              <a:avLst/>
              <a:gdLst>
                <a:gd name="connsiteX0" fmla="*/ 0 w 11607"/>
                <a:gd name="connsiteY0" fmla="*/ 0 h 63011"/>
                <a:gd name="connsiteX1" fmla="*/ 11607 w 11607"/>
                <a:gd name="connsiteY1" fmla="*/ 0 h 63011"/>
                <a:gd name="connsiteX2" fmla="*/ 11607 w 11607"/>
                <a:gd name="connsiteY2" fmla="*/ 63011 h 63011"/>
                <a:gd name="connsiteX3" fmla="*/ 0 w 11607"/>
                <a:gd name="connsiteY3" fmla="*/ 63011 h 6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07" h="63011">
                  <a:moveTo>
                    <a:pt x="0" y="0"/>
                  </a:moveTo>
                  <a:lnTo>
                    <a:pt x="11607" y="0"/>
                  </a:lnTo>
                  <a:lnTo>
                    <a:pt x="11607" y="63011"/>
                  </a:lnTo>
                  <a:lnTo>
                    <a:pt x="0" y="63011"/>
                  </a:lnTo>
                  <a:close/>
                </a:path>
              </a:pathLst>
            </a:custGeom>
            <a:grpFill/>
            <a:ln w="8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61" name="mirror base">
            <a:extLst>
              <a:ext uri="{FF2B5EF4-FFF2-40B4-BE49-F238E27FC236}">
                <a16:creationId xmlns:a16="http://schemas.microsoft.com/office/drawing/2014/main" id="{872619ED-5F28-4EDB-9DD9-1846C29220C8}"/>
              </a:ext>
            </a:extLst>
          </p:cNvPr>
          <p:cNvGrpSpPr/>
          <p:nvPr/>
        </p:nvGrpSpPr>
        <p:grpSpPr>
          <a:xfrm>
            <a:off x="5026303" y="1770314"/>
            <a:ext cx="2187244" cy="3294278"/>
            <a:chOff x="5103100" y="2104554"/>
            <a:chExt cx="2231103" cy="3360335"/>
          </a:xfrm>
          <a:scene3d>
            <a:camera prst="perspectiveHeroicExtremeLeftFacing" fov="3000000">
              <a:rot lat="0" lon="1800000" rev="21594000"/>
            </a:camera>
            <a:lightRig rig="balanced" dir="t"/>
          </a:scene3d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4FD66D8-5526-4F3C-9385-9AEF0E48FF50}"/>
                </a:ext>
              </a:extLst>
            </p:cNvPr>
            <p:cNvSpPr/>
            <p:nvPr/>
          </p:nvSpPr>
          <p:spPr>
            <a:xfrm>
              <a:off x="5180206" y="2194925"/>
              <a:ext cx="2075233" cy="3269963"/>
            </a:xfrm>
            <a:custGeom>
              <a:avLst/>
              <a:gdLst>
                <a:gd name="connsiteX0" fmla="*/ 0 w 2075233"/>
                <a:gd name="connsiteY0" fmla="*/ 0 h 3269963"/>
                <a:gd name="connsiteX1" fmla="*/ 2075233 w 2075233"/>
                <a:gd name="connsiteY1" fmla="*/ 0 h 3269963"/>
                <a:gd name="connsiteX2" fmla="*/ 2075233 w 2075233"/>
                <a:gd name="connsiteY2" fmla="*/ 3269964 h 3269963"/>
                <a:gd name="connsiteX3" fmla="*/ 0 w 2075233"/>
                <a:gd name="connsiteY3" fmla="*/ 3269964 h 326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5233" h="3269963">
                  <a:moveTo>
                    <a:pt x="0" y="0"/>
                  </a:moveTo>
                  <a:lnTo>
                    <a:pt x="2075233" y="0"/>
                  </a:lnTo>
                  <a:lnTo>
                    <a:pt x="2075233" y="3269964"/>
                  </a:lnTo>
                  <a:lnTo>
                    <a:pt x="0" y="3269964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8287" cap="flat">
              <a:noFill/>
              <a:prstDash val="solid"/>
              <a:miter/>
            </a:ln>
            <a:sp3d>
              <a:bevelT w="0" h="292100"/>
            </a:sp3d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165E4A-A6BF-4B2A-8BD2-052739EAF2AC}"/>
                </a:ext>
              </a:extLst>
            </p:cNvPr>
            <p:cNvSpPr/>
            <p:nvPr/>
          </p:nvSpPr>
          <p:spPr>
            <a:xfrm>
              <a:off x="5180206" y="2194925"/>
              <a:ext cx="2026316" cy="468440"/>
            </a:xfrm>
            <a:custGeom>
              <a:avLst/>
              <a:gdLst>
                <a:gd name="connsiteX0" fmla="*/ 0 w 2026316"/>
                <a:gd name="connsiteY0" fmla="*/ 0 h 468440"/>
                <a:gd name="connsiteX1" fmla="*/ 2026316 w 2026316"/>
                <a:gd name="connsiteY1" fmla="*/ 0 h 468440"/>
                <a:gd name="connsiteX2" fmla="*/ 2026316 w 2026316"/>
                <a:gd name="connsiteY2" fmla="*/ 468440 h 468440"/>
                <a:gd name="connsiteX3" fmla="*/ 0 w 2026316"/>
                <a:gd name="connsiteY3" fmla="*/ 468440 h 46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6316" h="468440">
                  <a:moveTo>
                    <a:pt x="0" y="0"/>
                  </a:moveTo>
                  <a:lnTo>
                    <a:pt x="2026316" y="0"/>
                  </a:lnTo>
                  <a:lnTo>
                    <a:pt x="2026316" y="468440"/>
                  </a:lnTo>
                  <a:lnTo>
                    <a:pt x="0" y="468440"/>
                  </a:lnTo>
                  <a:close/>
                </a:path>
              </a:pathLst>
            </a:custGeom>
            <a:solidFill>
              <a:srgbClr val="191919">
                <a:alpha val="15000"/>
              </a:srgbClr>
            </a:solidFill>
            <a:ln w="8287" cap="flat">
              <a:noFill/>
              <a:prstDash val="solid"/>
              <a:miter/>
            </a:ln>
            <a:sp3d>
              <a:bevelT w="0" h="292100"/>
            </a:sp3d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13" name="Graphic 80">
              <a:extLst>
                <a:ext uri="{FF2B5EF4-FFF2-40B4-BE49-F238E27FC236}">
                  <a16:creationId xmlns:a16="http://schemas.microsoft.com/office/drawing/2014/main" id="{CEED7190-6BBE-4DF9-AA97-8F793FE6D8A4}"/>
                </a:ext>
              </a:extLst>
            </p:cNvPr>
            <p:cNvGrpSpPr/>
            <p:nvPr/>
          </p:nvGrpSpPr>
          <p:grpSpPr>
            <a:xfrm>
              <a:off x="5103100" y="2104554"/>
              <a:ext cx="2231103" cy="3360335"/>
              <a:chOff x="5173822" y="1608630"/>
              <a:chExt cx="2231103" cy="3360335"/>
            </a:xfrm>
            <a:solidFill>
              <a:srgbClr val="FFFFFF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EF91DA82-4083-4423-BA8A-5FB08ED3AD7B}"/>
                  </a:ext>
                </a:extLst>
              </p:cNvPr>
              <p:cNvSpPr/>
              <p:nvPr/>
            </p:nvSpPr>
            <p:spPr>
              <a:xfrm>
                <a:off x="5173822" y="1608630"/>
                <a:ext cx="77935" cy="3360335"/>
              </a:xfrm>
              <a:custGeom>
                <a:avLst/>
                <a:gdLst>
                  <a:gd name="connsiteX0" fmla="*/ 0 w 77935"/>
                  <a:gd name="connsiteY0" fmla="*/ 0 h 3360335"/>
                  <a:gd name="connsiteX1" fmla="*/ 77935 w 77935"/>
                  <a:gd name="connsiteY1" fmla="*/ 0 h 3360335"/>
                  <a:gd name="connsiteX2" fmla="*/ 77935 w 77935"/>
                  <a:gd name="connsiteY2" fmla="*/ 3360336 h 3360335"/>
                  <a:gd name="connsiteX3" fmla="*/ 0 w 77935"/>
                  <a:gd name="connsiteY3" fmla="*/ 3360336 h 336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35" h="3360335">
                    <a:moveTo>
                      <a:pt x="0" y="0"/>
                    </a:moveTo>
                    <a:lnTo>
                      <a:pt x="77935" y="0"/>
                    </a:lnTo>
                    <a:lnTo>
                      <a:pt x="77935" y="3360336"/>
                    </a:lnTo>
                    <a:lnTo>
                      <a:pt x="0" y="3360336"/>
                    </a:lnTo>
                    <a:close/>
                  </a:path>
                </a:pathLst>
              </a:custGeom>
              <a:solidFill>
                <a:srgbClr val="FFFFFF"/>
              </a:solidFill>
              <a:ln w="8287" cap="flat">
                <a:noFill/>
                <a:prstDash val="solid"/>
                <a:miter/>
              </a:ln>
              <a:sp3d>
                <a:bevelT w="0" h="292100"/>
              </a:sp3d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DC561DC-FACA-4615-A01C-651A3954B070}"/>
                  </a:ext>
                </a:extLst>
              </p:cNvPr>
              <p:cNvSpPr/>
              <p:nvPr/>
            </p:nvSpPr>
            <p:spPr>
              <a:xfrm>
                <a:off x="7326990" y="1608630"/>
                <a:ext cx="77935" cy="3360335"/>
              </a:xfrm>
              <a:custGeom>
                <a:avLst/>
                <a:gdLst>
                  <a:gd name="connsiteX0" fmla="*/ 0 w 77935"/>
                  <a:gd name="connsiteY0" fmla="*/ 0 h 3360335"/>
                  <a:gd name="connsiteX1" fmla="*/ 77936 w 77935"/>
                  <a:gd name="connsiteY1" fmla="*/ 0 h 3360335"/>
                  <a:gd name="connsiteX2" fmla="*/ 77936 w 77935"/>
                  <a:gd name="connsiteY2" fmla="*/ 3360336 h 3360335"/>
                  <a:gd name="connsiteX3" fmla="*/ 0 w 77935"/>
                  <a:gd name="connsiteY3" fmla="*/ 3360336 h 336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935" h="3360335">
                    <a:moveTo>
                      <a:pt x="0" y="0"/>
                    </a:moveTo>
                    <a:lnTo>
                      <a:pt x="77936" y="0"/>
                    </a:lnTo>
                    <a:lnTo>
                      <a:pt x="77936" y="3360336"/>
                    </a:lnTo>
                    <a:lnTo>
                      <a:pt x="0" y="3360336"/>
                    </a:lnTo>
                    <a:close/>
                  </a:path>
                </a:pathLst>
              </a:custGeom>
              <a:solidFill>
                <a:srgbClr val="FFFFFF"/>
              </a:solidFill>
              <a:ln w="8287" cap="flat">
                <a:noFill/>
                <a:prstDash val="solid"/>
                <a:miter/>
              </a:ln>
              <a:sp3d>
                <a:bevelT w="0" h="292100"/>
              </a:sp3d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4D4BDAE-76F8-44B0-811B-88584D01981B}"/>
                </a:ext>
              </a:extLst>
            </p:cNvPr>
            <p:cNvSpPr/>
            <p:nvPr/>
          </p:nvSpPr>
          <p:spPr>
            <a:xfrm>
              <a:off x="5180206" y="2104554"/>
              <a:ext cx="2075233" cy="90371"/>
            </a:xfrm>
            <a:custGeom>
              <a:avLst/>
              <a:gdLst>
                <a:gd name="connsiteX0" fmla="*/ 0 w 2075233"/>
                <a:gd name="connsiteY0" fmla="*/ 0 h 90371"/>
                <a:gd name="connsiteX1" fmla="*/ 2075233 w 2075233"/>
                <a:gd name="connsiteY1" fmla="*/ 0 h 90371"/>
                <a:gd name="connsiteX2" fmla="*/ 2075233 w 2075233"/>
                <a:gd name="connsiteY2" fmla="*/ 90372 h 90371"/>
                <a:gd name="connsiteX3" fmla="*/ 0 w 2075233"/>
                <a:gd name="connsiteY3" fmla="*/ 90372 h 9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5233" h="90371">
                  <a:moveTo>
                    <a:pt x="0" y="0"/>
                  </a:moveTo>
                  <a:lnTo>
                    <a:pt x="2075233" y="0"/>
                  </a:lnTo>
                  <a:lnTo>
                    <a:pt x="2075233" y="90372"/>
                  </a:lnTo>
                  <a:lnTo>
                    <a:pt x="0" y="90372"/>
                  </a:lnTo>
                  <a:close/>
                </a:path>
              </a:pathLst>
            </a:custGeom>
            <a:solidFill>
              <a:srgbClr val="FFFFFF"/>
            </a:solidFill>
            <a:ln w="8287" cap="flat">
              <a:noFill/>
              <a:prstDash val="solid"/>
              <a:miter/>
            </a:ln>
            <a:sp3d>
              <a:bevelT w="0" h="292100"/>
            </a:sp3d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39" name="security camera">
            <a:extLst>
              <a:ext uri="{FF2B5EF4-FFF2-40B4-BE49-F238E27FC236}">
                <a16:creationId xmlns:a16="http://schemas.microsoft.com/office/drawing/2014/main" id="{CF20620B-0C85-41BC-B1C1-62BBAAD00468}"/>
              </a:ext>
            </a:extLst>
          </p:cNvPr>
          <p:cNvGrpSpPr/>
          <p:nvPr/>
        </p:nvGrpSpPr>
        <p:grpSpPr>
          <a:xfrm>
            <a:off x="83901" y="677926"/>
            <a:ext cx="438258" cy="342105"/>
            <a:chOff x="164515" y="1047650"/>
            <a:chExt cx="447046" cy="348965"/>
          </a:xfrm>
        </p:grpSpPr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AE54D41F-393A-4FDB-9521-B10316F59B31}"/>
                </a:ext>
              </a:extLst>
            </p:cNvPr>
            <p:cNvSpPr/>
            <p:nvPr/>
          </p:nvSpPr>
          <p:spPr>
            <a:xfrm>
              <a:off x="192053" y="1303732"/>
              <a:ext cx="148613" cy="92883"/>
            </a:xfrm>
            <a:custGeom>
              <a:avLst/>
              <a:gdLst>
                <a:gd name="connsiteX0" fmla="*/ 1688 w 148613"/>
                <a:gd name="connsiteY0" fmla="*/ 43456 h 92883"/>
                <a:gd name="connsiteX1" fmla="*/ 105717 w 148613"/>
                <a:gd name="connsiteY1" fmla="*/ 91403 h 92883"/>
                <a:gd name="connsiteX2" fmla="*/ 148580 w 148613"/>
                <a:gd name="connsiteY2" fmla="*/ 91403 h 92883"/>
                <a:gd name="connsiteX3" fmla="*/ 148580 w 148613"/>
                <a:gd name="connsiteY3" fmla="*/ 1688 h 92883"/>
                <a:gd name="connsiteX4" fmla="*/ 108846 w 148613"/>
                <a:gd name="connsiteY4" fmla="*/ 1688 h 92883"/>
                <a:gd name="connsiteX5" fmla="*/ 108846 w 148613"/>
                <a:gd name="connsiteY5" fmla="*/ 53702 h 92883"/>
                <a:gd name="connsiteX6" fmla="*/ 11934 w 148613"/>
                <a:gd name="connsiteY6" fmla="*/ 12873 h 92883"/>
                <a:gd name="connsiteX7" fmla="*/ 1688 w 148613"/>
                <a:gd name="connsiteY7" fmla="*/ 43456 h 9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613" h="92883">
                  <a:moveTo>
                    <a:pt x="1688" y="43456"/>
                  </a:moveTo>
                  <a:lnTo>
                    <a:pt x="105717" y="91403"/>
                  </a:lnTo>
                  <a:lnTo>
                    <a:pt x="148580" y="91403"/>
                  </a:lnTo>
                  <a:lnTo>
                    <a:pt x="148580" y="1688"/>
                  </a:lnTo>
                  <a:lnTo>
                    <a:pt x="108846" y="1688"/>
                  </a:lnTo>
                  <a:lnTo>
                    <a:pt x="108846" y="53702"/>
                  </a:lnTo>
                  <a:lnTo>
                    <a:pt x="11934" y="12873"/>
                  </a:lnTo>
                  <a:lnTo>
                    <a:pt x="1688" y="4345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A2F4601F-C5F3-4BC8-9BBB-BA84E1BF1F0E}"/>
                </a:ext>
              </a:extLst>
            </p:cNvPr>
            <p:cNvSpPr/>
            <p:nvPr/>
          </p:nvSpPr>
          <p:spPr>
            <a:xfrm>
              <a:off x="243593" y="1191800"/>
              <a:ext cx="176478" cy="143969"/>
            </a:xfrm>
            <a:custGeom>
              <a:avLst/>
              <a:gdLst>
                <a:gd name="connsiteX0" fmla="*/ 175565 w 176478"/>
                <a:gd name="connsiteY0" fmla="*/ 56988 h 143969"/>
                <a:gd name="connsiteX1" fmla="*/ 37276 w 176478"/>
                <a:gd name="connsiteY1" fmla="*/ 1688 h 143969"/>
                <a:gd name="connsiteX2" fmla="*/ 1688 w 176478"/>
                <a:gd name="connsiteY2" fmla="*/ 90699 h 143969"/>
                <a:gd name="connsiteX3" fmla="*/ 139976 w 176478"/>
                <a:gd name="connsiteY3" fmla="*/ 146077 h 143969"/>
                <a:gd name="connsiteX4" fmla="*/ 175565 w 176478"/>
                <a:gd name="connsiteY4" fmla="*/ 56988 h 14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78" h="143969">
                  <a:moveTo>
                    <a:pt x="175565" y="56988"/>
                  </a:moveTo>
                  <a:lnTo>
                    <a:pt x="37276" y="1688"/>
                  </a:lnTo>
                  <a:lnTo>
                    <a:pt x="1688" y="90699"/>
                  </a:lnTo>
                  <a:lnTo>
                    <a:pt x="139976" y="146077"/>
                  </a:lnTo>
                  <a:lnTo>
                    <a:pt x="175565" y="5698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2A8821B8-63C9-4D50-8DF6-F7868670B60A}"/>
                </a:ext>
              </a:extLst>
            </p:cNvPr>
            <p:cNvSpPr/>
            <p:nvPr/>
          </p:nvSpPr>
          <p:spPr>
            <a:xfrm>
              <a:off x="386265" y="1148552"/>
              <a:ext cx="181122" cy="167190"/>
            </a:xfrm>
            <a:custGeom>
              <a:avLst/>
              <a:gdLst>
                <a:gd name="connsiteX0" fmla="*/ 183934 w 181122"/>
                <a:gd name="connsiteY0" fmla="*/ 56988 h 167189"/>
                <a:gd name="connsiteX1" fmla="*/ 45646 w 181122"/>
                <a:gd name="connsiteY1" fmla="*/ 1688 h 167189"/>
                <a:gd name="connsiteX2" fmla="*/ 1688 w 181122"/>
                <a:gd name="connsiteY2" fmla="*/ 111584 h 167189"/>
                <a:gd name="connsiteX3" fmla="*/ 139976 w 181122"/>
                <a:gd name="connsiteY3" fmla="*/ 166883 h 167189"/>
                <a:gd name="connsiteX4" fmla="*/ 183934 w 181122"/>
                <a:gd name="connsiteY4" fmla="*/ 56988 h 16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2" h="167189">
                  <a:moveTo>
                    <a:pt x="183934" y="56988"/>
                  </a:moveTo>
                  <a:lnTo>
                    <a:pt x="45646" y="1688"/>
                  </a:lnTo>
                  <a:lnTo>
                    <a:pt x="1688" y="111584"/>
                  </a:lnTo>
                  <a:lnTo>
                    <a:pt x="139976" y="166883"/>
                  </a:lnTo>
                  <a:lnTo>
                    <a:pt x="183934" y="5698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6B4C2275-B1C8-4801-989E-C80D286E37C4}"/>
                </a:ext>
              </a:extLst>
            </p:cNvPr>
            <p:cNvSpPr/>
            <p:nvPr/>
          </p:nvSpPr>
          <p:spPr>
            <a:xfrm>
              <a:off x="164515" y="1277137"/>
              <a:ext cx="46442" cy="116104"/>
            </a:xfrm>
            <a:custGeom>
              <a:avLst/>
              <a:gdLst>
                <a:gd name="connsiteX0" fmla="*/ 45568 w 46441"/>
                <a:gd name="connsiteY0" fmla="*/ 1688 h 116104"/>
                <a:gd name="connsiteX1" fmla="*/ 1688 w 46441"/>
                <a:gd name="connsiteY1" fmla="*/ 1688 h 116104"/>
                <a:gd name="connsiteX2" fmla="*/ 1688 w 46441"/>
                <a:gd name="connsiteY2" fmla="*/ 117450 h 116104"/>
                <a:gd name="connsiteX3" fmla="*/ 45568 w 46441"/>
                <a:gd name="connsiteY3" fmla="*/ 117450 h 116104"/>
                <a:gd name="connsiteX4" fmla="*/ 45568 w 46441"/>
                <a:gd name="connsiteY4" fmla="*/ 1688 h 116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41" h="116104">
                  <a:moveTo>
                    <a:pt x="45568" y="1688"/>
                  </a:moveTo>
                  <a:lnTo>
                    <a:pt x="1688" y="1688"/>
                  </a:lnTo>
                  <a:lnTo>
                    <a:pt x="1688" y="117450"/>
                  </a:lnTo>
                  <a:lnTo>
                    <a:pt x="45568" y="117450"/>
                  </a:lnTo>
                  <a:lnTo>
                    <a:pt x="45568" y="1688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9C778917-5022-4D00-BEA4-FBB8DF359A32}"/>
                </a:ext>
              </a:extLst>
            </p:cNvPr>
            <p:cNvSpPr/>
            <p:nvPr/>
          </p:nvSpPr>
          <p:spPr>
            <a:xfrm>
              <a:off x="198230" y="1047650"/>
              <a:ext cx="413331" cy="264717"/>
            </a:xfrm>
            <a:custGeom>
              <a:avLst/>
              <a:gdLst>
                <a:gd name="connsiteX0" fmla="*/ 281159 w 413330"/>
                <a:gd name="connsiteY0" fmla="*/ 266923 h 264717"/>
                <a:gd name="connsiteX1" fmla="*/ 1688 w 413330"/>
                <a:gd name="connsiteY1" fmla="*/ 154681 h 264717"/>
                <a:gd name="connsiteX2" fmla="*/ 62854 w 413330"/>
                <a:gd name="connsiteY2" fmla="*/ 1688 h 264717"/>
                <a:gd name="connsiteX3" fmla="*/ 411704 w 413330"/>
                <a:gd name="connsiteY3" fmla="*/ 141462 h 264717"/>
                <a:gd name="connsiteX4" fmla="*/ 306658 w 413330"/>
                <a:gd name="connsiteY4" fmla="*/ 200595 h 264717"/>
                <a:gd name="connsiteX5" fmla="*/ 281159 w 413330"/>
                <a:gd name="connsiteY5" fmla="*/ 266923 h 264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3330" h="264717">
                  <a:moveTo>
                    <a:pt x="281159" y="266923"/>
                  </a:moveTo>
                  <a:lnTo>
                    <a:pt x="1688" y="154681"/>
                  </a:lnTo>
                  <a:lnTo>
                    <a:pt x="62854" y="1688"/>
                  </a:lnTo>
                  <a:lnTo>
                    <a:pt x="411704" y="141462"/>
                  </a:lnTo>
                  <a:lnTo>
                    <a:pt x="306658" y="200595"/>
                  </a:lnTo>
                  <a:lnTo>
                    <a:pt x="281159" y="266923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7BA1E260-FECA-449A-9AE7-8C2CE6F18B84}"/>
                </a:ext>
              </a:extLst>
            </p:cNvPr>
            <p:cNvSpPr/>
            <p:nvPr/>
          </p:nvSpPr>
          <p:spPr>
            <a:xfrm>
              <a:off x="249226" y="1076204"/>
              <a:ext cx="311159" cy="148613"/>
            </a:xfrm>
            <a:custGeom>
              <a:avLst/>
              <a:gdLst>
                <a:gd name="connsiteX0" fmla="*/ 243458 w 311159"/>
                <a:gd name="connsiteY0" fmla="*/ 147563 h 148613"/>
                <a:gd name="connsiteX1" fmla="*/ 1688 w 311159"/>
                <a:gd name="connsiteY1" fmla="*/ 50652 h 148613"/>
                <a:gd name="connsiteX2" fmla="*/ 21085 w 311159"/>
                <a:gd name="connsiteY2" fmla="*/ 1688 h 148613"/>
                <a:gd name="connsiteX3" fmla="*/ 311820 w 311159"/>
                <a:gd name="connsiteY3" fmla="*/ 117997 h 148613"/>
                <a:gd name="connsiteX4" fmla="*/ 243458 w 311159"/>
                <a:gd name="connsiteY4" fmla="*/ 147563 h 14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159" h="148613">
                  <a:moveTo>
                    <a:pt x="243458" y="147563"/>
                  </a:moveTo>
                  <a:lnTo>
                    <a:pt x="1688" y="50652"/>
                  </a:lnTo>
                  <a:lnTo>
                    <a:pt x="21085" y="1688"/>
                  </a:lnTo>
                  <a:lnTo>
                    <a:pt x="311820" y="117997"/>
                  </a:lnTo>
                  <a:lnTo>
                    <a:pt x="243458" y="14756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4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00" name="1 Customer - walks into store">
            <a:extLst>
              <a:ext uri="{FF2B5EF4-FFF2-40B4-BE49-F238E27FC236}">
                <a16:creationId xmlns:a16="http://schemas.microsoft.com/office/drawing/2014/main" id="{566C6AC5-1F31-4E71-B7EC-C3A0AC2DCA2A}"/>
              </a:ext>
            </a:extLst>
          </p:cNvPr>
          <p:cNvGrpSpPr/>
          <p:nvPr/>
        </p:nvGrpSpPr>
        <p:grpSpPr>
          <a:xfrm>
            <a:off x="1263047" y="3138494"/>
            <a:ext cx="538964" cy="2573747"/>
            <a:chOff x="718877" y="1766194"/>
            <a:chExt cx="465864" cy="2224672"/>
          </a:xfrm>
          <a:solidFill>
            <a:schemeClr val="accent1"/>
          </a:solidFill>
        </p:grpSpPr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22222EAE-B2DC-45C4-BF57-4109CE2FCFB6}"/>
                </a:ext>
              </a:extLst>
            </p:cNvPr>
            <p:cNvSpPr/>
            <p:nvPr/>
          </p:nvSpPr>
          <p:spPr>
            <a:xfrm>
              <a:off x="741639" y="2465000"/>
              <a:ext cx="68543" cy="366331"/>
            </a:xfrm>
            <a:custGeom>
              <a:avLst/>
              <a:gdLst>
                <a:gd name="connsiteX0" fmla="*/ 0 w 68543"/>
                <a:gd name="connsiteY0" fmla="*/ 6001 h 366331"/>
                <a:gd name="connsiteX1" fmla="*/ 38576 w 68543"/>
                <a:gd name="connsiteY1" fmla="*/ 366332 h 366331"/>
                <a:gd name="connsiteX2" fmla="*/ 50578 w 68543"/>
                <a:gd name="connsiteY2" fmla="*/ 366332 h 366331"/>
                <a:gd name="connsiteX3" fmla="*/ 63532 w 68543"/>
                <a:gd name="connsiteY3" fmla="*/ 0 h 36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43" h="366331">
                  <a:moveTo>
                    <a:pt x="0" y="6001"/>
                  </a:moveTo>
                  <a:cubicBezTo>
                    <a:pt x="0" y="6001"/>
                    <a:pt x="2477" y="222123"/>
                    <a:pt x="38576" y="366332"/>
                  </a:cubicBezTo>
                  <a:lnTo>
                    <a:pt x="50578" y="366332"/>
                  </a:lnTo>
                  <a:cubicBezTo>
                    <a:pt x="50578" y="366332"/>
                    <a:pt x="80010" y="167926"/>
                    <a:pt x="635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47546001-437A-4CAA-92F6-597430066E45}"/>
                </a:ext>
              </a:extLst>
            </p:cNvPr>
            <p:cNvSpPr/>
            <p:nvPr/>
          </p:nvSpPr>
          <p:spPr>
            <a:xfrm>
              <a:off x="732315" y="2077428"/>
              <a:ext cx="90960" cy="443934"/>
            </a:xfrm>
            <a:custGeom>
              <a:avLst/>
              <a:gdLst>
                <a:gd name="connsiteX0" fmla="*/ 37232 w 90960"/>
                <a:gd name="connsiteY0" fmla="*/ 0 h 443934"/>
                <a:gd name="connsiteX1" fmla="*/ 2942 w 90960"/>
                <a:gd name="connsiteY1" fmla="*/ 75248 h 443934"/>
                <a:gd name="connsiteX2" fmla="*/ 28660 w 90960"/>
                <a:gd name="connsiteY2" fmla="*/ 442341 h 443934"/>
                <a:gd name="connsiteX3" fmla="*/ 89048 w 90960"/>
                <a:gd name="connsiteY3" fmla="*/ 167545 h 443934"/>
                <a:gd name="connsiteX4" fmla="*/ 37232 w 90960"/>
                <a:gd name="connsiteY4" fmla="*/ 0 h 44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960" h="443934">
                  <a:moveTo>
                    <a:pt x="37232" y="0"/>
                  </a:moveTo>
                  <a:cubicBezTo>
                    <a:pt x="37232" y="0"/>
                    <a:pt x="5609" y="11906"/>
                    <a:pt x="2942" y="75248"/>
                  </a:cubicBezTo>
                  <a:cubicBezTo>
                    <a:pt x="-1535" y="186976"/>
                    <a:pt x="-5630" y="429006"/>
                    <a:pt x="28660" y="442341"/>
                  </a:cubicBezTo>
                  <a:cubicBezTo>
                    <a:pt x="95335" y="468344"/>
                    <a:pt x="89048" y="167545"/>
                    <a:pt x="89048" y="167545"/>
                  </a:cubicBezTo>
                  <a:cubicBezTo>
                    <a:pt x="89048" y="167545"/>
                    <a:pt x="106288" y="16478"/>
                    <a:pt x="372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EEC4D687-DE8B-46B7-9F82-29B1F6B93396}"/>
                </a:ext>
              </a:extLst>
            </p:cNvPr>
            <p:cNvSpPr/>
            <p:nvPr/>
          </p:nvSpPr>
          <p:spPr>
            <a:xfrm>
              <a:off x="765119" y="3122415"/>
              <a:ext cx="159399" cy="729043"/>
            </a:xfrm>
            <a:custGeom>
              <a:avLst/>
              <a:gdLst>
                <a:gd name="connsiteX0" fmla="*/ 159400 w 159399"/>
                <a:gd name="connsiteY0" fmla="*/ 52388 h 729043"/>
                <a:gd name="connsiteX1" fmla="*/ 125777 w 159399"/>
                <a:gd name="connsiteY1" fmla="*/ 349187 h 729043"/>
                <a:gd name="connsiteX2" fmla="*/ 90439 w 159399"/>
                <a:gd name="connsiteY2" fmla="*/ 729043 h 729043"/>
                <a:gd name="connsiteX3" fmla="*/ 62721 w 159399"/>
                <a:gd name="connsiteY3" fmla="*/ 723424 h 729043"/>
                <a:gd name="connsiteX4" fmla="*/ 142 w 159399"/>
                <a:gd name="connsiteY4" fmla="*/ 318611 h 729043"/>
                <a:gd name="connsiteX5" fmla="*/ 52625 w 159399"/>
                <a:gd name="connsiteY5" fmla="*/ 139160 h 729043"/>
                <a:gd name="connsiteX6" fmla="*/ 37385 w 159399"/>
                <a:gd name="connsiteY6" fmla="*/ 0 h 72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99" h="729043">
                  <a:moveTo>
                    <a:pt x="159400" y="52388"/>
                  </a:moveTo>
                  <a:cubicBezTo>
                    <a:pt x="159400" y="52388"/>
                    <a:pt x="142541" y="177260"/>
                    <a:pt x="125777" y="349187"/>
                  </a:cubicBezTo>
                  <a:cubicBezTo>
                    <a:pt x="113204" y="478060"/>
                    <a:pt x="90248" y="572072"/>
                    <a:pt x="90439" y="729043"/>
                  </a:cubicBezTo>
                  <a:cubicBezTo>
                    <a:pt x="90439" y="729043"/>
                    <a:pt x="92439" y="723424"/>
                    <a:pt x="62721" y="723424"/>
                  </a:cubicBezTo>
                  <a:cubicBezTo>
                    <a:pt x="50053" y="664559"/>
                    <a:pt x="-3097" y="379190"/>
                    <a:pt x="142" y="318611"/>
                  </a:cubicBezTo>
                  <a:cubicBezTo>
                    <a:pt x="3380" y="258032"/>
                    <a:pt x="52625" y="139160"/>
                    <a:pt x="52625" y="139160"/>
                  </a:cubicBezTo>
                  <a:lnTo>
                    <a:pt x="37385" y="0"/>
                  </a:ln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8E370BC5-1399-475F-A602-F6E4774BF945}"/>
                </a:ext>
              </a:extLst>
            </p:cNvPr>
            <p:cNvSpPr/>
            <p:nvPr/>
          </p:nvSpPr>
          <p:spPr>
            <a:xfrm>
              <a:off x="830127" y="3887555"/>
              <a:ext cx="47720" cy="42961"/>
            </a:xfrm>
            <a:custGeom>
              <a:avLst/>
              <a:gdLst>
                <a:gd name="connsiteX0" fmla="*/ 47720 w 47720"/>
                <a:gd name="connsiteY0" fmla="*/ 42962 h 42961"/>
                <a:gd name="connsiteX1" fmla="*/ 25336 w 47720"/>
                <a:gd name="connsiteY1" fmla="*/ 28579 h 42961"/>
                <a:gd name="connsiteX2" fmla="*/ 0 w 47720"/>
                <a:gd name="connsiteY2" fmla="*/ 4 h 42961"/>
                <a:gd name="connsiteX3" fmla="*/ 47720 w 47720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" h="42961">
                  <a:moveTo>
                    <a:pt x="47720" y="42962"/>
                  </a:moveTo>
                  <a:cubicBezTo>
                    <a:pt x="39772" y="38971"/>
                    <a:pt x="32268" y="34151"/>
                    <a:pt x="25336" y="28579"/>
                  </a:cubicBezTo>
                  <a:cubicBezTo>
                    <a:pt x="25336" y="28579"/>
                    <a:pt x="23717" y="14863"/>
                    <a:pt x="0" y="4"/>
                  </a:cubicBezTo>
                  <a:cubicBezTo>
                    <a:pt x="0" y="-282"/>
                    <a:pt x="45529" y="15149"/>
                    <a:pt x="47720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21550486-3A30-4310-8B2D-E9881F30D9C3}"/>
                </a:ext>
              </a:extLst>
            </p:cNvPr>
            <p:cNvSpPr/>
            <p:nvPr/>
          </p:nvSpPr>
          <p:spPr>
            <a:xfrm>
              <a:off x="820598" y="3841553"/>
              <a:ext cx="88993" cy="88963"/>
            </a:xfrm>
            <a:custGeom>
              <a:avLst/>
              <a:gdLst>
                <a:gd name="connsiteX0" fmla="*/ 6671 w 88993"/>
                <a:gd name="connsiteY0" fmla="*/ 4667 h 88963"/>
                <a:gd name="connsiteX1" fmla="*/ 9529 w 88993"/>
                <a:gd name="connsiteY1" fmla="*/ 45720 h 88963"/>
                <a:gd name="connsiteX2" fmla="*/ 57154 w 88993"/>
                <a:gd name="connsiteY2" fmla="*/ 88963 h 88963"/>
                <a:gd name="connsiteX3" fmla="*/ 84395 w 88993"/>
                <a:gd name="connsiteY3" fmla="*/ 46101 h 88963"/>
                <a:gd name="connsiteX4" fmla="*/ 55820 w 88993"/>
                <a:gd name="connsiteY4" fmla="*/ 47339 h 88963"/>
                <a:gd name="connsiteX5" fmla="*/ 22102 w 88993"/>
                <a:gd name="connsiteY5" fmla="*/ 1810 h 88963"/>
                <a:gd name="connsiteX6" fmla="*/ 11719 w 88993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93" h="88963">
                  <a:moveTo>
                    <a:pt x="6671" y="4667"/>
                  </a:moveTo>
                  <a:cubicBezTo>
                    <a:pt x="6671" y="4667"/>
                    <a:pt x="-10093" y="35909"/>
                    <a:pt x="9529" y="45720"/>
                  </a:cubicBezTo>
                  <a:cubicBezTo>
                    <a:pt x="32579" y="57150"/>
                    <a:pt x="52867" y="76200"/>
                    <a:pt x="57154" y="88963"/>
                  </a:cubicBezTo>
                  <a:cubicBezTo>
                    <a:pt x="57154" y="88963"/>
                    <a:pt x="103445" y="56483"/>
                    <a:pt x="84395" y="46101"/>
                  </a:cubicBezTo>
                  <a:cubicBezTo>
                    <a:pt x="75156" y="42262"/>
                    <a:pt x="64693" y="42720"/>
                    <a:pt x="55820" y="47339"/>
                  </a:cubicBezTo>
                  <a:lnTo>
                    <a:pt x="22102" y="1810"/>
                  </a:lnTo>
                  <a:lnTo>
                    <a:pt x="11719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53E203F5-6E1C-452A-8354-0E5F2EC876FD}"/>
                </a:ext>
              </a:extLst>
            </p:cNvPr>
            <p:cNvSpPr/>
            <p:nvPr/>
          </p:nvSpPr>
          <p:spPr>
            <a:xfrm>
              <a:off x="827269" y="3834153"/>
              <a:ext cx="63827" cy="65422"/>
            </a:xfrm>
            <a:custGeom>
              <a:avLst/>
              <a:gdLst>
                <a:gd name="connsiteX0" fmla="*/ 0 w 63827"/>
                <a:gd name="connsiteY0" fmla="*/ 12067 h 65422"/>
                <a:gd name="connsiteX1" fmla="*/ 18383 w 63827"/>
                <a:gd name="connsiteY1" fmla="*/ 15115 h 65422"/>
                <a:gd name="connsiteX2" fmla="*/ 52102 w 63827"/>
                <a:gd name="connsiteY2" fmla="*/ 65216 h 65422"/>
                <a:gd name="connsiteX3" fmla="*/ 53531 w 63827"/>
                <a:gd name="connsiteY3" fmla="*/ 52834 h 65422"/>
                <a:gd name="connsiteX4" fmla="*/ 29623 w 63827"/>
                <a:gd name="connsiteY4" fmla="*/ 14734 h 65422"/>
                <a:gd name="connsiteX5" fmla="*/ 0 w 63827"/>
                <a:gd name="connsiteY5" fmla="*/ 12067 h 6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422">
                  <a:moveTo>
                    <a:pt x="0" y="12067"/>
                  </a:moveTo>
                  <a:cubicBezTo>
                    <a:pt x="0" y="12067"/>
                    <a:pt x="7525" y="3304"/>
                    <a:pt x="18383" y="15115"/>
                  </a:cubicBezTo>
                  <a:cubicBezTo>
                    <a:pt x="29242" y="26926"/>
                    <a:pt x="40291" y="61692"/>
                    <a:pt x="52102" y="65216"/>
                  </a:cubicBezTo>
                  <a:cubicBezTo>
                    <a:pt x="59055" y="67407"/>
                    <a:pt x="73819" y="51405"/>
                    <a:pt x="53531" y="52834"/>
                  </a:cubicBezTo>
                  <a:cubicBezTo>
                    <a:pt x="46958" y="49690"/>
                    <a:pt x="43148" y="40927"/>
                    <a:pt x="29623" y="14734"/>
                  </a:cubicBezTo>
                  <a:cubicBezTo>
                    <a:pt x="29623" y="14829"/>
                    <a:pt x="18288" y="-16604"/>
                    <a:pt x="0" y="12067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D541A708-7C83-4504-B113-32BF727318A3}"/>
                </a:ext>
              </a:extLst>
            </p:cNvPr>
            <p:cNvSpPr/>
            <p:nvPr/>
          </p:nvSpPr>
          <p:spPr>
            <a:xfrm>
              <a:off x="824792" y="3883177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72" y="22870"/>
                    <a:pt x="12769" y="3802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572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F36D3662-876B-4A91-9DF6-B7054439BB01}"/>
                </a:ext>
              </a:extLst>
            </p:cNvPr>
            <p:cNvSpPr/>
            <p:nvPr/>
          </p:nvSpPr>
          <p:spPr>
            <a:xfrm>
              <a:off x="858369" y="3178041"/>
              <a:ext cx="159590" cy="726471"/>
            </a:xfrm>
            <a:custGeom>
              <a:avLst/>
              <a:gdLst>
                <a:gd name="connsiteX0" fmla="*/ 159590 w 159590"/>
                <a:gd name="connsiteY0" fmla="*/ 52673 h 726471"/>
                <a:gd name="connsiteX1" fmla="*/ 125967 w 159590"/>
                <a:gd name="connsiteY1" fmla="*/ 349472 h 726471"/>
                <a:gd name="connsiteX2" fmla="*/ 91391 w 159590"/>
                <a:gd name="connsiteY2" fmla="*/ 726472 h 726471"/>
                <a:gd name="connsiteX3" fmla="*/ 62816 w 159590"/>
                <a:gd name="connsiteY3" fmla="*/ 723710 h 726471"/>
                <a:gd name="connsiteX4" fmla="*/ 142 w 159590"/>
                <a:gd name="connsiteY4" fmla="*/ 318897 h 726471"/>
                <a:gd name="connsiteX5" fmla="*/ 52720 w 159590"/>
                <a:gd name="connsiteY5" fmla="*/ 139065 h 726471"/>
                <a:gd name="connsiteX6" fmla="*/ 37384 w 159590"/>
                <a:gd name="connsiteY6" fmla="*/ 0 h 72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90" h="726471">
                  <a:moveTo>
                    <a:pt x="159590" y="52673"/>
                  </a:moveTo>
                  <a:cubicBezTo>
                    <a:pt x="159590" y="52673"/>
                    <a:pt x="142731" y="177737"/>
                    <a:pt x="125967" y="349472"/>
                  </a:cubicBezTo>
                  <a:cubicBezTo>
                    <a:pt x="113394" y="478441"/>
                    <a:pt x="91296" y="569405"/>
                    <a:pt x="91391" y="726472"/>
                  </a:cubicBezTo>
                  <a:cubicBezTo>
                    <a:pt x="91391" y="726472"/>
                    <a:pt x="92534" y="723710"/>
                    <a:pt x="62816" y="723710"/>
                  </a:cubicBezTo>
                  <a:cubicBezTo>
                    <a:pt x="50148" y="664940"/>
                    <a:pt x="-3097" y="379476"/>
                    <a:pt x="142" y="318897"/>
                  </a:cubicBezTo>
                  <a:cubicBezTo>
                    <a:pt x="3380" y="258318"/>
                    <a:pt x="52720" y="139065"/>
                    <a:pt x="52720" y="139065"/>
                  </a:cubicBezTo>
                  <a:lnTo>
                    <a:pt x="37384" y="0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6970EF1B-6137-45BD-BC23-F7D29C6FFF99}"/>
                </a:ext>
              </a:extLst>
            </p:cNvPr>
            <p:cNvSpPr/>
            <p:nvPr/>
          </p:nvSpPr>
          <p:spPr>
            <a:xfrm>
              <a:off x="923567" y="3941180"/>
              <a:ext cx="47815" cy="42961"/>
            </a:xfrm>
            <a:custGeom>
              <a:avLst/>
              <a:gdLst>
                <a:gd name="connsiteX0" fmla="*/ 47816 w 47815"/>
                <a:gd name="connsiteY0" fmla="*/ 42962 h 42961"/>
                <a:gd name="connsiteX1" fmla="*/ 25336 w 47815"/>
                <a:gd name="connsiteY1" fmla="*/ 28579 h 42961"/>
                <a:gd name="connsiteX2" fmla="*/ 0 w 47815"/>
                <a:gd name="connsiteY2" fmla="*/ 4 h 42961"/>
                <a:gd name="connsiteX3" fmla="*/ 47816 w 47815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42961">
                  <a:moveTo>
                    <a:pt x="47816" y="42962"/>
                  </a:moveTo>
                  <a:cubicBezTo>
                    <a:pt x="39847" y="38952"/>
                    <a:pt x="32314" y="34132"/>
                    <a:pt x="25336" y="28579"/>
                  </a:cubicBezTo>
                  <a:cubicBezTo>
                    <a:pt x="25336" y="28579"/>
                    <a:pt x="23813" y="14863"/>
                    <a:pt x="0" y="4"/>
                  </a:cubicBezTo>
                  <a:cubicBezTo>
                    <a:pt x="0" y="-282"/>
                    <a:pt x="45530" y="15149"/>
                    <a:pt x="47816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F3312CDD-9AF5-41B3-B869-0BB35BD2F03E}"/>
                </a:ext>
              </a:extLst>
            </p:cNvPr>
            <p:cNvSpPr/>
            <p:nvPr/>
          </p:nvSpPr>
          <p:spPr>
            <a:xfrm>
              <a:off x="914067" y="3895083"/>
              <a:ext cx="88964" cy="88963"/>
            </a:xfrm>
            <a:custGeom>
              <a:avLst/>
              <a:gdLst>
                <a:gd name="connsiteX0" fmla="*/ 6737 w 88964"/>
                <a:gd name="connsiteY0" fmla="*/ 4667 h 88963"/>
                <a:gd name="connsiteX1" fmla="*/ 9499 w 88964"/>
                <a:gd name="connsiteY1" fmla="*/ 45720 h 88963"/>
                <a:gd name="connsiteX2" fmla="*/ 57124 w 88964"/>
                <a:gd name="connsiteY2" fmla="*/ 88964 h 88963"/>
                <a:gd name="connsiteX3" fmla="*/ 84366 w 88964"/>
                <a:gd name="connsiteY3" fmla="*/ 46101 h 88963"/>
                <a:gd name="connsiteX4" fmla="*/ 55791 w 88964"/>
                <a:gd name="connsiteY4" fmla="*/ 47339 h 88963"/>
                <a:gd name="connsiteX5" fmla="*/ 21977 w 88964"/>
                <a:gd name="connsiteY5" fmla="*/ 1810 h 88963"/>
                <a:gd name="connsiteX6" fmla="*/ 11595 w 88964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64" h="88963">
                  <a:moveTo>
                    <a:pt x="6737" y="4667"/>
                  </a:moveTo>
                  <a:cubicBezTo>
                    <a:pt x="6737" y="4667"/>
                    <a:pt x="-10122" y="35909"/>
                    <a:pt x="9499" y="45720"/>
                  </a:cubicBezTo>
                  <a:cubicBezTo>
                    <a:pt x="32550" y="57150"/>
                    <a:pt x="52838" y="76200"/>
                    <a:pt x="57124" y="88964"/>
                  </a:cubicBezTo>
                  <a:cubicBezTo>
                    <a:pt x="57124" y="88964"/>
                    <a:pt x="103416" y="56483"/>
                    <a:pt x="84366" y="46101"/>
                  </a:cubicBezTo>
                  <a:cubicBezTo>
                    <a:pt x="75128" y="42253"/>
                    <a:pt x="64660" y="42710"/>
                    <a:pt x="55791" y="47339"/>
                  </a:cubicBezTo>
                  <a:lnTo>
                    <a:pt x="21977" y="1810"/>
                  </a:lnTo>
                  <a:lnTo>
                    <a:pt x="11595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6544A486-35E7-4254-903F-0C3959F41294}"/>
                </a:ext>
              </a:extLst>
            </p:cNvPr>
            <p:cNvSpPr/>
            <p:nvPr/>
          </p:nvSpPr>
          <p:spPr>
            <a:xfrm>
              <a:off x="920805" y="3887745"/>
              <a:ext cx="63827" cy="65361"/>
            </a:xfrm>
            <a:custGeom>
              <a:avLst/>
              <a:gdLst>
                <a:gd name="connsiteX0" fmla="*/ 0 w 63827"/>
                <a:gd name="connsiteY0" fmla="*/ 12005 h 65361"/>
                <a:gd name="connsiteX1" fmla="*/ 18288 w 63827"/>
                <a:gd name="connsiteY1" fmla="*/ 15053 h 65361"/>
                <a:gd name="connsiteX2" fmla="*/ 52102 w 63827"/>
                <a:gd name="connsiteY2" fmla="*/ 65155 h 65361"/>
                <a:gd name="connsiteX3" fmla="*/ 53530 w 63827"/>
                <a:gd name="connsiteY3" fmla="*/ 52772 h 65361"/>
                <a:gd name="connsiteX4" fmla="*/ 29623 w 63827"/>
                <a:gd name="connsiteY4" fmla="*/ 14672 h 65361"/>
                <a:gd name="connsiteX5" fmla="*/ 0 w 63827"/>
                <a:gd name="connsiteY5" fmla="*/ 12005 h 6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361">
                  <a:moveTo>
                    <a:pt x="0" y="12005"/>
                  </a:moveTo>
                  <a:cubicBezTo>
                    <a:pt x="0" y="12005"/>
                    <a:pt x="7525" y="3242"/>
                    <a:pt x="18288" y="15053"/>
                  </a:cubicBezTo>
                  <a:cubicBezTo>
                    <a:pt x="29051" y="26864"/>
                    <a:pt x="40291" y="61630"/>
                    <a:pt x="52102" y="65155"/>
                  </a:cubicBezTo>
                  <a:cubicBezTo>
                    <a:pt x="59055" y="67345"/>
                    <a:pt x="73819" y="51343"/>
                    <a:pt x="53530" y="52772"/>
                  </a:cubicBezTo>
                  <a:cubicBezTo>
                    <a:pt x="46958" y="49629"/>
                    <a:pt x="43053" y="40866"/>
                    <a:pt x="29623" y="14672"/>
                  </a:cubicBezTo>
                  <a:cubicBezTo>
                    <a:pt x="29623" y="14863"/>
                    <a:pt x="18288" y="-16570"/>
                    <a:pt x="0" y="12005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30757A86-34D2-495B-B4C6-E358EDE99F0F}"/>
                </a:ext>
              </a:extLst>
            </p:cNvPr>
            <p:cNvSpPr/>
            <p:nvPr/>
          </p:nvSpPr>
          <p:spPr>
            <a:xfrm>
              <a:off x="918423" y="3936803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14" y="22850"/>
                    <a:pt x="12709" y="3801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477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B606D8AB-A192-44F9-9534-6AA78300F5E1}"/>
                </a:ext>
              </a:extLst>
            </p:cNvPr>
            <p:cNvSpPr/>
            <p:nvPr/>
          </p:nvSpPr>
          <p:spPr>
            <a:xfrm>
              <a:off x="727915" y="2587110"/>
              <a:ext cx="398285" cy="755363"/>
            </a:xfrm>
            <a:custGeom>
              <a:avLst/>
              <a:gdLst>
                <a:gd name="connsiteX0" fmla="*/ 68874 w 398285"/>
                <a:gd name="connsiteY0" fmla="*/ 607123 h 755363"/>
                <a:gd name="connsiteX1" fmla="*/ 60683 w 398285"/>
                <a:gd name="connsiteY1" fmla="*/ 0 h 755363"/>
                <a:gd name="connsiteX2" fmla="*/ 393105 w 398285"/>
                <a:gd name="connsiteY2" fmla="*/ 200025 h 755363"/>
                <a:gd name="connsiteX3" fmla="*/ 303665 w 398285"/>
                <a:gd name="connsiteY3" fmla="*/ 737997 h 755363"/>
                <a:gd name="connsiteX4" fmla="*/ 215845 w 398285"/>
                <a:gd name="connsiteY4" fmla="*/ 747522 h 755363"/>
                <a:gd name="connsiteX5" fmla="*/ 68874 w 398285"/>
                <a:gd name="connsiteY5" fmla="*/ 607123 h 75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285" h="755363">
                  <a:moveTo>
                    <a:pt x="68874" y="607123"/>
                  </a:moveTo>
                  <a:cubicBezTo>
                    <a:pt x="68874" y="607123"/>
                    <a:pt x="-80478" y="205454"/>
                    <a:pt x="60683" y="0"/>
                  </a:cubicBezTo>
                  <a:cubicBezTo>
                    <a:pt x="60683" y="0"/>
                    <a:pt x="318429" y="76200"/>
                    <a:pt x="393105" y="200025"/>
                  </a:cubicBezTo>
                  <a:cubicBezTo>
                    <a:pt x="393105" y="200025"/>
                    <a:pt x="430634" y="352425"/>
                    <a:pt x="303665" y="737997"/>
                  </a:cubicBezTo>
                  <a:cubicBezTo>
                    <a:pt x="303665" y="737997"/>
                    <a:pt x="281567" y="769620"/>
                    <a:pt x="215845" y="747522"/>
                  </a:cubicBezTo>
                  <a:cubicBezTo>
                    <a:pt x="98401" y="700850"/>
                    <a:pt x="68874" y="607123"/>
                    <a:pt x="68874" y="60712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C2B7E853-B7BC-485E-A0EB-DD3CFBD15684}"/>
                </a:ext>
              </a:extLst>
            </p:cNvPr>
            <p:cNvSpPr/>
            <p:nvPr/>
          </p:nvSpPr>
          <p:spPr>
            <a:xfrm>
              <a:off x="760564" y="2077428"/>
              <a:ext cx="347193" cy="481012"/>
            </a:xfrm>
            <a:custGeom>
              <a:avLst/>
              <a:gdLst>
                <a:gd name="connsiteX0" fmla="*/ 312736 w 347193"/>
                <a:gd name="connsiteY0" fmla="*/ 174498 h 481012"/>
                <a:gd name="connsiteX1" fmla="*/ 8984 w 347193"/>
                <a:gd name="connsiteY1" fmla="*/ 0 h 481012"/>
                <a:gd name="connsiteX2" fmla="*/ 602 w 347193"/>
                <a:gd name="connsiteY2" fmla="*/ 73533 h 481012"/>
                <a:gd name="connsiteX3" fmla="*/ 100233 w 347193"/>
                <a:gd name="connsiteY3" fmla="*/ 400431 h 481012"/>
                <a:gd name="connsiteX4" fmla="*/ 241013 w 347193"/>
                <a:gd name="connsiteY4" fmla="*/ 481013 h 481012"/>
                <a:gd name="connsiteX5" fmla="*/ 344073 w 347193"/>
                <a:gd name="connsiteY5" fmla="*/ 301752 h 481012"/>
                <a:gd name="connsiteX6" fmla="*/ 312736 w 347193"/>
                <a:gd name="connsiteY6" fmla="*/ 174498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193" h="481012">
                  <a:moveTo>
                    <a:pt x="312736" y="174498"/>
                  </a:moveTo>
                  <a:cubicBezTo>
                    <a:pt x="312736" y="174498"/>
                    <a:pt x="214057" y="83153"/>
                    <a:pt x="8984" y="0"/>
                  </a:cubicBezTo>
                  <a:cubicBezTo>
                    <a:pt x="1486" y="23744"/>
                    <a:pt x="-1360" y="48711"/>
                    <a:pt x="602" y="73533"/>
                  </a:cubicBezTo>
                  <a:cubicBezTo>
                    <a:pt x="4697" y="144304"/>
                    <a:pt x="31272" y="259461"/>
                    <a:pt x="100233" y="400431"/>
                  </a:cubicBezTo>
                  <a:lnTo>
                    <a:pt x="241013" y="481013"/>
                  </a:lnTo>
                  <a:cubicBezTo>
                    <a:pt x="252157" y="393573"/>
                    <a:pt x="325976" y="362617"/>
                    <a:pt x="344073" y="301752"/>
                  </a:cubicBezTo>
                  <a:cubicBezTo>
                    <a:pt x="353313" y="270796"/>
                    <a:pt x="341787" y="242506"/>
                    <a:pt x="312736" y="174498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BF9EE47B-1E3D-4EA5-A037-99474EF6633F}"/>
                </a:ext>
              </a:extLst>
            </p:cNvPr>
            <p:cNvSpPr/>
            <p:nvPr/>
          </p:nvSpPr>
          <p:spPr>
            <a:xfrm>
              <a:off x="776882" y="2475287"/>
              <a:ext cx="344138" cy="311753"/>
            </a:xfrm>
            <a:custGeom>
              <a:avLst/>
              <a:gdLst>
                <a:gd name="connsiteX0" fmla="*/ 224695 w 344138"/>
                <a:gd name="connsiteY0" fmla="*/ 83153 h 311753"/>
                <a:gd name="connsiteX1" fmla="*/ 344138 w 344138"/>
                <a:gd name="connsiteY1" fmla="*/ 311753 h 311753"/>
                <a:gd name="connsiteX2" fmla="*/ 0 w 344138"/>
                <a:gd name="connsiteY2" fmla="*/ 114300 h 311753"/>
                <a:gd name="connsiteX3" fmla="*/ 85725 w 344138"/>
                <a:gd name="connsiteY3" fmla="*/ 0 h 311753"/>
                <a:gd name="connsiteX4" fmla="*/ 224695 w 344138"/>
                <a:gd name="connsiteY4" fmla="*/ 83153 h 31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38" h="311753">
                  <a:moveTo>
                    <a:pt x="224695" y="83153"/>
                  </a:moveTo>
                  <a:cubicBezTo>
                    <a:pt x="224695" y="83153"/>
                    <a:pt x="290703" y="154019"/>
                    <a:pt x="344138" y="311753"/>
                  </a:cubicBezTo>
                  <a:lnTo>
                    <a:pt x="0" y="114300"/>
                  </a:lnTo>
                  <a:lnTo>
                    <a:pt x="85725" y="0"/>
                  </a:lnTo>
                  <a:cubicBezTo>
                    <a:pt x="85725" y="0"/>
                    <a:pt x="186595" y="2096"/>
                    <a:pt x="224695" y="8315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8F466556-A2EF-4970-A1D2-80FD9B75F7ED}"/>
                </a:ext>
              </a:extLst>
            </p:cNvPr>
            <p:cNvSpPr/>
            <p:nvPr/>
          </p:nvSpPr>
          <p:spPr>
            <a:xfrm>
              <a:off x="718877" y="2077428"/>
              <a:ext cx="376615" cy="1265647"/>
            </a:xfrm>
            <a:custGeom>
              <a:avLst/>
              <a:gdLst>
                <a:gd name="connsiteX0" fmla="*/ 77912 w 376615"/>
                <a:gd name="connsiteY0" fmla="*/ 1116806 h 1265647"/>
                <a:gd name="connsiteX1" fmla="*/ 58005 w 376615"/>
                <a:gd name="connsiteY1" fmla="*/ 512159 h 1265647"/>
                <a:gd name="connsiteX2" fmla="*/ 141920 w 376615"/>
                <a:gd name="connsiteY2" fmla="*/ 400431 h 1265647"/>
                <a:gd name="connsiteX3" fmla="*/ 42288 w 376615"/>
                <a:gd name="connsiteY3" fmla="*/ 73533 h 1265647"/>
                <a:gd name="connsiteX4" fmla="*/ 50670 w 376615"/>
                <a:gd name="connsiteY4" fmla="*/ 0 h 1265647"/>
                <a:gd name="connsiteX5" fmla="*/ 338802 w 376615"/>
                <a:gd name="connsiteY5" fmla="*/ 161068 h 1265647"/>
                <a:gd name="connsiteX6" fmla="*/ 267269 w 376615"/>
                <a:gd name="connsiteY6" fmla="*/ 477298 h 1265647"/>
                <a:gd name="connsiteX7" fmla="*/ 29144 w 376615"/>
                <a:gd name="connsiteY7" fmla="*/ 607314 h 1265647"/>
                <a:gd name="connsiteX8" fmla="*/ 376616 w 376615"/>
                <a:gd name="connsiteY8" fmla="*/ 805625 h 1265647"/>
                <a:gd name="connsiteX9" fmla="*/ 274889 w 376615"/>
                <a:gd name="connsiteY9" fmla="*/ 1264253 h 1265647"/>
                <a:gd name="connsiteX10" fmla="*/ 164970 w 376615"/>
                <a:gd name="connsiteY10" fmla="*/ 1224725 h 1265647"/>
                <a:gd name="connsiteX11" fmla="*/ 77912 w 376615"/>
                <a:gd name="connsiteY11" fmla="*/ 1116806 h 12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615" h="1265647">
                  <a:moveTo>
                    <a:pt x="77912" y="1116806"/>
                  </a:moveTo>
                  <a:cubicBezTo>
                    <a:pt x="77912" y="1116806"/>
                    <a:pt x="-83251" y="717423"/>
                    <a:pt x="58005" y="512159"/>
                  </a:cubicBezTo>
                  <a:lnTo>
                    <a:pt x="141920" y="400431"/>
                  </a:lnTo>
                  <a:cubicBezTo>
                    <a:pt x="72959" y="259461"/>
                    <a:pt x="46384" y="144304"/>
                    <a:pt x="42288" y="73533"/>
                  </a:cubicBezTo>
                  <a:cubicBezTo>
                    <a:pt x="40326" y="48711"/>
                    <a:pt x="43172" y="23744"/>
                    <a:pt x="50670" y="0"/>
                  </a:cubicBezTo>
                  <a:cubicBezTo>
                    <a:pt x="208785" y="64198"/>
                    <a:pt x="303654" y="133350"/>
                    <a:pt x="338802" y="161068"/>
                  </a:cubicBezTo>
                  <a:cubicBezTo>
                    <a:pt x="297273" y="173926"/>
                    <a:pt x="230979" y="279273"/>
                    <a:pt x="267269" y="477298"/>
                  </a:cubicBezTo>
                  <a:cubicBezTo>
                    <a:pt x="267269" y="477298"/>
                    <a:pt x="39336" y="509492"/>
                    <a:pt x="29144" y="607314"/>
                  </a:cubicBezTo>
                  <a:cubicBezTo>
                    <a:pt x="15809" y="736473"/>
                    <a:pt x="326800" y="853631"/>
                    <a:pt x="376616" y="805625"/>
                  </a:cubicBezTo>
                  <a:cubicBezTo>
                    <a:pt x="376616" y="805625"/>
                    <a:pt x="374616" y="970216"/>
                    <a:pt x="274889" y="1264253"/>
                  </a:cubicBezTo>
                  <a:cubicBezTo>
                    <a:pt x="274889" y="1264253"/>
                    <a:pt x="240313" y="1277112"/>
                    <a:pt x="164970" y="1224725"/>
                  </a:cubicBezTo>
                  <a:cubicBezTo>
                    <a:pt x="89628" y="1172337"/>
                    <a:pt x="77912" y="1116806"/>
                    <a:pt x="77912" y="1116806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10EB90DF-A752-45F4-BECA-CF2738449853}"/>
                </a:ext>
              </a:extLst>
            </p:cNvPr>
            <p:cNvSpPr/>
            <p:nvPr/>
          </p:nvSpPr>
          <p:spPr>
            <a:xfrm>
              <a:off x="790788" y="2085714"/>
              <a:ext cx="247173" cy="209550"/>
            </a:xfrm>
            <a:custGeom>
              <a:avLst/>
              <a:gdLst>
                <a:gd name="connsiteX0" fmla="*/ 247174 w 247173"/>
                <a:gd name="connsiteY0" fmla="*/ 137636 h 209550"/>
                <a:gd name="connsiteX1" fmla="*/ 82677 w 247173"/>
                <a:gd name="connsiteY1" fmla="*/ 209550 h 209550"/>
                <a:gd name="connsiteX2" fmla="*/ 0 w 247173"/>
                <a:gd name="connsiteY2" fmla="*/ 0 h 209550"/>
                <a:gd name="connsiteX3" fmla="*/ 247174 w 247173"/>
                <a:gd name="connsiteY3" fmla="*/ 13763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173" h="209550">
                  <a:moveTo>
                    <a:pt x="247174" y="137636"/>
                  </a:moveTo>
                  <a:cubicBezTo>
                    <a:pt x="191028" y="158482"/>
                    <a:pt x="136107" y="182491"/>
                    <a:pt x="82677" y="209550"/>
                  </a:cubicBezTo>
                  <a:cubicBezTo>
                    <a:pt x="69818" y="185071"/>
                    <a:pt x="16002" y="111824"/>
                    <a:pt x="0" y="0"/>
                  </a:cubicBezTo>
                  <a:cubicBezTo>
                    <a:pt x="0" y="381"/>
                    <a:pt x="171164" y="78677"/>
                    <a:pt x="247174" y="137636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B1D86B11-03B6-4561-9200-918409D67FE3}"/>
                </a:ext>
              </a:extLst>
            </p:cNvPr>
            <p:cNvSpPr/>
            <p:nvPr/>
          </p:nvSpPr>
          <p:spPr>
            <a:xfrm>
              <a:off x="790788" y="2086095"/>
              <a:ext cx="230028" cy="127319"/>
            </a:xfrm>
            <a:custGeom>
              <a:avLst/>
              <a:gdLst>
                <a:gd name="connsiteX0" fmla="*/ 230029 w 230028"/>
                <a:gd name="connsiteY0" fmla="*/ 125063 h 127319"/>
                <a:gd name="connsiteX1" fmla="*/ 0 w 230028"/>
                <a:gd name="connsiteY1" fmla="*/ 0 h 127319"/>
                <a:gd name="connsiteX2" fmla="*/ 230029 w 230028"/>
                <a:gd name="connsiteY2" fmla="*/ 125063 h 12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028" h="127319">
                  <a:moveTo>
                    <a:pt x="230029" y="125063"/>
                  </a:moveTo>
                  <a:cubicBezTo>
                    <a:pt x="230029" y="125063"/>
                    <a:pt x="65723" y="154591"/>
                    <a:pt x="0" y="0"/>
                  </a:cubicBezTo>
                  <a:cubicBezTo>
                    <a:pt x="81646" y="31814"/>
                    <a:pt x="158937" y="73835"/>
                    <a:pt x="230029" y="125063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4B6FD43F-B3F5-4F97-AAE5-9B80F7C24448}"/>
                </a:ext>
              </a:extLst>
            </p:cNvPr>
            <p:cNvSpPr/>
            <p:nvPr/>
          </p:nvSpPr>
          <p:spPr>
            <a:xfrm>
              <a:off x="852225" y="1997515"/>
              <a:ext cx="161925" cy="218310"/>
            </a:xfrm>
            <a:custGeom>
              <a:avLst/>
              <a:gdLst>
                <a:gd name="connsiteX0" fmla="*/ 161925 w 161925"/>
                <a:gd name="connsiteY0" fmla="*/ 107535 h 218310"/>
                <a:gd name="connsiteX1" fmla="*/ 128302 w 161925"/>
                <a:gd name="connsiteY1" fmla="*/ 218310 h 218310"/>
                <a:gd name="connsiteX2" fmla="*/ 0 w 161925"/>
                <a:gd name="connsiteY2" fmla="*/ 169638 h 218310"/>
                <a:gd name="connsiteX3" fmla="*/ 1905 w 161925"/>
                <a:gd name="connsiteY3" fmla="*/ 5903 h 218310"/>
                <a:gd name="connsiteX4" fmla="*/ 161925 w 161925"/>
                <a:gd name="connsiteY4" fmla="*/ 107535 h 21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18310">
                  <a:moveTo>
                    <a:pt x="161925" y="107535"/>
                  </a:moveTo>
                  <a:cubicBezTo>
                    <a:pt x="161925" y="107535"/>
                    <a:pt x="111347" y="154493"/>
                    <a:pt x="128302" y="218310"/>
                  </a:cubicBezTo>
                  <a:lnTo>
                    <a:pt x="0" y="169638"/>
                  </a:lnTo>
                  <a:cubicBezTo>
                    <a:pt x="6749" y="115302"/>
                    <a:pt x="7389" y="60381"/>
                    <a:pt x="1905" y="5903"/>
                  </a:cubicBezTo>
                  <a:cubicBezTo>
                    <a:pt x="-1619" y="-29721"/>
                    <a:pt x="161925" y="107535"/>
                    <a:pt x="161925" y="107535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7344155A-41C6-4439-8A7A-4EB533A89334}"/>
                </a:ext>
              </a:extLst>
            </p:cNvPr>
            <p:cNvSpPr/>
            <p:nvPr/>
          </p:nvSpPr>
          <p:spPr>
            <a:xfrm>
              <a:off x="833831" y="1860162"/>
              <a:ext cx="146123" cy="231323"/>
            </a:xfrm>
            <a:custGeom>
              <a:avLst/>
              <a:gdLst>
                <a:gd name="connsiteX0" fmla="*/ 486 w 146123"/>
                <a:gd name="connsiteY0" fmla="*/ 0 h 231323"/>
                <a:gd name="connsiteX1" fmla="*/ 136122 w 146123"/>
                <a:gd name="connsiteY1" fmla="*/ 228600 h 231323"/>
                <a:gd name="connsiteX2" fmla="*/ 146123 w 146123"/>
                <a:gd name="connsiteY2" fmla="*/ 71057 h 23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123" h="231323">
                  <a:moveTo>
                    <a:pt x="486" y="0"/>
                  </a:moveTo>
                  <a:cubicBezTo>
                    <a:pt x="486" y="0"/>
                    <a:pt x="-15516" y="260604"/>
                    <a:pt x="136122" y="228600"/>
                  </a:cubicBezTo>
                  <a:lnTo>
                    <a:pt x="146123" y="71057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B9DE02D2-2921-41B5-B640-2B391A36CA39}"/>
                </a:ext>
              </a:extLst>
            </p:cNvPr>
            <p:cNvSpPr/>
            <p:nvPr/>
          </p:nvSpPr>
          <p:spPr>
            <a:xfrm>
              <a:off x="965096" y="1892547"/>
              <a:ext cx="161353" cy="254741"/>
            </a:xfrm>
            <a:custGeom>
              <a:avLst/>
              <a:gdLst>
                <a:gd name="connsiteX0" fmla="*/ 161354 w 161353"/>
                <a:gd name="connsiteY0" fmla="*/ 0 h 254741"/>
                <a:gd name="connsiteX1" fmla="*/ 134779 w 161353"/>
                <a:gd name="connsiteY1" fmla="*/ 143256 h 254741"/>
                <a:gd name="connsiteX2" fmla="*/ 89726 w 161353"/>
                <a:gd name="connsiteY2" fmla="*/ 252603 h 254741"/>
                <a:gd name="connsiteX3" fmla="*/ 17621 w 161353"/>
                <a:gd name="connsiteY3" fmla="*/ 226886 h 254741"/>
                <a:gd name="connsiteX4" fmla="*/ 0 w 161353"/>
                <a:gd name="connsiteY4" fmla="*/ 61151 h 25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53" h="254741">
                  <a:moveTo>
                    <a:pt x="161354" y="0"/>
                  </a:moveTo>
                  <a:cubicBezTo>
                    <a:pt x="145447" y="37338"/>
                    <a:pt x="144304" y="92678"/>
                    <a:pt x="134779" y="143256"/>
                  </a:cubicBezTo>
                  <a:cubicBezTo>
                    <a:pt x="123730" y="199072"/>
                    <a:pt x="103918" y="248031"/>
                    <a:pt x="89726" y="252603"/>
                  </a:cubicBezTo>
                  <a:cubicBezTo>
                    <a:pt x="77724" y="256413"/>
                    <a:pt x="52102" y="258699"/>
                    <a:pt x="17621" y="226886"/>
                  </a:cubicBezTo>
                  <a:lnTo>
                    <a:pt x="0" y="61151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E5CAADE7-7295-43C1-ACC8-DD67B12A981B}"/>
                </a:ext>
              </a:extLst>
            </p:cNvPr>
            <p:cNvSpPr/>
            <p:nvPr/>
          </p:nvSpPr>
          <p:spPr>
            <a:xfrm>
              <a:off x="976050" y="2059806"/>
              <a:ext cx="74009" cy="87153"/>
            </a:xfrm>
            <a:custGeom>
              <a:avLst/>
              <a:gdLst>
                <a:gd name="connsiteX0" fmla="*/ 0 w 74009"/>
                <a:gd name="connsiteY0" fmla="*/ 19050 h 87153"/>
                <a:gd name="connsiteX1" fmla="*/ 8763 w 74009"/>
                <a:gd name="connsiteY1" fmla="*/ 0 h 87153"/>
                <a:gd name="connsiteX2" fmla="*/ 74009 w 74009"/>
                <a:gd name="connsiteY2" fmla="*/ 86487 h 87153"/>
                <a:gd name="connsiteX3" fmla="*/ 4096 w 74009"/>
                <a:gd name="connsiteY3" fmla="*/ 57150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7153">
                  <a:moveTo>
                    <a:pt x="0" y="19050"/>
                  </a:moveTo>
                  <a:lnTo>
                    <a:pt x="8763" y="0"/>
                  </a:lnTo>
                  <a:cubicBezTo>
                    <a:pt x="33242" y="96107"/>
                    <a:pt x="74009" y="86487"/>
                    <a:pt x="74009" y="86487"/>
                  </a:cubicBezTo>
                  <a:cubicBezTo>
                    <a:pt x="74009" y="86487"/>
                    <a:pt x="40672" y="94202"/>
                    <a:pt x="4096" y="57150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ACC5CFAA-0EE6-4E6D-9633-B656C0667737}"/>
                </a:ext>
              </a:extLst>
            </p:cNvPr>
            <p:cNvSpPr/>
            <p:nvPr/>
          </p:nvSpPr>
          <p:spPr>
            <a:xfrm>
              <a:off x="820510" y="1766194"/>
              <a:ext cx="309177" cy="345641"/>
            </a:xfrm>
            <a:custGeom>
              <a:avLst/>
              <a:gdLst>
                <a:gd name="connsiteX0" fmla="*/ 12093 w 309177"/>
                <a:gd name="connsiteY0" fmla="*/ 51582 h 345641"/>
                <a:gd name="connsiteX1" fmla="*/ 309178 w 309177"/>
                <a:gd name="connsiteY1" fmla="*/ 83205 h 345641"/>
                <a:gd name="connsiteX2" fmla="*/ 229930 w 309177"/>
                <a:gd name="connsiteY2" fmla="*/ 196553 h 345641"/>
                <a:gd name="connsiteX3" fmla="*/ 171256 w 309177"/>
                <a:gd name="connsiteY3" fmla="*/ 246845 h 345641"/>
                <a:gd name="connsiteX4" fmla="*/ 52765 w 309177"/>
                <a:gd name="connsiteY4" fmla="*/ 328283 h 345641"/>
                <a:gd name="connsiteX5" fmla="*/ 12093 w 309177"/>
                <a:gd name="connsiteY5" fmla="*/ 51582 h 345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177" h="345641">
                  <a:moveTo>
                    <a:pt x="12093" y="51582"/>
                  </a:moveTo>
                  <a:cubicBezTo>
                    <a:pt x="60289" y="-28618"/>
                    <a:pt x="260314" y="-13188"/>
                    <a:pt x="309178" y="83205"/>
                  </a:cubicBezTo>
                  <a:cubicBezTo>
                    <a:pt x="309178" y="83205"/>
                    <a:pt x="272697" y="168073"/>
                    <a:pt x="229930" y="196553"/>
                  </a:cubicBezTo>
                  <a:cubicBezTo>
                    <a:pt x="205165" y="265037"/>
                    <a:pt x="196687" y="258275"/>
                    <a:pt x="171256" y="246845"/>
                  </a:cubicBezTo>
                  <a:cubicBezTo>
                    <a:pt x="166303" y="250655"/>
                    <a:pt x="173923" y="394387"/>
                    <a:pt x="52765" y="328283"/>
                  </a:cubicBezTo>
                  <a:cubicBezTo>
                    <a:pt x="-13053" y="292374"/>
                    <a:pt x="-5147" y="79967"/>
                    <a:pt x="12093" y="51582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AC4497CD-514E-43DA-B07B-E551A79C8EFA}"/>
                </a:ext>
              </a:extLst>
            </p:cNvPr>
            <p:cNvSpPr/>
            <p:nvPr/>
          </p:nvSpPr>
          <p:spPr>
            <a:xfrm>
              <a:off x="1048249" y="1829206"/>
              <a:ext cx="88990" cy="159448"/>
            </a:xfrm>
            <a:custGeom>
              <a:avLst/>
              <a:gdLst>
                <a:gd name="connsiteX0" fmla="*/ 19050 w 88990"/>
                <a:gd name="connsiteY0" fmla="*/ 84963 h 159448"/>
                <a:gd name="connsiteX1" fmla="*/ 0 w 88990"/>
                <a:gd name="connsiteY1" fmla="*/ 159449 h 159448"/>
                <a:gd name="connsiteX2" fmla="*/ 78010 w 88990"/>
                <a:gd name="connsiteY2" fmla="*/ 119348 h 159448"/>
                <a:gd name="connsiteX3" fmla="*/ 68485 w 88990"/>
                <a:gd name="connsiteY3" fmla="*/ 0 h 15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90" h="159448">
                  <a:moveTo>
                    <a:pt x="19050" y="84963"/>
                  </a:moveTo>
                  <a:lnTo>
                    <a:pt x="0" y="159449"/>
                  </a:lnTo>
                  <a:cubicBezTo>
                    <a:pt x="28732" y="152234"/>
                    <a:pt x="55421" y="138514"/>
                    <a:pt x="78010" y="119348"/>
                  </a:cubicBezTo>
                  <a:cubicBezTo>
                    <a:pt x="81820" y="106109"/>
                    <a:pt x="105537" y="39624"/>
                    <a:pt x="68485" y="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987BBD77-966C-4D48-95A3-2CCB236090AE}"/>
                </a:ext>
              </a:extLst>
            </p:cNvPr>
            <p:cNvSpPr/>
            <p:nvPr/>
          </p:nvSpPr>
          <p:spPr>
            <a:xfrm>
              <a:off x="980145" y="2821330"/>
              <a:ext cx="204596" cy="296703"/>
            </a:xfrm>
            <a:custGeom>
              <a:avLst/>
              <a:gdLst>
                <a:gd name="connsiteX0" fmla="*/ 204597 w 204596"/>
                <a:gd name="connsiteY0" fmla="*/ 179927 h 296703"/>
                <a:gd name="connsiteX1" fmla="*/ 2381 w 204596"/>
                <a:gd name="connsiteY1" fmla="*/ 296704 h 296703"/>
                <a:gd name="connsiteX2" fmla="*/ 0 w 204596"/>
                <a:gd name="connsiteY2" fmla="*/ 103918 h 296703"/>
                <a:gd name="connsiteX3" fmla="*/ 180118 w 204596"/>
                <a:gd name="connsiteY3" fmla="*/ 0 h 296703"/>
                <a:gd name="connsiteX4" fmla="*/ 204597 w 204596"/>
                <a:gd name="connsiteY4" fmla="*/ 179927 h 2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96" h="296703">
                  <a:moveTo>
                    <a:pt x="204597" y="179927"/>
                  </a:moveTo>
                  <a:lnTo>
                    <a:pt x="2381" y="296704"/>
                  </a:lnTo>
                  <a:lnTo>
                    <a:pt x="0" y="103918"/>
                  </a:lnTo>
                  <a:lnTo>
                    <a:pt x="180118" y="0"/>
                  </a:lnTo>
                  <a:lnTo>
                    <a:pt x="204597" y="179927"/>
                  </a:ln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F208A39F-4D68-45D6-A1D7-15CA380C6C41}"/>
                </a:ext>
              </a:extLst>
            </p:cNvPr>
            <p:cNvSpPr/>
            <p:nvPr/>
          </p:nvSpPr>
          <p:spPr>
            <a:xfrm>
              <a:off x="945474" y="2912580"/>
              <a:ext cx="37052" cy="205454"/>
            </a:xfrm>
            <a:custGeom>
              <a:avLst/>
              <a:gdLst>
                <a:gd name="connsiteX0" fmla="*/ 37052 w 37052"/>
                <a:gd name="connsiteY0" fmla="*/ 205454 h 205454"/>
                <a:gd name="connsiteX1" fmla="*/ 0 w 37052"/>
                <a:gd name="connsiteY1" fmla="*/ 184309 h 205454"/>
                <a:gd name="connsiteX2" fmla="*/ 12382 w 37052"/>
                <a:gd name="connsiteY2" fmla="*/ 0 h 205454"/>
                <a:gd name="connsiteX3" fmla="*/ 34671 w 37052"/>
                <a:gd name="connsiteY3" fmla="*/ 12668 h 205454"/>
                <a:gd name="connsiteX4" fmla="*/ 37052 w 37052"/>
                <a:gd name="connsiteY4" fmla="*/ 205454 h 20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52" h="205454">
                  <a:moveTo>
                    <a:pt x="37052" y="205454"/>
                  </a:moveTo>
                  <a:lnTo>
                    <a:pt x="0" y="184309"/>
                  </a:lnTo>
                  <a:lnTo>
                    <a:pt x="12382" y="0"/>
                  </a:lnTo>
                  <a:lnTo>
                    <a:pt x="34671" y="12668"/>
                  </a:lnTo>
                  <a:lnTo>
                    <a:pt x="37052" y="205454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44167A92-7443-4005-9E92-A33E2568F137}"/>
                </a:ext>
              </a:extLst>
            </p:cNvPr>
            <p:cNvSpPr/>
            <p:nvPr/>
          </p:nvSpPr>
          <p:spPr>
            <a:xfrm>
              <a:off x="957857" y="2810281"/>
              <a:ext cx="202406" cy="114966"/>
            </a:xfrm>
            <a:custGeom>
              <a:avLst/>
              <a:gdLst>
                <a:gd name="connsiteX0" fmla="*/ 0 w 202406"/>
                <a:gd name="connsiteY0" fmla="*/ 102298 h 114966"/>
                <a:gd name="connsiteX1" fmla="*/ 183451 w 202406"/>
                <a:gd name="connsiteY1" fmla="*/ 0 h 114966"/>
                <a:gd name="connsiteX2" fmla="*/ 202406 w 202406"/>
                <a:gd name="connsiteY2" fmla="*/ 11049 h 114966"/>
                <a:gd name="connsiteX3" fmla="*/ 22289 w 202406"/>
                <a:gd name="connsiteY3" fmla="*/ 114967 h 114966"/>
                <a:gd name="connsiteX4" fmla="*/ 0 w 202406"/>
                <a:gd name="connsiteY4" fmla="*/ 102298 h 11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06" h="114966">
                  <a:moveTo>
                    <a:pt x="0" y="102298"/>
                  </a:moveTo>
                  <a:lnTo>
                    <a:pt x="183451" y="0"/>
                  </a:lnTo>
                  <a:lnTo>
                    <a:pt x="202406" y="11049"/>
                  </a:lnTo>
                  <a:lnTo>
                    <a:pt x="22289" y="114967"/>
                  </a:lnTo>
                  <a:lnTo>
                    <a:pt x="0" y="102298"/>
                  </a:ln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D8817C97-9C21-4B03-81DD-6DDC4388301A}"/>
                </a:ext>
              </a:extLst>
            </p:cNvPr>
            <p:cNvSpPr/>
            <p:nvPr/>
          </p:nvSpPr>
          <p:spPr>
            <a:xfrm>
              <a:off x="993036" y="2242084"/>
              <a:ext cx="151722" cy="684949"/>
            </a:xfrm>
            <a:custGeom>
              <a:avLst/>
              <a:gdLst>
                <a:gd name="connsiteX0" fmla="*/ 4751 w 151722"/>
                <a:gd name="connsiteY0" fmla="*/ 684950 h 684949"/>
                <a:gd name="connsiteX1" fmla="*/ 6752 w 151722"/>
                <a:gd name="connsiteY1" fmla="*/ 596462 h 684949"/>
                <a:gd name="connsiteX2" fmla="*/ 6752 w 151722"/>
                <a:gd name="connsiteY2" fmla="*/ 507880 h 684949"/>
                <a:gd name="connsiteX3" fmla="*/ 4751 w 151722"/>
                <a:gd name="connsiteY3" fmla="*/ 419393 h 684949"/>
                <a:gd name="connsiteX4" fmla="*/ 2465 w 151722"/>
                <a:gd name="connsiteY4" fmla="*/ 330810 h 684949"/>
                <a:gd name="connsiteX5" fmla="*/ 465 w 151722"/>
                <a:gd name="connsiteY5" fmla="*/ 242132 h 684949"/>
                <a:gd name="connsiteX6" fmla="*/ 465 w 151722"/>
                <a:gd name="connsiteY6" fmla="*/ 153455 h 684949"/>
                <a:gd name="connsiteX7" fmla="*/ 3037 w 151722"/>
                <a:gd name="connsiteY7" fmla="*/ 108973 h 684949"/>
                <a:gd name="connsiteX8" fmla="*/ 9228 w 151722"/>
                <a:gd name="connsiteY8" fmla="*/ 64682 h 684949"/>
                <a:gd name="connsiteX9" fmla="*/ 24373 w 151722"/>
                <a:gd name="connsiteY9" fmla="*/ 21819 h 684949"/>
                <a:gd name="connsiteX10" fmla="*/ 41232 w 151722"/>
                <a:gd name="connsiteY10" fmla="*/ 4769 h 684949"/>
                <a:gd name="connsiteX11" fmla="*/ 65330 w 151722"/>
                <a:gd name="connsiteY11" fmla="*/ 388 h 684949"/>
                <a:gd name="connsiteX12" fmla="*/ 65330 w 151722"/>
                <a:gd name="connsiteY12" fmla="*/ 388 h 684949"/>
                <a:gd name="connsiteX13" fmla="*/ 84476 w 151722"/>
                <a:gd name="connsiteY13" fmla="*/ 10961 h 684949"/>
                <a:gd name="connsiteX14" fmla="*/ 96668 w 151722"/>
                <a:gd name="connsiteY14" fmla="*/ 27534 h 684949"/>
                <a:gd name="connsiteX15" fmla="*/ 110765 w 151722"/>
                <a:gd name="connsiteY15" fmla="*/ 64586 h 684949"/>
                <a:gd name="connsiteX16" fmla="*/ 124004 w 151722"/>
                <a:gd name="connsiteY16" fmla="*/ 141548 h 684949"/>
                <a:gd name="connsiteX17" fmla="*/ 129910 w 151722"/>
                <a:gd name="connsiteY17" fmla="*/ 219082 h 684949"/>
                <a:gd name="connsiteX18" fmla="*/ 133148 w 151722"/>
                <a:gd name="connsiteY18" fmla="*/ 296711 h 684949"/>
                <a:gd name="connsiteX19" fmla="*/ 138673 w 151722"/>
                <a:gd name="connsiteY19" fmla="*/ 451682 h 684949"/>
                <a:gd name="connsiteX20" fmla="*/ 151722 w 151722"/>
                <a:gd name="connsiteY20" fmla="*/ 605702 h 684949"/>
                <a:gd name="connsiteX21" fmla="*/ 136101 w 151722"/>
                <a:gd name="connsiteY21" fmla="*/ 607511 h 684949"/>
                <a:gd name="connsiteX22" fmla="*/ 131243 w 151722"/>
                <a:gd name="connsiteY22" fmla="*/ 529692 h 684949"/>
                <a:gd name="connsiteX23" fmla="*/ 128862 w 151722"/>
                <a:gd name="connsiteY23" fmla="*/ 452063 h 684949"/>
                <a:gd name="connsiteX24" fmla="*/ 125719 w 151722"/>
                <a:gd name="connsiteY24" fmla="*/ 296901 h 684949"/>
                <a:gd name="connsiteX25" fmla="*/ 116194 w 151722"/>
                <a:gd name="connsiteY25" fmla="*/ 142501 h 684949"/>
                <a:gd name="connsiteX26" fmla="*/ 102764 w 151722"/>
                <a:gd name="connsiteY26" fmla="*/ 66301 h 684949"/>
                <a:gd name="connsiteX27" fmla="*/ 89238 w 151722"/>
                <a:gd name="connsiteY27" fmla="*/ 31154 h 684949"/>
                <a:gd name="connsiteX28" fmla="*/ 63902 w 151722"/>
                <a:gd name="connsiteY28" fmla="*/ 8198 h 684949"/>
                <a:gd name="connsiteX29" fmla="*/ 63902 w 151722"/>
                <a:gd name="connsiteY29" fmla="*/ 8198 h 684949"/>
                <a:gd name="connsiteX30" fmla="*/ 44852 w 151722"/>
                <a:gd name="connsiteY30" fmla="*/ 11342 h 684949"/>
                <a:gd name="connsiteX31" fmla="*/ 30850 w 151722"/>
                <a:gd name="connsiteY31" fmla="*/ 25343 h 684949"/>
                <a:gd name="connsiteX32" fmla="*/ 16277 w 151722"/>
                <a:gd name="connsiteY32" fmla="*/ 65444 h 684949"/>
                <a:gd name="connsiteX33" fmla="*/ 9800 w 151722"/>
                <a:gd name="connsiteY33" fmla="*/ 108878 h 684949"/>
                <a:gd name="connsiteX34" fmla="*/ 6847 w 151722"/>
                <a:gd name="connsiteY34" fmla="*/ 152788 h 684949"/>
                <a:gd name="connsiteX35" fmla="*/ 5609 w 151722"/>
                <a:gd name="connsiteY35" fmla="*/ 241275 h 684949"/>
                <a:gd name="connsiteX36" fmla="*/ 7514 w 151722"/>
                <a:gd name="connsiteY36" fmla="*/ 329762 h 684949"/>
                <a:gd name="connsiteX37" fmla="*/ 10657 w 151722"/>
                <a:gd name="connsiteY37" fmla="*/ 418250 h 684949"/>
                <a:gd name="connsiteX38" fmla="*/ 13895 w 151722"/>
                <a:gd name="connsiteY38" fmla="*/ 506832 h 684949"/>
                <a:gd name="connsiteX39" fmla="*/ 16658 w 151722"/>
                <a:gd name="connsiteY39" fmla="*/ 595510 h 684949"/>
                <a:gd name="connsiteX40" fmla="*/ 18563 w 151722"/>
                <a:gd name="connsiteY40" fmla="*/ 684188 h 68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1722" h="684949">
                  <a:moveTo>
                    <a:pt x="4751" y="684950"/>
                  </a:moveTo>
                  <a:cubicBezTo>
                    <a:pt x="5704" y="655422"/>
                    <a:pt x="6466" y="625990"/>
                    <a:pt x="6752" y="596462"/>
                  </a:cubicBezTo>
                  <a:cubicBezTo>
                    <a:pt x="7037" y="566935"/>
                    <a:pt x="6752" y="537407"/>
                    <a:pt x="6752" y="507880"/>
                  </a:cubicBezTo>
                  <a:lnTo>
                    <a:pt x="4751" y="419393"/>
                  </a:lnTo>
                  <a:lnTo>
                    <a:pt x="2465" y="330810"/>
                  </a:lnTo>
                  <a:cubicBezTo>
                    <a:pt x="1608" y="301283"/>
                    <a:pt x="1037" y="271755"/>
                    <a:pt x="465" y="242132"/>
                  </a:cubicBezTo>
                  <a:cubicBezTo>
                    <a:pt x="-106" y="212510"/>
                    <a:pt x="-202" y="182982"/>
                    <a:pt x="465" y="153455"/>
                  </a:cubicBezTo>
                  <a:cubicBezTo>
                    <a:pt x="941" y="138596"/>
                    <a:pt x="1799" y="123832"/>
                    <a:pt x="3037" y="108973"/>
                  </a:cubicBezTo>
                  <a:cubicBezTo>
                    <a:pt x="4258" y="94103"/>
                    <a:pt x="6325" y="79316"/>
                    <a:pt x="9228" y="64682"/>
                  </a:cubicBezTo>
                  <a:cubicBezTo>
                    <a:pt x="11876" y="49656"/>
                    <a:pt x="16994" y="35173"/>
                    <a:pt x="24373" y="21819"/>
                  </a:cubicBezTo>
                  <a:cubicBezTo>
                    <a:pt x="28447" y="14791"/>
                    <a:pt x="34250" y="8921"/>
                    <a:pt x="41232" y="4769"/>
                  </a:cubicBezTo>
                  <a:cubicBezTo>
                    <a:pt x="48581" y="743"/>
                    <a:pt x="57035" y="-794"/>
                    <a:pt x="65330" y="388"/>
                  </a:cubicBezTo>
                  <a:lnTo>
                    <a:pt x="65330" y="388"/>
                  </a:lnTo>
                  <a:cubicBezTo>
                    <a:pt x="72574" y="2056"/>
                    <a:pt x="79206" y="5718"/>
                    <a:pt x="84476" y="10961"/>
                  </a:cubicBezTo>
                  <a:cubicBezTo>
                    <a:pt x="89332" y="15855"/>
                    <a:pt x="93440" y="21440"/>
                    <a:pt x="96668" y="27534"/>
                  </a:cubicBezTo>
                  <a:cubicBezTo>
                    <a:pt x="102824" y="39280"/>
                    <a:pt x="107557" y="51719"/>
                    <a:pt x="110765" y="64586"/>
                  </a:cubicBezTo>
                  <a:cubicBezTo>
                    <a:pt x="117092" y="89874"/>
                    <a:pt x="121517" y="115600"/>
                    <a:pt x="124004" y="141548"/>
                  </a:cubicBezTo>
                  <a:cubicBezTo>
                    <a:pt x="126767" y="167361"/>
                    <a:pt x="128576" y="193269"/>
                    <a:pt x="129910" y="219082"/>
                  </a:cubicBezTo>
                  <a:cubicBezTo>
                    <a:pt x="131243" y="244894"/>
                    <a:pt x="132386" y="270803"/>
                    <a:pt x="133148" y="296711"/>
                  </a:cubicBezTo>
                  <a:cubicBezTo>
                    <a:pt x="134863" y="348431"/>
                    <a:pt x="136482" y="400057"/>
                    <a:pt x="138673" y="451682"/>
                  </a:cubicBezTo>
                  <a:cubicBezTo>
                    <a:pt x="140864" y="503308"/>
                    <a:pt x="144388" y="554838"/>
                    <a:pt x="151722" y="605702"/>
                  </a:cubicBezTo>
                  <a:lnTo>
                    <a:pt x="136101" y="607511"/>
                  </a:lnTo>
                  <a:cubicBezTo>
                    <a:pt x="133625" y="581508"/>
                    <a:pt x="132291" y="555600"/>
                    <a:pt x="131243" y="529692"/>
                  </a:cubicBezTo>
                  <a:cubicBezTo>
                    <a:pt x="130196" y="503784"/>
                    <a:pt x="129338" y="477876"/>
                    <a:pt x="128862" y="452063"/>
                  </a:cubicBezTo>
                  <a:cubicBezTo>
                    <a:pt x="127529" y="400247"/>
                    <a:pt x="127338" y="348622"/>
                    <a:pt x="125719" y="296901"/>
                  </a:cubicBezTo>
                  <a:cubicBezTo>
                    <a:pt x="124100" y="245180"/>
                    <a:pt x="122004" y="193650"/>
                    <a:pt x="116194" y="142501"/>
                  </a:cubicBezTo>
                  <a:cubicBezTo>
                    <a:pt x="113685" y="116793"/>
                    <a:pt x="109195" y="91317"/>
                    <a:pt x="102764" y="66301"/>
                  </a:cubicBezTo>
                  <a:cubicBezTo>
                    <a:pt x="99656" y="54093"/>
                    <a:pt x="95116" y="42295"/>
                    <a:pt x="89238" y="31154"/>
                  </a:cubicBezTo>
                  <a:cubicBezTo>
                    <a:pt x="84276" y="20366"/>
                    <a:pt x="75124" y="12074"/>
                    <a:pt x="63902" y="8198"/>
                  </a:cubicBezTo>
                  <a:lnTo>
                    <a:pt x="63902" y="8198"/>
                  </a:lnTo>
                  <a:cubicBezTo>
                    <a:pt x="57379" y="7126"/>
                    <a:pt x="50684" y="8231"/>
                    <a:pt x="44852" y="11342"/>
                  </a:cubicBezTo>
                  <a:cubicBezTo>
                    <a:pt x="39069" y="14742"/>
                    <a:pt x="34250" y="19561"/>
                    <a:pt x="30850" y="25343"/>
                  </a:cubicBezTo>
                  <a:cubicBezTo>
                    <a:pt x="23862" y="37837"/>
                    <a:pt x="18941" y="51379"/>
                    <a:pt x="16277" y="65444"/>
                  </a:cubicBezTo>
                  <a:cubicBezTo>
                    <a:pt x="13346" y="79796"/>
                    <a:pt x="11184" y="94295"/>
                    <a:pt x="9800" y="108878"/>
                  </a:cubicBezTo>
                  <a:cubicBezTo>
                    <a:pt x="8371" y="123451"/>
                    <a:pt x="7418" y="138119"/>
                    <a:pt x="6847" y="152788"/>
                  </a:cubicBezTo>
                  <a:cubicBezTo>
                    <a:pt x="5609" y="182220"/>
                    <a:pt x="5418" y="211748"/>
                    <a:pt x="5609" y="241275"/>
                  </a:cubicBezTo>
                  <a:cubicBezTo>
                    <a:pt x="5799" y="270803"/>
                    <a:pt x="6656" y="300235"/>
                    <a:pt x="7514" y="329762"/>
                  </a:cubicBezTo>
                  <a:cubicBezTo>
                    <a:pt x="8371" y="359290"/>
                    <a:pt x="9514" y="388817"/>
                    <a:pt x="10657" y="418250"/>
                  </a:cubicBezTo>
                  <a:lnTo>
                    <a:pt x="13895" y="506832"/>
                  </a:lnTo>
                  <a:cubicBezTo>
                    <a:pt x="15038" y="536360"/>
                    <a:pt x="15959" y="565916"/>
                    <a:pt x="16658" y="595510"/>
                  </a:cubicBezTo>
                  <a:cubicBezTo>
                    <a:pt x="17515" y="625037"/>
                    <a:pt x="18277" y="654660"/>
                    <a:pt x="18563" y="684188"/>
                  </a:cubicBez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6D4E567A-A09E-4929-A603-4827EF014071}"/>
                </a:ext>
              </a:extLst>
            </p:cNvPr>
            <p:cNvSpPr/>
            <p:nvPr/>
          </p:nvSpPr>
          <p:spPr>
            <a:xfrm>
              <a:off x="980145" y="2821330"/>
              <a:ext cx="180117" cy="160671"/>
            </a:xfrm>
            <a:custGeom>
              <a:avLst/>
              <a:gdLst>
                <a:gd name="connsiteX0" fmla="*/ 0 w 180117"/>
                <a:gd name="connsiteY0" fmla="*/ 104013 h 160671"/>
                <a:gd name="connsiteX1" fmla="*/ 117634 w 180117"/>
                <a:gd name="connsiteY1" fmla="*/ 159544 h 160671"/>
                <a:gd name="connsiteX2" fmla="*/ 180118 w 180117"/>
                <a:gd name="connsiteY2" fmla="*/ 0 h 16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117" h="160671">
                  <a:moveTo>
                    <a:pt x="0" y="104013"/>
                  </a:moveTo>
                  <a:cubicBezTo>
                    <a:pt x="0" y="104013"/>
                    <a:pt x="96488" y="170021"/>
                    <a:pt x="117634" y="159544"/>
                  </a:cubicBezTo>
                  <a:cubicBezTo>
                    <a:pt x="144590" y="146018"/>
                    <a:pt x="180118" y="0"/>
                    <a:pt x="180118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BD716FA6-B116-4CE6-8058-C5718CB17B3B}"/>
                </a:ext>
              </a:extLst>
            </p:cNvPr>
            <p:cNvSpPr/>
            <p:nvPr/>
          </p:nvSpPr>
          <p:spPr>
            <a:xfrm>
              <a:off x="909897" y="2578171"/>
              <a:ext cx="195788" cy="228205"/>
            </a:xfrm>
            <a:custGeom>
              <a:avLst/>
              <a:gdLst>
                <a:gd name="connsiteX0" fmla="*/ 2907 w 195788"/>
                <a:gd name="connsiteY0" fmla="*/ 50278 h 228205"/>
                <a:gd name="connsiteX1" fmla="*/ 185596 w 195788"/>
                <a:gd name="connsiteY1" fmla="*/ 228205 h 228205"/>
                <a:gd name="connsiteX2" fmla="*/ 195788 w 195788"/>
                <a:gd name="connsiteY2" fmla="*/ 211251 h 228205"/>
                <a:gd name="connsiteX3" fmla="*/ 157688 w 195788"/>
                <a:gd name="connsiteY3" fmla="*/ 153339 h 228205"/>
                <a:gd name="connsiteX4" fmla="*/ 5288 w 195788"/>
                <a:gd name="connsiteY4" fmla="*/ 8749 h 228205"/>
                <a:gd name="connsiteX5" fmla="*/ 2907 w 195788"/>
                <a:gd name="connsiteY5" fmla="*/ 50278 h 22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788" h="228205">
                  <a:moveTo>
                    <a:pt x="2907" y="50278"/>
                  </a:moveTo>
                  <a:cubicBezTo>
                    <a:pt x="2907" y="50278"/>
                    <a:pt x="48817" y="128002"/>
                    <a:pt x="185596" y="228205"/>
                  </a:cubicBezTo>
                  <a:lnTo>
                    <a:pt x="195788" y="211251"/>
                  </a:lnTo>
                  <a:cubicBezTo>
                    <a:pt x="181918" y="192744"/>
                    <a:pt x="169194" y="173398"/>
                    <a:pt x="157688" y="153339"/>
                  </a:cubicBezTo>
                  <a:cubicBezTo>
                    <a:pt x="117397" y="82663"/>
                    <a:pt x="53580" y="-32685"/>
                    <a:pt x="5288" y="8749"/>
                  </a:cubicBezTo>
                  <a:cubicBezTo>
                    <a:pt x="-817" y="21771"/>
                    <a:pt x="-1670" y="36644"/>
                    <a:pt x="2907" y="50278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0F8D80C0-6F24-4B39-90C1-6F62E7F34DF1}"/>
                </a:ext>
              </a:extLst>
            </p:cNvPr>
            <p:cNvSpPr/>
            <p:nvPr/>
          </p:nvSpPr>
          <p:spPr>
            <a:xfrm>
              <a:off x="1087683" y="2767853"/>
              <a:ext cx="68761" cy="48175"/>
            </a:xfrm>
            <a:custGeom>
              <a:avLst/>
              <a:gdLst>
                <a:gd name="connsiteX0" fmla="*/ 0 w 68761"/>
                <a:gd name="connsiteY0" fmla="*/ 18044 h 48175"/>
                <a:gd name="connsiteX1" fmla="*/ 59150 w 68761"/>
                <a:gd name="connsiteY1" fmla="*/ 42 h 48175"/>
                <a:gd name="connsiteX2" fmla="*/ 64865 w 68761"/>
                <a:gd name="connsiteY2" fmla="*/ 10138 h 48175"/>
                <a:gd name="connsiteX3" fmla="*/ 65913 w 68761"/>
                <a:gd name="connsiteY3" fmla="*/ 24140 h 48175"/>
                <a:gd name="connsiteX4" fmla="*/ 63817 w 68761"/>
                <a:gd name="connsiteY4" fmla="*/ 37189 h 48175"/>
                <a:gd name="connsiteX5" fmla="*/ 57436 w 68761"/>
                <a:gd name="connsiteY5" fmla="*/ 47286 h 48175"/>
                <a:gd name="connsiteX6" fmla="*/ 4572 w 68761"/>
                <a:gd name="connsiteY6" fmla="*/ 3585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61" h="48175">
                  <a:moveTo>
                    <a:pt x="0" y="18044"/>
                  </a:moveTo>
                  <a:cubicBezTo>
                    <a:pt x="0" y="18044"/>
                    <a:pt x="42481" y="-1006"/>
                    <a:pt x="59150" y="42"/>
                  </a:cubicBezTo>
                  <a:cubicBezTo>
                    <a:pt x="67913" y="42"/>
                    <a:pt x="67437" y="6423"/>
                    <a:pt x="64865" y="10138"/>
                  </a:cubicBezTo>
                  <a:cubicBezTo>
                    <a:pt x="69247" y="11757"/>
                    <a:pt x="70390" y="16996"/>
                    <a:pt x="65913" y="24140"/>
                  </a:cubicBezTo>
                  <a:cubicBezTo>
                    <a:pt x="68866" y="28140"/>
                    <a:pt x="68580" y="30236"/>
                    <a:pt x="63817" y="37189"/>
                  </a:cubicBezTo>
                  <a:cubicBezTo>
                    <a:pt x="66008" y="42714"/>
                    <a:pt x="63817" y="46714"/>
                    <a:pt x="57436" y="47286"/>
                  </a:cubicBezTo>
                  <a:cubicBezTo>
                    <a:pt x="39008" y="50143"/>
                    <a:pt x="20175" y="46066"/>
                    <a:pt x="4572" y="35856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0FDF05EA-FE5F-400A-BF06-D744DB3B71FA}"/>
                </a:ext>
              </a:extLst>
            </p:cNvPr>
            <p:cNvSpPr/>
            <p:nvPr/>
          </p:nvSpPr>
          <p:spPr>
            <a:xfrm>
              <a:off x="908820" y="2243258"/>
              <a:ext cx="180261" cy="391202"/>
            </a:xfrm>
            <a:custGeom>
              <a:avLst/>
              <a:gdLst>
                <a:gd name="connsiteX0" fmla="*/ 154192 w 180261"/>
                <a:gd name="connsiteY0" fmla="*/ 0 h 391202"/>
                <a:gd name="connsiteX1" fmla="*/ 98757 w 180261"/>
                <a:gd name="connsiteY1" fmla="*/ 62674 h 391202"/>
                <a:gd name="connsiteX2" fmla="*/ 5793 w 180261"/>
                <a:gd name="connsiteY2" fmla="*/ 385382 h 391202"/>
                <a:gd name="connsiteX3" fmla="*/ 148668 w 180261"/>
                <a:gd name="connsiteY3" fmla="*/ 178784 h 391202"/>
                <a:gd name="connsiteX4" fmla="*/ 154192 w 180261"/>
                <a:gd name="connsiteY4" fmla="*/ 0 h 39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261" h="391202">
                  <a:moveTo>
                    <a:pt x="154192" y="0"/>
                  </a:moveTo>
                  <a:cubicBezTo>
                    <a:pt x="154192" y="0"/>
                    <a:pt x="122665" y="4000"/>
                    <a:pt x="98757" y="62674"/>
                  </a:cubicBezTo>
                  <a:cubicBezTo>
                    <a:pt x="56561" y="166211"/>
                    <a:pt x="-21925" y="361093"/>
                    <a:pt x="5793" y="385382"/>
                  </a:cubicBezTo>
                  <a:cubicBezTo>
                    <a:pt x="59609" y="432435"/>
                    <a:pt x="148668" y="178784"/>
                    <a:pt x="148668" y="178784"/>
                  </a:cubicBezTo>
                  <a:cubicBezTo>
                    <a:pt x="148668" y="178784"/>
                    <a:pt x="215914" y="40576"/>
                    <a:pt x="154192" y="0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EC081C5F-2936-48B1-B70C-6863FD08E23A}"/>
                </a:ext>
              </a:extLst>
            </p:cNvPr>
            <p:cNvSpPr/>
            <p:nvPr/>
          </p:nvSpPr>
          <p:spPr>
            <a:xfrm>
              <a:off x="729162" y="1822387"/>
              <a:ext cx="323087" cy="560309"/>
            </a:xfrm>
            <a:custGeom>
              <a:avLst/>
              <a:gdLst>
                <a:gd name="connsiteX0" fmla="*/ 100298 w 323087"/>
                <a:gd name="connsiteY0" fmla="*/ 3009 h 560309"/>
                <a:gd name="connsiteX1" fmla="*/ 0 w 323087"/>
                <a:gd name="connsiteY1" fmla="*/ 386010 h 560309"/>
                <a:gd name="connsiteX2" fmla="*/ 134398 w 323087"/>
                <a:gd name="connsiteY2" fmla="*/ 540791 h 560309"/>
                <a:gd name="connsiteX3" fmla="*/ 323088 w 323087"/>
                <a:gd name="connsiteY3" fmla="*/ 542886 h 560309"/>
                <a:gd name="connsiteX4" fmla="*/ 264795 w 323087"/>
                <a:gd name="connsiteY4" fmla="*/ 517264 h 560309"/>
                <a:gd name="connsiteX5" fmla="*/ 259652 w 323087"/>
                <a:gd name="connsiteY5" fmla="*/ 218655 h 560309"/>
                <a:gd name="connsiteX6" fmla="*/ 100298 w 323087"/>
                <a:gd name="connsiteY6" fmla="*/ 3009 h 56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087" h="560309">
                  <a:moveTo>
                    <a:pt x="100298" y="3009"/>
                  </a:moveTo>
                  <a:cubicBezTo>
                    <a:pt x="85630" y="35966"/>
                    <a:pt x="67437" y="464019"/>
                    <a:pt x="0" y="386010"/>
                  </a:cubicBezTo>
                  <a:cubicBezTo>
                    <a:pt x="0" y="386010"/>
                    <a:pt x="17717" y="490785"/>
                    <a:pt x="134398" y="540791"/>
                  </a:cubicBezTo>
                  <a:cubicBezTo>
                    <a:pt x="180213" y="560508"/>
                    <a:pt x="279749" y="571557"/>
                    <a:pt x="323088" y="542886"/>
                  </a:cubicBezTo>
                  <a:cubicBezTo>
                    <a:pt x="323088" y="542886"/>
                    <a:pt x="277368" y="550602"/>
                    <a:pt x="264795" y="517264"/>
                  </a:cubicBezTo>
                  <a:cubicBezTo>
                    <a:pt x="244412" y="463162"/>
                    <a:pt x="259652" y="218655"/>
                    <a:pt x="259652" y="218655"/>
                  </a:cubicBezTo>
                  <a:cubicBezTo>
                    <a:pt x="259652" y="218655"/>
                    <a:pt x="114872" y="-29947"/>
                    <a:pt x="100298" y="3009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44954853-D56D-4C73-BF29-9C839420EB99}"/>
                </a:ext>
              </a:extLst>
            </p:cNvPr>
            <p:cNvSpPr/>
            <p:nvPr/>
          </p:nvSpPr>
          <p:spPr>
            <a:xfrm>
              <a:off x="967953" y="1995142"/>
              <a:ext cx="41742" cy="66653"/>
            </a:xfrm>
            <a:custGeom>
              <a:avLst/>
              <a:gdLst>
                <a:gd name="connsiteX0" fmla="*/ 13907 w 41742"/>
                <a:gd name="connsiteY0" fmla="*/ 60378 h 66653"/>
                <a:gd name="connsiteX1" fmla="*/ 40672 w 41742"/>
                <a:gd name="connsiteY1" fmla="*/ 52758 h 66653"/>
                <a:gd name="connsiteX2" fmla="*/ 27813 w 41742"/>
                <a:gd name="connsiteY2" fmla="*/ 6276 h 66653"/>
                <a:gd name="connsiteX3" fmla="*/ 1048 w 41742"/>
                <a:gd name="connsiteY3" fmla="*/ 13896 h 66653"/>
                <a:gd name="connsiteX4" fmla="*/ 13907 w 41742"/>
                <a:gd name="connsiteY4" fmla="*/ 60378 h 6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42" h="66653">
                  <a:moveTo>
                    <a:pt x="13907" y="60378"/>
                  </a:moveTo>
                  <a:cubicBezTo>
                    <a:pt x="24860" y="71141"/>
                    <a:pt x="36862" y="67712"/>
                    <a:pt x="40672" y="52758"/>
                  </a:cubicBezTo>
                  <a:cubicBezTo>
                    <a:pt x="44067" y="36099"/>
                    <a:pt x="39287" y="18821"/>
                    <a:pt x="27813" y="6276"/>
                  </a:cubicBezTo>
                  <a:cubicBezTo>
                    <a:pt x="16859" y="-4487"/>
                    <a:pt x="4858" y="-1058"/>
                    <a:pt x="1048" y="13896"/>
                  </a:cubicBezTo>
                  <a:cubicBezTo>
                    <a:pt x="-2299" y="30553"/>
                    <a:pt x="2475" y="47810"/>
                    <a:pt x="13907" y="60378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21CC1CF4-0157-479B-B935-DDD448310D1B}"/>
                </a:ext>
              </a:extLst>
            </p:cNvPr>
            <p:cNvSpPr/>
            <p:nvPr/>
          </p:nvSpPr>
          <p:spPr>
            <a:xfrm>
              <a:off x="978444" y="2011519"/>
              <a:ext cx="21363" cy="34091"/>
            </a:xfrm>
            <a:custGeom>
              <a:avLst/>
              <a:gdLst>
                <a:gd name="connsiteX0" fmla="*/ 7130 w 21363"/>
                <a:gd name="connsiteY0" fmla="*/ 30857 h 34091"/>
                <a:gd name="connsiteX1" fmla="*/ 20846 w 21363"/>
                <a:gd name="connsiteY1" fmla="*/ 26952 h 34091"/>
                <a:gd name="connsiteX2" fmla="*/ 14179 w 21363"/>
                <a:gd name="connsiteY2" fmla="*/ 3234 h 34091"/>
                <a:gd name="connsiteX3" fmla="*/ 558 w 21363"/>
                <a:gd name="connsiteY3" fmla="*/ 7140 h 34091"/>
                <a:gd name="connsiteX4" fmla="*/ 7130 w 21363"/>
                <a:gd name="connsiteY4" fmla="*/ 30857 h 3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3" h="34091">
                  <a:moveTo>
                    <a:pt x="7130" y="30857"/>
                  </a:moveTo>
                  <a:cubicBezTo>
                    <a:pt x="12750" y="36381"/>
                    <a:pt x="18846" y="34667"/>
                    <a:pt x="20846" y="26952"/>
                  </a:cubicBezTo>
                  <a:cubicBezTo>
                    <a:pt x="22530" y="18435"/>
                    <a:pt x="20054" y="9626"/>
                    <a:pt x="14179" y="3234"/>
                  </a:cubicBezTo>
                  <a:cubicBezTo>
                    <a:pt x="8654" y="-2290"/>
                    <a:pt x="2463" y="-576"/>
                    <a:pt x="558" y="7140"/>
                  </a:cubicBezTo>
                  <a:cubicBezTo>
                    <a:pt x="-1199" y="15643"/>
                    <a:pt x="1247" y="24471"/>
                    <a:pt x="7130" y="30857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89F4D7B7-A110-4E77-9906-4B1A0EEC1D1E}"/>
                </a:ext>
              </a:extLst>
            </p:cNvPr>
            <p:cNvSpPr/>
            <p:nvPr/>
          </p:nvSpPr>
          <p:spPr>
            <a:xfrm>
              <a:off x="985098" y="2062569"/>
              <a:ext cx="15239" cy="46577"/>
            </a:xfrm>
            <a:custGeom>
              <a:avLst/>
              <a:gdLst>
                <a:gd name="connsiteX0" fmla="*/ 15240 w 15239"/>
                <a:gd name="connsiteY0" fmla="*/ 28575 h 46577"/>
                <a:gd name="connsiteX1" fmla="*/ 7620 w 15239"/>
                <a:gd name="connsiteY1" fmla="*/ 46577 h 46577"/>
                <a:gd name="connsiteX2" fmla="*/ 0 w 15239"/>
                <a:gd name="connsiteY2" fmla="*/ 28575 h 46577"/>
                <a:gd name="connsiteX3" fmla="*/ 7620 w 15239"/>
                <a:gd name="connsiteY3" fmla="*/ 0 h 46577"/>
                <a:gd name="connsiteX4" fmla="*/ 15240 w 15239"/>
                <a:gd name="connsiteY4" fmla="*/ 28575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39" h="46577">
                  <a:moveTo>
                    <a:pt x="15240" y="28575"/>
                  </a:moveTo>
                  <a:cubicBezTo>
                    <a:pt x="15240" y="41434"/>
                    <a:pt x="11811" y="46577"/>
                    <a:pt x="7620" y="46577"/>
                  </a:cubicBezTo>
                  <a:cubicBezTo>
                    <a:pt x="3429" y="46577"/>
                    <a:pt x="0" y="41434"/>
                    <a:pt x="0" y="28575"/>
                  </a:cubicBezTo>
                  <a:cubicBezTo>
                    <a:pt x="0" y="15716"/>
                    <a:pt x="3429" y="0"/>
                    <a:pt x="7620" y="0"/>
                  </a:cubicBezTo>
                  <a:cubicBezTo>
                    <a:pt x="11811" y="0"/>
                    <a:pt x="15240" y="15716"/>
                    <a:pt x="15240" y="2857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D789A4A5-8DA4-45C1-B7FD-67B364CC0144}"/>
                </a:ext>
              </a:extLst>
            </p:cNvPr>
            <p:cNvSpPr/>
            <p:nvPr/>
          </p:nvSpPr>
          <p:spPr>
            <a:xfrm>
              <a:off x="987003" y="2052377"/>
              <a:ext cx="11430" cy="11430"/>
            </a:xfrm>
            <a:custGeom>
              <a:avLst/>
              <a:gdLst>
                <a:gd name="connsiteX0" fmla="*/ 11430 w 11430"/>
                <a:gd name="connsiteY0" fmla="*/ 5715 h 11430"/>
                <a:gd name="connsiteX1" fmla="*/ 5715 w 11430"/>
                <a:gd name="connsiteY1" fmla="*/ 11430 h 11430"/>
                <a:gd name="connsiteX2" fmla="*/ 0 w 11430"/>
                <a:gd name="connsiteY2" fmla="*/ 5715 h 11430"/>
                <a:gd name="connsiteX3" fmla="*/ 5715 w 11430"/>
                <a:gd name="connsiteY3" fmla="*/ 0 h 11430"/>
                <a:gd name="connsiteX4" fmla="*/ 11430 w 11430"/>
                <a:gd name="connsiteY4" fmla="*/ 5715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" h="11430">
                  <a:moveTo>
                    <a:pt x="11430" y="5715"/>
                  </a:moveTo>
                  <a:cubicBezTo>
                    <a:pt x="11430" y="8871"/>
                    <a:pt x="8871" y="11430"/>
                    <a:pt x="5715" y="11430"/>
                  </a:cubicBezTo>
                  <a:cubicBezTo>
                    <a:pt x="2559" y="11430"/>
                    <a:pt x="0" y="8871"/>
                    <a:pt x="0" y="5715"/>
                  </a:cubicBezTo>
                  <a:cubicBezTo>
                    <a:pt x="0" y="2559"/>
                    <a:pt x="2559" y="0"/>
                    <a:pt x="5715" y="0"/>
                  </a:cubicBezTo>
                  <a:cubicBezTo>
                    <a:pt x="8871" y="0"/>
                    <a:pt x="11430" y="2559"/>
                    <a:pt x="11430" y="571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41FA20AA-5530-4846-896B-0A15AE2107E5}"/>
                </a:ext>
              </a:extLst>
            </p:cNvPr>
            <p:cNvSpPr/>
            <p:nvPr/>
          </p:nvSpPr>
          <p:spPr>
            <a:xfrm>
              <a:off x="836828" y="1769763"/>
              <a:ext cx="285239" cy="141727"/>
            </a:xfrm>
            <a:custGeom>
              <a:avLst/>
              <a:gdLst>
                <a:gd name="connsiteX0" fmla="*/ 41971 w 285239"/>
                <a:gd name="connsiteY0" fmla="*/ 117640 h 141727"/>
                <a:gd name="connsiteX1" fmla="*/ 3871 w 285239"/>
                <a:gd name="connsiteY1" fmla="*/ 39440 h 141727"/>
                <a:gd name="connsiteX2" fmla="*/ 284192 w 285239"/>
                <a:gd name="connsiteY2" fmla="*/ 72587 h 141727"/>
                <a:gd name="connsiteX3" fmla="*/ 285240 w 285239"/>
                <a:gd name="connsiteY3" fmla="*/ 74587 h 141727"/>
                <a:gd name="connsiteX4" fmla="*/ 245616 w 285239"/>
                <a:gd name="connsiteY4" fmla="*/ 117164 h 141727"/>
                <a:gd name="connsiteX5" fmla="*/ 41971 w 285239"/>
                <a:gd name="connsiteY5" fmla="*/ 117640 h 14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239" h="141727">
                  <a:moveTo>
                    <a:pt x="41971" y="117640"/>
                  </a:moveTo>
                  <a:cubicBezTo>
                    <a:pt x="5395" y="96495"/>
                    <a:pt x="-7178" y="66682"/>
                    <a:pt x="3871" y="39440"/>
                  </a:cubicBezTo>
                  <a:cubicBezTo>
                    <a:pt x="69308" y="-26568"/>
                    <a:pt x="240948" y="-5804"/>
                    <a:pt x="284192" y="72587"/>
                  </a:cubicBezTo>
                  <a:lnTo>
                    <a:pt x="285240" y="74587"/>
                  </a:lnTo>
                  <a:cubicBezTo>
                    <a:pt x="277516" y="93040"/>
                    <a:pt x="263467" y="108135"/>
                    <a:pt x="245616" y="117164"/>
                  </a:cubicBezTo>
                  <a:cubicBezTo>
                    <a:pt x="189228" y="149740"/>
                    <a:pt x="98073" y="149930"/>
                    <a:pt x="41971" y="11764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440" name="top camera" descr="migrate, camera">
            <a:extLst>
              <a:ext uri="{FF2B5EF4-FFF2-40B4-BE49-F238E27FC236}">
                <a16:creationId xmlns:a16="http://schemas.microsoft.com/office/drawing/2014/main" id="{130D73AF-8A12-4B66-A9E6-C648C926F8A3}"/>
              </a:ext>
            </a:extLst>
          </p:cNvPr>
          <p:cNvGrpSpPr/>
          <p:nvPr/>
        </p:nvGrpSpPr>
        <p:grpSpPr>
          <a:xfrm>
            <a:off x="5555475" y="316009"/>
            <a:ext cx="321789" cy="321787"/>
            <a:chOff x="8253127" y="4930141"/>
            <a:chExt cx="328242" cy="328240"/>
          </a:xfrm>
          <a:solidFill>
            <a:schemeClr val="tx1"/>
          </a:solidFill>
        </p:grpSpPr>
        <p:sp>
          <p:nvSpPr>
            <p:cNvPr id="441" name="Freeform 339">
              <a:extLst>
                <a:ext uri="{FF2B5EF4-FFF2-40B4-BE49-F238E27FC236}">
                  <a16:creationId xmlns:a16="http://schemas.microsoft.com/office/drawing/2014/main" id="{683DD4C7-F262-4829-8268-A3E2AA59C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127" y="4930141"/>
              <a:ext cx="328242" cy="164749"/>
            </a:xfrm>
            <a:custGeom>
              <a:avLst/>
              <a:gdLst>
                <a:gd name="T0" fmla="*/ 565 w 565"/>
                <a:gd name="T1" fmla="*/ 0 h 282"/>
                <a:gd name="T2" fmla="*/ 282 w 565"/>
                <a:gd name="T3" fmla="*/ 282 h 282"/>
                <a:gd name="T4" fmla="*/ 0 w 565"/>
                <a:gd name="T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5" h="282">
                  <a:moveTo>
                    <a:pt x="565" y="0"/>
                  </a:moveTo>
                  <a:cubicBezTo>
                    <a:pt x="565" y="156"/>
                    <a:pt x="438" y="282"/>
                    <a:pt x="282" y="282"/>
                  </a:cubicBezTo>
                  <a:cubicBezTo>
                    <a:pt x="126" y="282"/>
                    <a:pt x="0" y="15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2" name="Oval 340">
              <a:extLst>
                <a:ext uri="{FF2B5EF4-FFF2-40B4-BE49-F238E27FC236}">
                  <a16:creationId xmlns:a16="http://schemas.microsoft.com/office/drawing/2014/main" id="{B5BA6A81-C98D-4BDE-829C-17118C008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127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3" name="Oval 341">
              <a:extLst>
                <a:ext uri="{FF2B5EF4-FFF2-40B4-BE49-F238E27FC236}">
                  <a16:creationId xmlns:a16="http://schemas.microsoft.com/office/drawing/2014/main" id="{64346E6C-445E-45F7-B7C3-E13FAC1D4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6253" y="5120042"/>
              <a:ext cx="35214" cy="35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4" name="Oval 342">
              <a:extLst>
                <a:ext uri="{FF2B5EF4-FFF2-40B4-BE49-F238E27FC236}">
                  <a16:creationId xmlns:a16="http://schemas.microsoft.com/office/drawing/2014/main" id="{23553A75-296E-48B1-B245-98743CA78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9903" y="4982961"/>
              <a:ext cx="69170" cy="6917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5" name="Oval 343">
              <a:extLst>
                <a:ext uri="{FF2B5EF4-FFF2-40B4-BE49-F238E27FC236}">
                  <a16:creationId xmlns:a16="http://schemas.microsoft.com/office/drawing/2014/main" id="{F1A23CAF-FF93-457B-A948-CFD7DB4AFF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5422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6" name="Oval 344">
              <a:extLst>
                <a:ext uri="{FF2B5EF4-FFF2-40B4-BE49-F238E27FC236}">
                  <a16:creationId xmlns:a16="http://schemas.microsoft.com/office/drawing/2014/main" id="{63D8FC83-64AC-4AB4-ADD0-D518D35D8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99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447" name="top camera 2" descr="migrate, camera">
            <a:extLst>
              <a:ext uri="{FF2B5EF4-FFF2-40B4-BE49-F238E27FC236}">
                <a16:creationId xmlns:a16="http://schemas.microsoft.com/office/drawing/2014/main" id="{9DF626E3-5C51-4FBF-9178-6486BD28BD17}"/>
              </a:ext>
            </a:extLst>
          </p:cNvPr>
          <p:cNvGrpSpPr/>
          <p:nvPr/>
        </p:nvGrpSpPr>
        <p:grpSpPr>
          <a:xfrm>
            <a:off x="10230476" y="316009"/>
            <a:ext cx="321789" cy="321787"/>
            <a:chOff x="8253127" y="4930141"/>
            <a:chExt cx="328242" cy="328240"/>
          </a:xfrm>
          <a:solidFill>
            <a:schemeClr val="tx1"/>
          </a:solidFill>
        </p:grpSpPr>
        <p:sp>
          <p:nvSpPr>
            <p:cNvPr id="448" name="Freeform 339">
              <a:extLst>
                <a:ext uri="{FF2B5EF4-FFF2-40B4-BE49-F238E27FC236}">
                  <a16:creationId xmlns:a16="http://schemas.microsoft.com/office/drawing/2014/main" id="{11575907-6499-4F1D-93E4-C5532772C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127" y="4930141"/>
              <a:ext cx="328242" cy="164749"/>
            </a:xfrm>
            <a:custGeom>
              <a:avLst/>
              <a:gdLst>
                <a:gd name="T0" fmla="*/ 565 w 565"/>
                <a:gd name="T1" fmla="*/ 0 h 282"/>
                <a:gd name="T2" fmla="*/ 282 w 565"/>
                <a:gd name="T3" fmla="*/ 282 h 282"/>
                <a:gd name="T4" fmla="*/ 0 w 565"/>
                <a:gd name="T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5" h="282">
                  <a:moveTo>
                    <a:pt x="565" y="0"/>
                  </a:moveTo>
                  <a:cubicBezTo>
                    <a:pt x="565" y="156"/>
                    <a:pt x="438" y="282"/>
                    <a:pt x="282" y="282"/>
                  </a:cubicBezTo>
                  <a:cubicBezTo>
                    <a:pt x="126" y="282"/>
                    <a:pt x="0" y="15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9" name="Oval 340">
              <a:extLst>
                <a:ext uri="{FF2B5EF4-FFF2-40B4-BE49-F238E27FC236}">
                  <a16:creationId xmlns:a16="http://schemas.microsoft.com/office/drawing/2014/main" id="{F23E218A-170F-4E49-8F72-5490CA2B5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127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50" name="Oval 341">
              <a:extLst>
                <a:ext uri="{FF2B5EF4-FFF2-40B4-BE49-F238E27FC236}">
                  <a16:creationId xmlns:a16="http://schemas.microsoft.com/office/drawing/2014/main" id="{5F9F3DA6-5CDC-49C1-8E90-787C0A7C3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6253" y="5120042"/>
              <a:ext cx="35214" cy="35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51" name="Oval 342">
              <a:extLst>
                <a:ext uri="{FF2B5EF4-FFF2-40B4-BE49-F238E27FC236}">
                  <a16:creationId xmlns:a16="http://schemas.microsoft.com/office/drawing/2014/main" id="{5078D2A3-6782-4333-9B7B-9E93E3D20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9903" y="4982961"/>
              <a:ext cx="69170" cy="6917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52" name="Oval 343">
              <a:extLst>
                <a:ext uri="{FF2B5EF4-FFF2-40B4-BE49-F238E27FC236}">
                  <a16:creationId xmlns:a16="http://schemas.microsoft.com/office/drawing/2014/main" id="{3490DA4C-DDDD-4292-A628-DA996CD1A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5422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53" name="Oval 344">
              <a:extLst>
                <a:ext uri="{FF2B5EF4-FFF2-40B4-BE49-F238E27FC236}">
                  <a16:creationId xmlns:a16="http://schemas.microsoft.com/office/drawing/2014/main" id="{42D70A8F-0018-4B0E-80FA-7A5A2052F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2199" y="5189211"/>
              <a:ext cx="69170" cy="69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algn="ctr" defTabSz="878727" fontAlgn="base"/>
              <a:endParaRPr lang="en-US" sz="1634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63" name="Azure Edge Stack Mirror">
            <a:extLst>
              <a:ext uri="{FF2B5EF4-FFF2-40B4-BE49-F238E27FC236}">
                <a16:creationId xmlns:a16="http://schemas.microsoft.com/office/drawing/2014/main" id="{1CE73E64-0195-45DA-BC72-51AE32354CBE}"/>
              </a:ext>
            </a:extLst>
          </p:cNvPr>
          <p:cNvSpPr/>
          <p:nvPr/>
        </p:nvSpPr>
        <p:spPr>
          <a:xfrm>
            <a:off x="5519497" y="2489200"/>
            <a:ext cx="1203140" cy="1939641"/>
          </a:xfrm>
          <a:prstGeom prst="rect">
            <a:avLst/>
          </a:prstGeom>
          <a:solidFill>
            <a:schemeClr val="bg1">
              <a:alpha val="89000"/>
            </a:schemeClr>
          </a:solidFill>
          <a:ln w="8287" cap="flat">
            <a:solidFill>
              <a:schemeClr val="bg1">
                <a:lumMod val="50000"/>
              </a:schemeClr>
            </a:solidFill>
            <a:prstDash val="solid"/>
            <a:miter/>
          </a:ln>
          <a:scene3d>
            <a:camera prst="perspectiveHeroicExtremeLeftFacing" fov="3000000">
              <a:rot lat="0" lon="1800000" rev="21594000"/>
            </a:camera>
            <a:lightRig rig="balanced" dir="t"/>
          </a:scene3d>
          <a:sp3d>
            <a:bevelT w="0" h="292100"/>
            <a:contourClr>
              <a:schemeClr val="bg2"/>
            </a:contourClr>
          </a:sp3d>
        </p:spPr>
        <p:txBody>
          <a:bodyPr rtlCol="0" anchor="ctr"/>
          <a:lstStyle/>
          <a:p>
            <a:endParaRPr lang="en-US" sz="1765"/>
          </a:p>
        </p:txBody>
      </p:sp>
      <p:pic>
        <p:nvPicPr>
          <p:cNvPr id="464" name="sensor" descr="Wireless">
            <a:extLst>
              <a:ext uri="{FF2B5EF4-FFF2-40B4-BE49-F238E27FC236}">
                <a16:creationId xmlns:a16="http://schemas.microsoft.com/office/drawing/2014/main" id="{5DD11EF0-7B82-4630-B8E7-1FDB0FA562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431973" y="827389"/>
            <a:ext cx="691624" cy="691624"/>
          </a:xfrm>
          <a:prstGeom prst="rect">
            <a:avLst/>
          </a:prstGeom>
        </p:spPr>
      </p:pic>
      <p:sp>
        <p:nvSpPr>
          <p:cNvPr id="465" name="camara box">
            <a:extLst>
              <a:ext uri="{FF2B5EF4-FFF2-40B4-BE49-F238E27FC236}">
                <a16:creationId xmlns:a16="http://schemas.microsoft.com/office/drawing/2014/main" id="{79F8CD35-F942-4874-9E59-D53A3B43BB10}"/>
              </a:ext>
            </a:extLst>
          </p:cNvPr>
          <p:cNvSpPr/>
          <p:nvPr/>
        </p:nvSpPr>
        <p:spPr bwMode="auto">
          <a:xfrm>
            <a:off x="949533" y="2750175"/>
            <a:ext cx="1049788" cy="3150473"/>
          </a:xfrm>
          <a:prstGeom prst="roundRect">
            <a:avLst>
              <a:gd name="adj" fmla="val 26295"/>
            </a:avLst>
          </a:prstGeom>
          <a:noFill/>
          <a:ln w="38100" cap="rnd">
            <a:solidFill>
              <a:schemeClr val="tx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43" name="Black dress red belt">
            <a:extLst>
              <a:ext uri="{FF2B5EF4-FFF2-40B4-BE49-F238E27FC236}">
                <a16:creationId xmlns:a16="http://schemas.microsoft.com/office/drawing/2014/main" id="{8DCE8D17-6F0D-479B-A192-F2D4B2314F34}"/>
              </a:ext>
            </a:extLst>
          </p:cNvPr>
          <p:cNvGrpSpPr>
            <a:grpSpLocks noChangeAspect="1"/>
          </p:cNvGrpSpPr>
          <p:nvPr/>
        </p:nvGrpSpPr>
        <p:grpSpPr>
          <a:xfrm>
            <a:off x="4394699" y="3192746"/>
            <a:ext cx="436234" cy="1237066"/>
            <a:chOff x="6398967" y="3769383"/>
            <a:chExt cx="706374" cy="2003129"/>
          </a:xfrm>
        </p:grpSpPr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4DCF767E-D94E-4945-867D-223F4C4ACB97}"/>
                </a:ext>
              </a:extLst>
            </p:cNvPr>
            <p:cNvSpPr/>
            <p:nvPr/>
          </p:nvSpPr>
          <p:spPr>
            <a:xfrm>
              <a:off x="6453976" y="4172951"/>
              <a:ext cx="651365" cy="1598763"/>
            </a:xfrm>
            <a:custGeom>
              <a:avLst/>
              <a:gdLst>
                <a:gd name="connsiteX0" fmla="*/ 184326 w 290009"/>
                <a:gd name="connsiteY0" fmla="*/ 224887 h 711822"/>
                <a:gd name="connsiteX1" fmla="*/ 221772 w 290009"/>
                <a:gd name="connsiteY1" fmla="*/ 15219 h 711822"/>
                <a:gd name="connsiteX2" fmla="*/ 205350 w 290009"/>
                <a:gd name="connsiteY2" fmla="*/ 0 h 711822"/>
                <a:gd name="connsiteX3" fmla="*/ 165568 w 290009"/>
                <a:gd name="connsiteY3" fmla="*/ 221701 h 711822"/>
                <a:gd name="connsiteX4" fmla="*/ 249874 w 290009"/>
                <a:gd name="connsiteY4" fmla="*/ 686057 h 711822"/>
                <a:gd name="connsiteX5" fmla="*/ 108727 w 290009"/>
                <a:gd name="connsiteY5" fmla="*/ 635020 h 711822"/>
                <a:gd name="connsiteX6" fmla="*/ 0 w 290009"/>
                <a:gd name="connsiteY6" fmla="*/ 555740 h 711822"/>
                <a:gd name="connsiteX7" fmla="*/ 125149 w 290009"/>
                <a:gd name="connsiteY7" fmla="*/ 650310 h 711822"/>
                <a:gd name="connsiteX8" fmla="*/ 290010 w 290009"/>
                <a:gd name="connsiteY8" fmla="*/ 711823 h 71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009" h="711822">
                  <a:moveTo>
                    <a:pt x="184326" y="224887"/>
                  </a:moveTo>
                  <a:lnTo>
                    <a:pt x="221772" y="15219"/>
                  </a:lnTo>
                  <a:lnTo>
                    <a:pt x="205350" y="0"/>
                  </a:lnTo>
                  <a:lnTo>
                    <a:pt x="165568" y="221701"/>
                  </a:lnTo>
                  <a:lnTo>
                    <a:pt x="249874" y="686057"/>
                  </a:lnTo>
                  <a:cubicBezTo>
                    <a:pt x="249874" y="686057"/>
                    <a:pt x="201952" y="688817"/>
                    <a:pt x="108727" y="635020"/>
                  </a:cubicBezTo>
                  <a:cubicBezTo>
                    <a:pt x="69873" y="612369"/>
                    <a:pt x="33444" y="585803"/>
                    <a:pt x="0" y="555740"/>
                  </a:cubicBezTo>
                  <a:cubicBezTo>
                    <a:pt x="37795" y="592145"/>
                    <a:pt x="79811" y="623893"/>
                    <a:pt x="125149" y="650310"/>
                  </a:cubicBezTo>
                  <a:cubicBezTo>
                    <a:pt x="218374" y="704107"/>
                    <a:pt x="290010" y="711823"/>
                    <a:pt x="290010" y="711823"/>
                  </a:cubicBezTo>
                  <a:close/>
                </a:path>
              </a:pathLst>
            </a:custGeom>
            <a:solidFill>
              <a:schemeClr val="tx1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542" name="Group 541">
              <a:extLst>
                <a:ext uri="{FF2B5EF4-FFF2-40B4-BE49-F238E27FC236}">
                  <a16:creationId xmlns:a16="http://schemas.microsoft.com/office/drawing/2014/main" id="{2A788CB1-D324-438D-9D35-29E111E04555}"/>
                </a:ext>
              </a:extLst>
            </p:cNvPr>
            <p:cNvGrpSpPr/>
            <p:nvPr/>
          </p:nvGrpSpPr>
          <p:grpSpPr>
            <a:xfrm>
              <a:off x="6398967" y="3769383"/>
              <a:ext cx="706215" cy="2003129"/>
              <a:chOff x="6398967" y="3769383"/>
              <a:chExt cx="706215" cy="2003129"/>
            </a:xfrm>
          </p:grpSpPr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8CE1CF29-2DE8-4279-9734-D0C6CDC649B8}"/>
                  </a:ext>
                </a:extLst>
              </p:cNvPr>
              <p:cNvSpPr/>
              <p:nvPr/>
            </p:nvSpPr>
            <p:spPr>
              <a:xfrm>
                <a:off x="6484600" y="3945320"/>
                <a:ext cx="498177" cy="296842"/>
              </a:xfrm>
              <a:custGeom>
                <a:avLst/>
                <a:gdLst>
                  <a:gd name="connsiteX0" fmla="*/ 221799 w 221805"/>
                  <a:gd name="connsiteY0" fmla="*/ 132000 h 132164"/>
                  <a:gd name="connsiteX1" fmla="*/ 108542 w 221805"/>
                  <a:gd name="connsiteY1" fmla="*/ 43659 h 132164"/>
                  <a:gd name="connsiteX2" fmla="*/ 27 w 221805"/>
                  <a:gd name="connsiteY2" fmla="*/ 551 h 132164"/>
                  <a:gd name="connsiteX3" fmla="*/ 109604 w 221805"/>
                  <a:gd name="connsiteY3" fmla="*/ 59586 h 132164"/>
                  <a:gd name="connsiteX4" fmla="*/ 221799 w 221805"/>
                  <a:gd name="connsiteY4" fmla="*/ 132000 h 13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05" h="132164">
                    <a:moveTo>
                      <a:pt x="221799" y="132000"/>
                    </a:moveTo>
                    <a:cubicBezTo>
                      <a:pt x="222295" y="127824"/>
                      <a:pt x="194618" y="115861"/>
                      <a:pt x="108542" y="43659"/>
                    </a:cubicBezTo>
                    <a:cubicBezTo>
                      <a:pt x="52833" y="28794"/>
                      <a:pt x="-1389" y="-4687"/>
                      <a:pt x="27" y="551"/>
                    </a:cubicBezTo>
                    <a:cubicBezTo>
                      <a:pt x="1443" y="5789"/>
                      <a:pt x="109604" y="59586"/>
                      <a:pt x="109604" y="59586"/>
                    </a:cubicBezTo>
                    <a:cubicBezTo>
                      <a:pt x="109604" y="59586"/>
                      <a:pt x="221304" y="136176"/>
                      <a:pt x="221799" y="132000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77" name="Freeform: Shape 476">
                <a:extLst>
                  <a:ext uri="{FF2B5EF4-FFF2-40B4-BE49-F238E27FC236}">
                    <a16:creationId xmlns:a16="http://schemas.microsoft.com/office/drawing/2014/main" id="{F0264CCD-8EF7-45D9-901B-7346B8345245}"/>
                  </a:ext>
                </a:extLst>
              </p:cNvPr>
              <p:cNvSpPr/>
              <p:nvPr/>
            </p:nvSpPr>
            <p:spPr>
              <a:xfrm>
                <a:off x="6929345" y="4205386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0E2D4255-3967-4F23-AF29-7F72E86899A7}"/>
                  </a:ext>
                </a:extLst>
              </p:cNvPr>
              <p:cNvSpPr/>
              <p:nvPr/>
            </p:nvSpPr>
            <p:spPr>
              <a:xfrm>
                <a:off x="6519003" y="3968497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D0C8569C-6A4B-41F6-AB50-825BDB5038B1}"/>
                  </a:ext>
                </a:extLst>
              </p:cNvPr>
              <p:cNvSpPr/>
              <p:nvPr/>
            </p:nvSpPr>
            <p:spPr>
              <a:xfrm>
                <a:off x="6398967" y="3958958"/>
                <a:ext cx="706215" cy="1813554"/>
              </a:xfrm>
              <a:custGeom>
                <a:avLst/>
                <a:gdLst>
                  <a:gd name="connsiteX0" fmla="*/ 208818 w 314430"/>
                  <a:gd name="connsiteY0" fmla="*/ 320164 h 807454"/>
                  <a:gd name="connsiteX1" fmla="*/ 246264 w 314430"/>
                  <a:gd name="connsiteY1" fmla="*/ 110497 h 807454"/>
                  <a:gd name="connsiteX2" fmla="*/ 226515 w 314430"/>
                  <a:gd name="connsiteY2" fmla="*/ 92517 h 807454"/>
                  <a:gd name="connsiteX3" fmla="*/ 146173 w 314430"/>
                  <a:gd name="connsiteY3" fmla="*/ 133361 h 807454"/>
                  <a:gd name="connsiteX4" fmla="*/ 74608 w 314430"/>
                  <a:gd name="connsiteY4" fmla="*/ 3256 h 807454"/>
                  <a:gd name="connsiteX5" fmla="*/ 54718 w 314430"/>
                  <a:gd name="connsiteY5" fmla="*/ 0 h 807454"/>
                  <a:gd name="connsiteX6" fmla="*/ 93225 w 314430"/>
                  <a:gd name="connsiteY6" fmla="*/ 253484 h 807454"/>
                  <a:gd name="connsiteX7" fmla="*/ 0 w 314430"/>
                  <a:gd name="connsiteY7" fmla="*/ 625606 h 807454"/>
                  <a:gd name="connsiteX8" fmla="*/ 149571 w 314430"/>
                  <a:gd name="connsiteY8" fmla="*/ 745942 h 807454"/>
                  <a:gd name="connsiteX9" fmla="*/ 314431 w 314430"/>
                  <a:gd name="connsiteY9" fmla="*/ 807454 h 807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4430" h="807454">
                    <a:moveTo>
                      <a:pt x="208818" y="320164"/>
                    </a:moveTo>
                    <a:lnTo>
                      <a:pt x="246264" y="110497"/>
                    </a:lnTo>
                    <a:lnTo>
                      <a:pt x="226515" y="92517"/>
                    </a:lnTo>
                    <a:cubicBezTo>
                      <a:pt x="226515" y="92517"/>
                      <a:pt x="212995" y="171939"/>
                      <a:pt x="146173" y="133361"/>
                    </a:cubicBezTo>
                    <a:cubicBezTo>
                      <a:pt x="79351" y="94782"/>
                      <a:pt x="74608" y="3256"/>
                      <a:pt x="74608" y="3256"/>
                    </a:cubicBezTo>
                    <a:lnTo>
                      <a:pt x="54718" y="0"/>
                    </a:lnTo>
                    <a:lnTo>
                      <a:pt x="93225" y="253484"/>
                    </a:lnTo>
                    <a:cubicBezTo>
                      <a:pt x="27040" y="486370"/>
                      <a:pt x="0" y="625606"/>
                      <a:pt x="0" y="625606"/>
                    </a:cubicBezTo>
                    <a:cubicBezTo>
                      <a:pt x="43364" y="673181"/>
                      <a:pt x="93813" y="713769"/>
                      <a:pt x="149571" y="745942"/>
                    </a:cubicBezTo>
                    <a:cubicBezTo>
                      <a:pt x="242796" y="799739"/>
                      <a:pt x="314431" y="807454"/>
                      <a:pt x="314431" y="807454"/>
                    </a:cubicBezTo>
                    <a:close/>
                  </a:path>
                </a:pathLst>
              </a:custGeom>
              <a:solidFill>
                <a:schemeClr val="tx1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ED1969DF-03DA-4DAB-987B-5F7ECE453345}"/>
                  </a:ext>
                </a:extLst>
              </p:cNvPr>
              <p:cNvSpPr/>
              <p:nvPr/>
            </p:nvSpPr>
            <p:spPr>
              <a:xfrm>
                <a:off x="6598177" y="4461353"/>
                <a:ext cx="280132" cy="264392"/>
              </a:xfrm>
              <a:custGeom>
                <a:avLst/>
                <a:gdLst>
                  <a:gd name="connsiteX0" fmla="*/ 124725 w 124724"/>
                  <a:gd name="connsiteY0" fmla="*/ 117717 h 117716"/>
                  <a:gd name="connsiteX1" fmla="*/ 120124 w 124724"/>
                  <a:gd name="connsiteY1" fmla="*/ 96481 h 117716"/>
                  <a:gd name="connsiteX2" fmla="*/ 124512 w 124724"/>
                  <a:gd name="connsiteY2" fmla="*/ 71918 h 117716"/>
                  <a:gd name="connsiteX3" fmla="*/ 0 w 124724"/>
                  <a:gd name="connsiteY3" fmla="*/ 0 h 117716"/>
                  <a:gd name="connsiteX4" fmla="*/ 4530 w 124724"/>
                  <a:gd name="connsiteY4" fmla="*/ 29730 h 117716"/>
                  <a:gd name="connsiteX5" fmla="*/ 0 w 124724"/>
                  <a:gd name="connsiteY5" fmla="*/ 45728 h 11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724" h="117716">
                    <a:moveTo>
                      <a:pt x="124725" y="117717"/>
                    </a:moveTo>
                    <a:lnTo>
                      <a:pt x="120124" y="96481"/>
                    </a:lnTo>
                    <a:lnTo>
                      <a:pt x="124512" y="71918"/>
                    </a:lnTo>
                    <a:lnTo>
                      <a:pt x="0" y="0"/>
                    </a:lnTo>
                    <a:lnTo>
                      <a:pt x="4530" y="29730"/>
                    </a:lnTo>
                    <a:cubicBezTo>
                      <a:pt x="2973" y="35110"/>
                      <a:pt x="1486" y="40419"/>
                      <a:pt x="0" y="45728"/>
                    </a:cubicBezTo>
                    <a:close/>
                  </a:path>
                </a:pathLst>
              </a:custGeom>
              <a:solidFill>
                <a:srgbClr val="C00000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57C3723D-14B4-43B5-A1C5-CF799F72120B}"/>
                  </a:ext>
                </a:extLst>
              </p:cNvPr>
              <p:cNvSpPr/>
              <p:nvPr/>
            </p:nvSpPr>
            <p:spPr>
              <a:xfrm>
                <a:off x="6687842" y="3769383"/>
                <a:ext cx="111771" cy="288966"/>
              </a:xfrm>
              <a:custGeom>
                <a:avLst/>
                <a:gdLst>
                  <a:gd name="connsiteX0" fmla="*/ 19397 w 49764"/>
                  <a:gd name="connsiteY0" fmla="*/ 127372 h 128657"/>
                  <a:gd name="connsiteX1" fmla="*/ 20459 w 49764"/>
                  <a:gd name="connsiteY1" fmla="*/ 114985 h 128657"/>
                  <a:gd name="connsiteX2" fmla="*/ 20459 w 49764"/>
                  <a:gd name="connsiteY2" fmla="*/ 103446 h 128657"/>
                  <a:gd name="connsiteX3" fmla="*/ 25556 w 49764"/>
                  <a:gd name="connsiteY3" fmla="*/ 99553 h 128657"/>
                  <a:gd name="connsiteX4" fmla="*/ 35112 w 49764"/>
                  <a:gd name="connsiteY4" fmla="*/ 101960 h 128657"/>
                  <a:gd name="connsiteX5" fmla="*/ 35749 w 49764"/>
                  <a:gd name="connsiteY5" fmla="*/ 101960 h 128657"/>
                  <a:gd name="connsiteX6" fmla="*/ 47004 w 49764"/>
                  <a:gd name="connsiteY6" fmla="*/ 92262 h 128657"/>
                  <a:gd name="connsiteX7" fmla="*/ 49764 w 49764"/>
                  <a:gd name="connsiteY7" fmla="*/ 74566 h 128657"/>
                  <a:gd name="connsiteX8" fmla="*/ 49764 w 49764"/>
                  <a:gd name="connsiteY8" fmla="*/ 64797 h 128657"/>
                  <a:gd name="connsiteX9" fmla="*/ 48986 w 49764"/>
                  <a:gd name="connsiteY9" fmla="*/ 54887 h 128657"/>
                  <a:gd name="connsiteX10" fmla="*/ 47216 w 49764"/>
                  <a:gd name="connsiteY10" fmla="*/ 44411 h 128657"/>
                  <a:gd name="connsiteX11" fmla="*/ 44385 w 49764"/>
                  <a:gd name="connsiteY11" fmla="*/ 33581 h 128657"/>
                  <a:gd name="connsiteX12" fmla="*/ 40067 w 49764"/>
                  <a:gd name="connsiteY12" fmla="*/ 22680 h 128657"/>
                  <a:gd name="connsiteX13" fmla="*/ 33908 w 49764"/>
                  <a:gd name="connsiteY13" fmla="*/ 12133 h 128657"/>
                  <a:gd name="connsiteX14" fmla="*/ 25556 w 49764"/>
                  <a:gd name="connsiteY14" fmla="*/ 3851 h 128657"/>
                  <a:gd name="connsiteX15" fmla="*/ 16707 w 49764"/>
                  <a:gd name="connsiteY15" fmla="*/ 241 h 128657"/>
                  <a:gd name="connsiteX16" fmla="*/ 12743 w 49764"/>
                  <a:gd name="connsiteY16" fmla="*/ 241 h 128657"/>
                  <a:gd name="connsiteX17" fmla="*/ 9275 w 49764"/>
                  <a:gd name="connsiteY17" fmla="*/ 1373 h 128657"/>
                  <a:gd name="connsiteX18" fmla="*/ 3824 w 49764"/>
                  <a:gd name="connsiteY18" fmla="*/ 6257 h 128657"/>
                  <a:gd name="connsiteX19" fmla="*/ 922 w 49764"/>
                  <a:gd name="connsiteY19" fmla="*/ 14256 h 128657"/>
                  <a:gd name="connsiteX20" fmla="*/ 2 w 49764"/>
                  <a:gd name="connsiteY20" fmla="*/ 24025 h 128657"/>
                  <a:gd name="connsiteX21" fmla="*/ 3187 w 49764"/>
                  <a:gd name="connsiteY21" fmla="*/ 30395 h 128657"/>
                  <a:gd name="connsiteX22" fmla="*/ 7151 w 49764"/>
                  <a:gd name="connsiteY22" fmla="*/ 29051 h 128657"/>
                  <a:gd name="connsiteX23" fmla="*/ 7151 w 49764"/>
                  <a:gd name="connsiteY23" fmla="*/ 28413 h 128657"/>
                  <a:gd name="connsiteX24" fmla="*/ 7151 w 49764"/>
                  <a:gd name="connsiteY24" fmla="*/ 27210 h 128657"/>
                  <a:gd name="connsiteX25" fmla="*/ 6726 w 49764"/>
                  <a:gd name="connsiteY25" fmla="*/ 18645 h 128657"/>
                  <a:gd name="connsiteX26" fmla="*/ 7222 w 49764"/>
                  <a:gd name="connsiteY26" fmla="*/ 14752 h 128657"/>
                  <a:gd name="connsiteX27" fmla="*/ 8355 w 49764"/>
                  <a:gd name="connsiteY27" fmla="*/ 11354 h 128657"/>
                  <a:gd name="connsiteX28" fmla="*/ 12319 w 49764"/>
                  <a:gd name="connsiteY28" fmla="*/ 6541 h 128657"/>
                  <a:gd name="connsiteX29" fmla="*/ 15008 w 49764"/>
                  <a:gd name="connsiteY29" fmla="*/ 5337 h 128657"/>
                  <a:gd name="connsiteX30" fmla="*/ 18194 w 49764"/>
                  <a:gd name="connsiteY30" fmla="*/ 5337 h 128657"/>
                  <a:gd name="connsiteX31" fmla="*/ 25272 w 49764"/>
                  <a:gd name="connsiteY31" fmla="*/ 7886 h 128657"/>
                  <a:gd name="connsiteX32" fmla="*/ 32351 w 49764"/>
                  <a:gd name="connsiteY32" fmla="*/ 14398 h 128657"/>
                  <a:gd name="connsiteX33" fmla="*/ 37660 w 49764"/>
                  <a:gd name="connsiteY33" fmla="*/ 23600 h 128657"/>
                  <a:gd name="connsiteX34" fmla="*/ 41270 w 49764"/>
                  <a:gd name="connsiteY34" fmla="*/ 33510 h 128657"/>
                  <a:gd name="connsiteX35" fmla="*/ 43394 w 49764"/>
                  <a:gd name="connsiteY35" fmla="*/ 43349 h 128657"/>
                  <a:gd name="connsiteX36" fmla="*/ 44455 w 49764"/>
                  <a:gd name="connsiteY36" fmla="*/ 52905 h 128657"/>
                  <a:gd name="connsiteX37" fmla="*/ 44880 w 49764"/>
                  <a:gd name="connsiteY37" fmla="*/ 62320 h 128657"/>
                  <a:gd name="connsiteX38" fmla="*/ 44880 w 49764"/>
                  <a:gd name="connsiteY38" fmla="*/ 71451 h 128657"/>
                  <a:gd name="connsiteX39" fmla="*/ 42332 w 49764"/>
                  <a:gd name="connsiteY39" fmla="*/ 87449 h 128657"/>
                  <a:gd name="connsiteX40" fmla="*/ 34050 w 49764"/>
                  <a:gd name="connsiteY40" fmla="*/ 95023 h 128657"/>
                  <a:gd name="connsiteX41" fmla="*/ 34687 w 49764"/>
                  <a:gd name="connsiteY41" fmla="*/ 95023 h 128657"/>
                  <a:gd name="connsiteX42" fmla="*/ 23574 w 49764"/>
                  <a:gd name="connsiteY42" fmla="*/ 92192 h 128657"/>
                  <a:gd name="connsiteX43" fmla="*/ 18265 w 49764"/>
                  <a:gd name="connsiteY43" fmla="*/ 93466 h 128657"/>
                  <a:gd name="connsiteX44" fmla="*/ 15362 w 49764"/>
                  <a:gd name="connsiteY44" fmla="*/ 98775 h 128657"/>
                  <a:gd name="connsiteX45" fmla="*/ 15362 w 49764"/>
                  <a:gd name="connsiteY45" fmla="*/ 111870 h 128657"/>
                  <a:gd name="connsiteX46" fmla="*/ 14584 w 49764"/>
                  <a:gd name="connsiteY46" fmla="*/ 122983 h 128657"/>
                  <a:gd name="connsiteX47" fmla="*/ 16636 w 49764"/>
                  <a:gd name="connsiteY47" fmla="*/ 127868 h 128657"/>
                  <a:gd name="connsiteX48" fmla="*/ 19822 w 49764"/>
                  <a:gd name="connsiteY48" fmla="*/ 127514 h 128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9764" h="128657">
                    <a:moveTo>
                      <a:pt x="19397" y="127372"/>
                    </a:moveTo>
                    <a:cubicBezTo>
                      <a:pt x="20282" y="123305"/>
                      <a:pt x="20636" y="119142"/>
                      <a:pt x="20459" y="114985"/>
                    </a:cubicBezTo>
                    <a:cubicBezTo>
                      <a:pt x="20098" y="111147"/>
                      <a:pt x="20098" y="107284"/>
                      <a:pt x="20459" y="103446"/>
                    </a:cubicBezTo>
                    <a:cubicBezTo>
                      <a:pt x="20884" y="100544"/>
                      <a:pt x="22653" y="99482"/>
                      <a:pt x="25556" y="99553"/>
                    </a:cubicBezTo>
                    <a:cubicBezTo>
                      <a:pt x="28840" y="99884"/>
                      <a:pt x="32061" y="100695"/>
                      <a:pt x="35112" y="101960"/>
                    </a:cubicBezTo>
                    <a:lnTo>
                      <a:pt x="35749" y="101960"/>
                    </a:lnTo>
                    <a:cubicBezTo>
                      <a:pt x="41978" y="102385"/>
                      <a:pt x="45163" y="97430"/>
                      <a:pt x="47004" y="92262"/>
                    </a:cubicBezTo>
                    <a:cubicBezTo>
                      <a:pt x="48795" y="86533"/>
                      <a:pt x="49729" y="80569"/>
                      <a:pt x="49764" y="74566"/>
                    </a:cubicBezTo>
                    <a:cubicBezTo>
                      <a:pt x="49764" y="71097"/>
                      <a:pt x="49764" y="68054"/>
                      <a:pt x="49764" y="64797"/>
                    </a:cubicBezTo>
                    <a:cubicBezTo>
                      <a:pt x="49736" y="61480"/>
                      <a:pt x="49474" y="58168"/>
                      <a:pt x="48986" y="54887"/>
                    </a:cubicBezTo>
                    <a:cubicBezTo>
                      <a:pt x="48349" y="51348"/>
                      <a:pt x="48136" y="47809"/>
                      <a:pt x="47216" y="44411"/>
                    </a:cubicBezTo>
                    <a:cubicBezTo>
                      <a:pt x="46296" y="41013"/>
                      <a:pt x="45729" y="37332"/>
                      <a:pt x="44385" y="33581"/>
                    </a:cubicBezTo>
                    <a:cubicBezTo>
                      <a:pt x="43188" y="29855"/>
                      <a:pt x="41751" y="26213"/>
                      <a:pt x="40067" y="22680"/>
                    </a:cubicBezTo>
                    <a:cubicBezTo>
                      <a:pt x="38361" y="18973"/>
                      <a:pt x="36294" y="15441"/>
                      <a:pt x="33908" y="12133"/>
                    </a:cubicBezTo>
                    <a:cubicBezTo>
                      <a:pt x="31509" y="9010"/>
                      <a:pt x="28698" y="6225"/>
                      <a:pt x="25556" y="3851"/>
                    </a:cubicBezTo>
                    <a:cubicBezTo>
                      <a:pt x="22965" y="1912"/>
                      <a:pt x="19914" y="669"/>
                      <a:pt x="16707" y="241"/>
                    </a:cubicBezTo>
                    <a:cubicBezTo>
                      <a:pt x="15405" y="-80"/>
                      <a:pt x="14046" y="-80"/>
                      <a:pt x="12743" y="241"/>
                    </a:cubicBezTo>
                    <a:cubicBezTo>
                      <a:pt x="11505" y="280"/>
                      <a:pt x="10301" y="673"/>
                      <a:pt x="9275" y="1373"/>
                    </a:cubicBezTo>
                    <a:cubicBezTo>
                      <a:pt x="7038" y="2463"/>
                      <a:pt x="5155" y="4154"/>
                      <a:pt x="3824" y="6257"/>
                    </a:cubicBezTo>
                    <a:cubicBezTo>
                      <a:pt x="2409" y="8738"/>
                      <a:pt x="1425" y="11443"/>
                      <a:pt x="922" y="14256"/>
                    </a:cubicBezTo>
                    <a:cubicBezTo>
                      <a:pt x="278" y="17472"/>
                      <a:pt x="-26" y="20746"/>
                      <a:pt x="2" y="24025"/>
                    </a:cubicBezTo>
                    <a:cubicBezTo>
                      <a:pt x="-41" y="26540"/>
                      <a:pt x="1149" y="28918"/>
                      <a:pt x="3187" y="30395"/>
                    </a:cubicBezTo>
                    <a:cubicBezTo>
                      <a:pt x="5169" y="31811"/>
                      <a:pt x="6939" y="31174"/>
                      <a:pt x="7151" y="29051"/>
                    </a:cubicBezTo>
                    <a:cubicBezTo>
                      <a:pt x="7187" y="28840"/>
                      <a:pt x="7187" y="28624"/>
                      <a:pt x="7151" y="28413"/>
                    </a:cubicBezTo>
                    <a:lnTo>
                      <a:pt x="7151" y="27210"/>
                    </a:lnTo>
                    <a:cubicBezTo>
                      <a:pt x="6698" y="24379"/>
                      <a:pt x="6557" y="21507"/>
                      <a:pt x="6726" y="18645"/>
                    </a:cubicBezTo>
                    <a:cubicBezTo>
                      <a:pt x="6811" y="17338"/>
                      <a:pt x="6981" y="16039"/>
                      <a:pt x="7222" y="14752"/>
                    </a:cubicBezTo>
                    <a:lnTo>
                      <a:pt x="8355" y="11354"/>
                    </a:lnTo>
                    <a:cubicBezTo>
                      <a:pt x="9232" y="9431"/>
                      <a:pt x="10598" y="7771"/>
                      <a:pt x="12319" y="6541"/>
                    </a:cubicBezTo>
                    <a:cubicBezTo>
                      <a:pt x="13034" y="5820"/>
                      <a:pt x="13996" y="5392"/>
                      <a:pt x="15008" y="5337"/>
                    </a:cubicBezTo>
                    <a:cubicBezTo>
                      <a:pt x="16042" y="5011"/>
                      <a:pt x="17160" y="5011"/>
                      <a:pt x="18194" y="5337"/>
                    </a:cubicBezTo>
                    <a:cubicBezTo>
                      <a:pt x="20735" y="5556"/>
                      <a:pt x="23177" y="6434"/>
                      <a:pt x="25272" y="7886"/>
                    </a:cubicBezTo>
                    <a:cubicBezTo>
                      <a:pt x="27955" y="9678"/>
                      <a:pt x="30341" y="11875"/>
                      <a:pt x="32351" y="14398"/>
                    </a:cubicBezTo>
                    <a:cubicBezTo>
                      <a:pt x="34383" y="17309"/>
                      <a:pt x="36159" y="20387"/>
                      <a:pt x="37660" y="23600"/>
                    </a:cubicBezTo>
                    <a:cubicBezTo>
                      <a:pt x="39132" y="26798"/>
                      <a:pt x="40343" y="30112"/>
                      <a:pt x="41270" y="33510"/>
                    </a:cubicBezTo>
                    <a:cubicBezTo>
                      <a:pt x="42332" y="36837"/>
                      <a:pt x="42686" y="40093"/>
                      <a:pt x="43394" y="43349"/>
                    </a:cubicBezTo>
                    <a:cubicBezTo>
                      <a:pt x="44101" y="46605"/>
                      <a:pt x="44101" y="49720"/>
                      <a:pt x="44455" y="52905"/>
                    </a:cubicBezTo>
                    <a:cubicBezTo>
                      <a:pt x="44774" y="56033"/>
                      <a:pt x="44915" y="59176"/>
                      <a:pt x="44880" y="62320"/>
                    </a:cubicBezTo>
                    <a:cubicBezTo>
                      <a:pt x="44880" y="65293"/>
                      <a:pt x="44880" y="68903"/>
                      <a:pt x="44880" y="71451"/>
                    </a:cubicBezTo>
                    <a:cubicBezTo>
                      <a:pt x="44831" y="76881"/>
                      <a:pt x="43974" y="82273"/>
                      <a:pt x="42332" y="87449"/>
                    </a:cubicBezTo>
                    <a:cubicBezTo>
                      <a:pt x="40704" y="91979"/>
                      <a:pt x="37943" y="95377"/>
                      <a:pt x="34050" y="95023"/>
                    </a:cubicBezTo>
                    <a:lnTo>
                      <a:pt x="34687" y="95023"/>
                    </a:lnTo>
                    <a:cubicBezTo>
                      <a:pt x="31148" y="93519"/>
                      <a:pt x="27403" y="92565"/>
                      <a:pt x="23574" y="92192"/>
                    </a:cubicBezTo>
                    <a:cubicBezTo>
                      <a:pt x="21719" y="92082"/>
                      <a:pt x="19871" y="92526"/>
                      <a:pt x="18265" y="93466"/>
                    </a:cubicBezTo>
                    <a:cubicBezTo>
                      <a:pt x="16693" y="94832"/>
                      <a:pt x="15667" y="96715"/>
                      <a:pt x="15362" y="98775"/>
                    </a:cubicBezTo>
                    <a:cubicBezTo>
                      <a:pt x="14938" y="103129"/>
                      <a:pt x="14938" y="107515"/>
                      <a:pt x="15362" y="111870"/>
                    </a:cubicBezTo>
                    <a:cubicBezTo>
                      <a:pt x="15617" y="115593"/>
                      <a:pt x="15355" y="119332"/>
                      <a:pt x="14584" y="122983"/>
                    </a:cubicBezTo>
                    <a:cubicBezTo>
                      <a:pt x="14393" y="124855"/>
                      <a:pt x="15164" y="126695"/>
                      <a:pt x="16636" y="127868"/>
                    </a:cubicBezTo>
                    <a:cubicBezTo>
                      <a:pt x="18052" y="129071"/>
                      <a:pt x="19468" y="128859"/>
                      <a:pt x="19822" y="127514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grpSp>
        <p:nvGrpSpPr>
          <p:cNvPr id="548" name="Red dress">
            <a:extLst>
              <a:ext uri="{FF2B5EF4-FFF2-40B4-BE49-F238E27FC236}">
                <a16:creationId xmlns:a16="http://schemas.microsoft.com/office/drawing/2014/main" id="{06A536F7-D7C0-4BE9-8D1D-A8B28DB2F8DD}"/>
              </a:ext>
            </a:extLst>
          </p:cNvPr>
          <p:cNvGrpSpPr>
            <a:grpSpLocks noChangeAspect="1"/>
          </p:cNvGrpSpPr>
          <p:nvPr/>
        </p:nvGrpSpPr>
        <p:grpSpPr>
          <a:xfrm>
            <a:off x="4112722" y="3192746"/>
            <a:ext cx="436002" cy="1237066"/>
            <a:chOff x="6081948" y="3957462"/>
            <a:chExt cx="706057" cy="2003289"/>
          </a:xfrm>
        </p:grpSpPr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4F792458-7FA4-490F-9B43-5E6204682E36}"/>
                </a:ext>
              </a:extLst>
            </p:cNvPr>
            <p:cNvSpPr/>
            <p:nvPr/>
          </p:nvSpPr>
          <p:spPr>
            <a:xfrm>
              <a:off x="6167104" y="4133529"/>
              <a:ext cx="498337" cy="296714"/>
            </a:xfrm>
            <a:custGeom>
              <a:avLst/>
              <a:gdLst>
                <a:gd name="connsiteX0" fmla="*/ 221870 w 221876"/>
                <a:gd name="connsiteY0" fmla="*/ 131942 h 132107"/>
                <a:gd name="connsiteX1" fmla="*/ 108613 w 221876"/>
                <a:gd name="connsiteY1" fmla="*/ 43672 h 132107"/>
                <a:gd name="connsiteX2" fmla="*/ 27 w 221876"/>
                <a:gd name="connsiteY2" fmla="*/ 564 h 132107"/>
                <a:gd name="connsiteX3" fmla="*/ 110312 w 221876"/>
                <a:gd name="connsiteY3" fmla="*/ 59528 h 132107"/>
                <a:gd name="connsiteX4" fmla="*/ 221870 w 221876"/>
                <a:gd name="connsiteY4" fmla="*/ 131942 h 132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6" h="132107">
                  <a:moveTo>
                    <a:pt x="221870" y="131942"/>
                  </a:moveTo>
                  <a:cubicBezTo>
                    <a:pt x="222366" y="127766"/>
                    <a:pt x="194759" y="115874"/>
                    <a:pt x="108613" y="43672"/>
                  </a:cubicBezTo>
                  <a:cubicBezTo>
                    <a:pt x="52833" y="28807"/>
                    <a:pt x="-1389" y="-4745"/>
                    <a:pt x="27" y="564"/>
                  </a:cubicBezTo>
                  <a:cubicBezTo>
                    <a:pt x="1443" y="5873"/>
                    <a:pt x="110312" y="59528"/>
                    <a:pt x="110312" y="59528"/>
                  </a:cubicBezTo>
                  <a:cubicBezTo>
                    <a:pt x="110312" y="59528"/>
                    <a:pt x="221445" y="136119"/>
                    <a:pt x="221870" y="131942"/>
                  </a:cubicBez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5CE82E4C-7083-4B12-A7F7-CE3A80CDD0EE}"/>
                </a:ext>
              </a:extLst>
            </p:cNvPr>
            <p:cNvSpPr/>
            <p:nvPr/>
          </p:nvSpPr>
          <p:spPr>
            <a:xfrm>
              <a:off x="6612167" y="4393625"/>
              <a:ext cx="20668" cy="32909"/>
            </a:xfrm>
            <a:custGeom>
              <a:avLst/>
              <a:gdLst>
                <a:gd name="connsiteX0" fmla="*/ 0 w 9202"/>
                <a:gd name="connsiteY0" fmla="*/ 9344 h 14652"/>
                <a:gd name="connsiteX1" fmla="*/ 9202 w 9202"/>
                <a:gd name="connsiteY1" fmla="*/ 14653 h 14652"/>
                <a:gd name="connsiteX2" fmla="*/ 9202 w 9202"/>
                <a:gd name="connsiteY2" fmla="*/ 5309 h 14652"/>
                <a:gd name="connsiteX3" fmla="*/ 0 w 9202"/>
                <a:gd name="connsiteY3" fmla="*/ 0 h 14652"/>
                <a:gd name="connsiteX4" fmla="*/ 0 w 9202"/>
                <a:gd name="connsiteY4" fmla="*/ 9344 h 1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2" h="14652">
                  <a:moveTo>
                    <a:pt x="0" y="9344"/>
                  </a:moveTo>
                  <a:lnTo>
                    <a:pt x="9202" y="14653"/>
                  </a:lnTo>
                  <a:lnTo>
                    <a:pt x="9202" y="5309"/>
                  </a:lnTo>
                  <a:lnTo>
                    <a:pt x="0" y="0"/>
                  </a:lnTo>
                  <a:lnTo>
                    <a:pt x="0" y="9344"/>
                  </a:ln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431D2207-60FE-4E3F-B6C4-522D84A914D3}"/>
                </a:ext>
              </a:extLst>
            </p:cNvPr>
            <p:cNvSpPr/>
            <p:nvPr/>
          </p:nvSpPr>
          <p:spPr>
            <a:xfrm>
              <a:off x="6201665" y="4156735"/>
              <a:ext cx="20668" cy="32909"/>
            </a:xfrm>
            <a:custGeom>
              <a:avLst/>
              <a:gdLst>
                <a:gd name="connsiteX0" fmla="*/ 0 w 9202"/>
                <a:gd name="connsiteY0" fmla="*/ 9344 h 14652"/>
                <a:gd name="connsiteX1" fmla="*/ 9202 w 9202"/>
                <a:gd name="connsiteY1" fmla="*/ 14653 h 14652"/>
                <a:gd name="connsiteX2" fmla="*/ 9202 w 9202"/>
                <a:gd name="connsiteY2" fmla="*/ 5309 h 14652"/>
                <a:gd name="connsiteX3" fmla="*/ 0 w 9202"/>
                <a:gd name="connsiteY3" fmla="*/ 0 h 14652"/>
                <a:gd name="connsiteX4" fmla="*/ 0 w 9202"/>
                <a:gd name="connsiteY4" fmla="*/ 9344 h 1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2" h="14652">
                  <a:moveTo>
                    <a:pt x="0" y="9344"/>
                  </a:moveTo>
                  <a:lnTo>
                    <a:pt x="9202" y="14653"/>
                  </a:lnTo>
                  <a:lnTo>
                    <a:pt x="9202" y="5309"/>
                  </a:lnTo>
                  <a:lnTo>
                    <a:pt x="0" y="0"/>
                  </a:lnTo>
                  <a:lnTo>
                    <a:pt x="0" y="9344"/>
                  </a:ln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C2C821CD-DF0A-4646-BF08-6984CFC2E31E}"/>
                </a:ext>
              </a:extLst>
            </p:cNvPr>
            <p:cNvSpPr/>
            <p:nvPr/>
          </p:nvSpPr>
          <p:spPr>
            <a:xfrm>
              <a:off x="6081948" y="4147037"/>
              <a:ext cx="706057" cy="1813714"/>
            </a:xfrm>
            <a:custGeom>
              <a:avLst/>
              <a:gdLst>
                <a:gd name="connsiteX0" fmla="*/ 208677 w 314360"/>
                <a:gd name="connsiteY0" fmla="*/ 320165 h 807525"/>
                <a:gd name="connsiteX1" fmla="*/ 246123 w 314360"/>
                <a:gd name="connsiteY1" fmla="*/ 110638 h 807525"/>
                <a:gd name="connsiteX2" fmla="*/ 226656 w 314360"/>
                <a:gd name="connsiteY2" fmla="*/ 92588 h 807525"/>
                <a:gd name="connsiteX3" fmla="*/ 146385 w 314360"/>
                <a:gd name="connsiteY3" fmla="*/ 133502 h 807525"/>
                <a:gd name="connsiteX4" fmla="*/ 74467 w 314360"/>
                <a:gd name="connsiteY4" fmla="*/ 3256 h 807525"/>
                <a:gd name="connsiteX5" fmla="*/ 54576 w 314360"/>
                <a:gd name="connsiteY5" fmla="*/ 0 h 807525"/>
                <a:gd name="connsiteX6" fmla="*/ 93083 w 314360"/>
                <a:gd name="connsiteY6" fmla="*/ 253484 h 807525"/>
                <a:gd name="connsiteX7" fmla="*/ 0 w 314360"/>
                <a:gd name="connsiteY7" fmla="*/ 625676 h 807525"/>
                <a:gd name="connsiteX8" fmla="*/ 149571 w 314360"/>
                <a:gd name="connsiteY8" fmla="*/ 746012 h 807525"/>
                <a:gd name="connsiteX9" fmla="*/ 314360 w 314360"/>
                <a:gd name="connsiteY9" fmla="*/ 807525 h 80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360" h="807525">
                  <a:moveTo>
                    <a:pt x="208677" y="320165"/>
                  </a:moveTo>
                  <a:lnTo>
                    <a:pt x="246123" y="110638"/>
                  </a:lnTo>
                  <a:lnTo>
                    <a:pt x="226656" y="92588"/>
                  </a:lnTo>
                  <a:cubicBezTo>
                    <a:pt x="226656" y="92588"/>
                    <a:pt x="213207" y="172080"/>
                    <a:pt x="146385" y="133502"/>
                  </a:cubicBezTo>
                  <a:cubicBezTo>
                    <a:pt x="79563" y="94924"/>
                    <a:pt x="74467" y="3256"/>
                    <a:pt x="74467" y="3256"/>
                  </a:cubicBezTo>
                  <a:lnTo>
                    <a:pt x="54576" y="0"/>
                  </a:lnTo>
                  <a:lnTo>
                    <a:pt x="93083" y="253484"/>
                  </a:lnTo>
                  <a:cubicBezTo>
                    <a:pt x="26969" y="486511"/>
                    <a:pt x="0" y="625676"/>
                    <a:pt x="0" y="625676"/>
                  </a:cubicBezTo>
                  <a:cubicBezTo>
                    <a:pt x="43339" y="673273"/>
                    <a:pt x="93796" y="713868"/>
                    <a:pt x="149571" y="746012"/>
                  </a:cubicBezTo>
                  <a:cubicBezTo>
                    <a:pt x="242725" y="799810"/>
                    <a:pt x="314360" y="807525"/>
                    <a:pt x="314360" y="807525"/>
                  </a:cubicBezTo>
                  <a:close/>
                </a:path>
              </a:pathLst>
            </a:custGeom>
            <a:solidFill>
              <a:schemeClr val="bg1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2D447082-E105-460C-8C18-D2F8E9B05EFF}"/>
                </a:ext>
              </a:extLst>
            </p:cNvPr>
            <p:cNvSpPr/>
            <p:nvPr/>
          </p:nvSpPr>
          <p:spPr>
            <a:xfrm>
              <a:off x="6136800" y="4361352"/>
              <a:ext cx="651205" cy="1598604"/>
            </a:xfrm>
            <a:custGeom>
              <a:avLst/>
              <a:gdLst>
                <a:gd name="connsiteX0" fmla="*/ 184256 w 289938"/>
                <a:gd name="connsiteY0" fmla="*/ 224745 h 711751"/>
                <a:gd name="connsiteX1" fmla="*/ 221701 w 289938"/>
                <a:gd name="connsiteY1" fmla="*/ 15219 h 711751"/>
                <a:gd name="connsiteX2" fmla="*/ 205279 w 289938"/>
                <a:gd name="connsiteY2" fmla="*/ 0 h 711751"/>
                <a:gd name="connsiteX3" fmla="*/ 165497 w 289938"/>
                <a:gd name="connsiteY3" fmla="*/ 221631 h 711751"/>
                <a:gd name="connsiteX4" fmla="*/ 249803 w 289938"/>
                <a:gd name="connsiteY4" fmla="*/ 685915 h 711751"/>
                <a:gd name="connsiteX5" fmla="*/ 108727 w 289938"/>
                <a:gd name="connsiteY5" fmla="*/ 634878 h 711751"/>
                <a:gd name="connsiteX6" fmla="*/ 0 w 289938"/>
                <a:gd name="connsiteY6" fmla="*/ 555598 h 711751"/>
                <a:gd name="connsiteX7" fmla="*/ 125149 w 289938"/>
                <a:gd name="connsiteY7" fmla="*/ 650239 h 711751"/>
                <a:gd name="connsiteX8" fmla="*/ 289939 w 289938"/>
                <a:gd name="connsiteY8" fmla="*/ 711752 h 71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938" h="711751">
                  <a:moveTo>
                    <a:pt x="184256" y="224745"/>
                  </a:moveTo>
                  <a:lnTo>
                    <a:pt x="221701" y="15219"/>
                  </a:lnTo>
                  <a:lnTo>
                    <a:pt x="205279" y="0"/>
                  </a:lnTo>
                  <a:lnTo>
                    <a:pt x="165497" y="221631"/>
                  </a:lnTo>
                  <a:lnTo>
                    <a:pt x="249803" y="685915"/>
                  </a:lnTo>
                  <a:cubicBezTo>
                    <a:pt x="249803" y="685915"/>
                    <a:pt x="201881" y="688676"/>
                    <a:pt x="108727" y="634878"/>
                  </a:cubicBezTo>
                  <a:cubicBezTo>
                    <a:pt x="69837" y="612291"/>
                    <a:pt x="33399" y="585718"/>
                    <a:pt x="0" y="555598"/>
                  </a:cubicBezTo>
                  <a:cubicBezTo>
                    <a:pt x="37756" y="592067"/>
                    <a:pt x="79777" y="623843"/>
                    <a:pt x="125149" y="650239"/>
                  </a:cubicBezTo>
                  <a:cubicBezTo>
                    <a:pt x="218304" y="704036"/>
                    <a:pt x="289939" y="711752"/>
                    <a:pt x="289939" y="711752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A3D98BB4-FE3F-480C-9C53-714978EA8F67}"/>
                </a:ext>
              </a:extLst>
            </p:cNvPr>
            <p:cNvSpPr/>
            <p:nvPr/>
          </p:nvSpPr>
          <p:spPr>
            <a:xfrm>
              <a:off x="6280840" y="4649911"/>
              <a:ext cx="280132" cy="264075"/>
            </a:xfrm>
            <a:custGeom>
              <a:avLst/>
              <a:gdLst>
                <a:gd name="connsiteX0" fmla="*/ 124725 w 124724"/>
                <a:gd name="connsiteY0" fmla="*/ 117575 h 117575"/>
                <a:gd name="connsiteX1" fmla="*/ 120124 w 124724"/>
                <a:gd name="connsiteY1" fmla="*/ 96340 h 117575"/>
                <a:gd name="connsiteX2" fmla="*/ 124512 w 124724"/>
                <a:gd name="connsiteY2" fmla="*/ 71777 h 117575"/>
                <a:gd name="connsiteX3" fmla="*/ 0 w 124724"/>
                <a:gd name="connsiteY3" fmla="*/ 0 h 117575"/>
                <a:gd name="connsiteX4" fmla="*/ 4530 w 124724"/>
                <a:gd name="connsiteY4" fmla="*/ 29659 h 117575"/>
                <a:gd name="connsiteX5" fmla="*/ 0 w 124724"/>
                <a:gd name="connsiteY5" fmla="*/ 45657 h 1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724" h="117575">
                  <a:moveTo>
                    <a:pt x="124725" y="117575"/>
                  </a:moveTo>
                  <a:lnTo>
                    <a:pt x="120124" y="96340"/>
                  </a:lnTo>
                  <a:lnTo>
                    <a:pt x="124512" y="71777"/>
                  </a:lnTo>
                  <a:lnTo>
                    <a:pt x="0" y="0"/>
                  </a:lnTo>
                  <a:lnTo>
                    <a:pt x="4530" y="29659"/>
                  </a:lnTo>
                  <a:cubicBezTo>
                    <a:pt x="3044" y="35110"/>
                    <a:pt x="1557" y="40348"/>
                    <a:pt x="0" y="45657"/>
                  </a:cubicBezTo>
                  <a:close/>
                </a:path>
              </a:pathLst>
            </a:custGeom>
            <a:solidFill>
              <a:srgbClr val="31363A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EDA5F7EE-A750-400D-930E-988DECD3F4CA}"/>
                </a:ext>
              </a:extLst>
            </p:cNvPr>
            <p:cNvSpPr/>
            <p:nvPr/>
          </p:nvSpPr>
          <p:spPr>
            <a:xfrm>
              <a:off x="6370029" y="3957462"/>
              <a:ext cx="113042" cy="289020"/>
            </a:xfrm>
            <a:custGeom>
              <a:avLst/>
              <a:gdLst>
                <a:gd name="connsiteX0" fmla="*/ 19963 w 50330"/>
                <a:gd name="connsiteY0" fmla="*/ 127443 h 128681"/>
                <a:gd name="connsiteX1" fmla="*/ 21025 w 50330"/>
                <a:gd name="connsiteY1" fmla="*/ 115055 h 128681"/>
                <a:gd name="connsiteX2" fmla="*/ 21025 w 50330"/>
                <a:gd name="connsiteY2" fmla="*/ 103517 h 128681"/>
                <a:gd name="connsiteX3" fmla="*/ 26121 w 50330"/>
                <a:gd name="connsiteY3" fmla="*/ 99624 h 128681"/>
                <a:gd name="connsiteX4" fmla="*/ 35677 w 50330"/>
                <a:gd name="connsiteY4" fmla="*/ 102031 h 128681"/>
                <a:gd name="connsiteX5" fmla="*/ 36314 w 50330"/>
                <a:gd name="connsiteY5" fmla="*/ 102031 h 128681"/>
                <a:gd name="connsiteX6" fmla="*/ 47569 w 50330"/>
                <a:gd name="connsiteY6" fmla="*/ 92333 h 128681"/>
                <a:gd name="connsiteX7" fmla="*/ 50330 w 50330"/>
                <a:gd name="connsiteY7" fmla="*/ 74636 h 128681"/>
                <a:gd name="connsiteX8" fmla="*/ 50330 w 50330"/>
                <a:gd name="connsiteY8" fmla="*/ 64868 h 128681"/>
                <a:gd name="connsiteX9" fmla="*/ 49481 w 50330"/>
                <a:gd name="connsiteY9" fmla="*/ 54958 h 128681"/>
                <a:gd name="connsiteX10" fmla="*/ 47782 w 50330"/>
                <a:gd name="connsiteY10" fmla="*/ 44411 h 128681"/>
                <a:gd name="connsiteX11" fmla="*/ 44950 w 50330"/>
                <a:gd name="connsiteY11" fmla="*/ 33651 h 128681"/>
                <a:gd name="connsiteX12" fmla="*/ 40562 w 50330"/>
                <a:gd name="connsiteY12" fmla="*/ 22680 h 128681"/>
                <a:gd name="connsiteX13" fmla="*/ 34120 w 50330"/>
                <a:gd name="connsiteY13" fmla="*/ 12274 h 128681"/>
                <a:gd name="connsiteX14" fmla="*/ 25484 w 50330"/>
                <a:gd name="connsiteY14" fmla="*/ 3921 h 128681"/>
                <a:gd name="connsiteX15" fmla="*/ 16636 w 50330"/>
                <a:gd name="connsiteY15" fmla="*/ 240 h 128681"/>
                <a:gd name="connsiteX16" fmla="*/ 12743 w 50330"/>
                <a:gd name="connsiteY16" fmla="*/ 240 h 128681"/>
                <a:gd name="connsiteX17" fmla="*/ 9204 w 50330"/>
                <a:gd name="connsiteY17" fmla="*/ 1373 h 128681"/>
                <a:gd name="connsiteX18" fmla="*/ 3753 w 50330"/>
                <a:gd name="connsiteY18" fmla="*/ 6328 h 128681"/>
                <a:gd name="connsiteX19" fmla="*/ 851 w 50330"/>
                <a:gd name="connsiteY19" fmla="*/ 14327 h 128681"/>
                <a:gd name="connsiteX20" fmla="*/ 1 w 50330"/>
                <a:gd name="connsiteY20" fmla="*/ 24095 h 128681"/>
                <a:gd name="connsiteX21" fmla="*/ 3187 w 50330"/>
                <a:gd name="connsiteY21" fmla="*/ 30466 h 128681"/>
                <a:gd name="connsiteX22" fmla="*/ 7080 w 50330"/>
                <a:gd name="connsiteY22" fmla="*/ 29121 h 128681"/>
                <a:gd name="connsiteX23" fmla="*/ 7080 w 50330"/>
                <a:gd name="connsiteY23" fmla="*/ 28484 h 128681"/>
                <a:gd name="connsiteX24" fmla="*/ 7080 w 50330"/>
                <a:gd name="connsiteY24" fmla="*/ 27281 h 128681"/>
                <a:gd name="connsiteX25" fmla="*/ 6726 w 50330"/>
                <a:gd name="connsiteY25" fmla="*/ 18716 h 128681"/>
                <a:gd name="connsiteX26" fmla="*/ 7151 w 50330"/>
                <a:gd name="connsiteY26" fmla="*/ 14752 h 128681"/>
                <a:gd name="connsiteX27" fmla="*/ 8283 w 50330"/>
                <a:gd name="connsiteY27" fmla="*/ 11425 h 128681"/>
                <a:gd name="connsiteX28" fmla="*/ 12247 w 50330"/>
                <a:gd name="connsiteY28" fmla="*/ 6611 h 128681"/>
                <a:gd name="connsiteX29" fmla="*/ 14937 w 50330"/>
                <a:gd name="connsiteY29" fmla="*/ 5337 h 128681"/>
                <a:gd name="connsiteX30" fmla="*/ 18123 w 50330"/>
                <a:gd name="connsiteY30" fmla="*/ 5337 h 128681"/>
                <a:gd name="connsiteX31" fmla="*/ 25201 w 50330"/>
                <a:gd name="connsiteY31" fmla="*/ 7956 h 128681"/>
                <a:gd name="connsiteX32" fmla="*/ 32280 w 50330"/>
                <a:gd name="connsiteY32" fmla="*/ 14468 h 128681"/>
                <a:gd name="connsiteX33" fmla="*/ 37589 w 50330"/>
                <a:gd name="connsiteY33" fmla="*/ 23671 h 128681"/>
                <a:gd name="connsiteX34" fmla="*/ 41199 w 50330"/>
                <a:gd name="connsiteY34" fmla="*/ 33439 h 128681"/>
                <a:gd name="connsiteX35" fmla="*/ 43322 w 50330"/>
                <a:gd name="connsiteY35" fmla="*/ 43349 h 128681"/>
                <a:gd name="connsiteX36" fmla="*/ 44384 w 50330"/>
                <a:gd name="connsiteY36" fmla="*/ 52834 h 128681"/>
                <a:gd name="connsiteX37" fmla="*/ 44809 w 50330"/>
                <a:gd name="connsiteY37" fmla="*/ 62249 h 128681"/>
                <a:gd name="connsiteX38" fmla="*/ 44809 w 50330"/>
                <a:gd name="connsiteY38" fmla="*/ 71380 h 128681"/>
                <a:gd name="connsiteX39" fmla="*/ 42261 w 50330"/>
                <a:gd name="connsiteY39" fmla="*/ 87449 h 128681"/>
                <a:gd name="connsiteX40" fmla="*/ 33979 w 50330"/>
                <a:gd name="connsiteY40" fmla="*/ 95023 h 128681"/>
                <a:gd name="connsiteX41" fmla="*/ 34616 w 50330"/>
                <a:gd name="connsiteY41" fmla="*/ 95023 h 128681"/>
                <a:gd name="connsiteX42" fmla="*/ 23502 w 50330"/>
                <a:gd name="connsiteY42" fmla="*/ 92191 h 128681"/>
                <a:gd name="connsiteX43" fmla="*/ 18264 w 50330"/>
                <a:gd name="connsiteY43" fmla="*/ 93536 h 128681"/>
                <a:gd name="connsiteX44" fmla="*/ 15291 w 50330"/>
                <a:gd name="connsiteY44" fmla="*/ 98845 h 128681"/>
                <a:gd name="connsiteX45" fmla="*/ 15291 w 50330"/>
                <a:gd name="connsiteY45" fmla="*/ 111870 h 128681"/>
                <a:gd name="connsiteX46" fmla="*/ 14512 w 50330"/>
                <a:gd name="connsiteY46" fmla="*/ 123054 h 128681"/>
                <a:gd name="connsiteX47" fmla="*/ 16565 w 50330"/>
                <a:gd name="connsiteY47" fmla="*/ 127867 h 128681"/>
                <a:gd name="connsiteX48" fmla="*/ 19751 w 50330"/>
                <a:gd name="connsiteY48" fmla="*/ 127513 h 12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50330" h="128681">
                  <a:moveTo>
                    <a:pt x="19963" y="127443"/>
                  </a:moveTo>
                  <a:cubicBezTo>
                    <a:pt x="20841" y="123375"/>
                    <a:pt x="21198" y="119212"/>
                    <a:pt x="21025" y="115055"/>
                  </a:cubicBezTo>
                  <a:cubicBezTo>
                    <a:pt x="20698" y="111216"/>
                    <a:pt x="20698" y="107357"/>
                    <a:pt x="21025" y="103517"/>
                  </a:cubicBezTo>
                  <a:cubicBezTo>
                    <a:pt x="21520" y="100544"/>
                    <a:pt x="23219" y="99553"/>
                    <a:pt x="26121" y="99624"/>
                  </a:cubicBezTo>
                  <a:cubicBezTo>
                    <a:pt x="29407" y="99954"/>
                    <a:pt x="32627" y="100766"/>
                    <a:pt x="35677" y="102031"/>
                  </a:cubicBezTo>
                  <a:lnTo>
                    <a:pt x="36314" y="102031"/>
                  </a:lnTo>
                  <a:cubicBezTo>
                    <a:pt x="42544" y="102455"/>
                    <a:pt x="45800" y="97429"/>
                    <a:pt x="47569" y="92333"/>
                  </a:cubicBezTo>
                  <a:cubicBezTo>
                    <a:pt x="49355" y="86602"/>
                    <a:pt x="50285" y="80639"/>
                    <a:pt x="50330" y="74636"/>
                  </a:cubicBezTo>
                  <a:cubicBezTo>
                    <a:pt x="50330" y="71097"/>
                    <a:pt x="50330" y="68124"/>
                    <a:pt x="50330" y="64868"/>
                  </a:cubicBezTo>
                  <a:cubicBezTo>
                    <a:pt x="50243" y="61551"/>
                    <a:pt x="49959" y="58242"/>
                    <a:pt x="49481" y="54958"/>
                  </a:cubicBezTo>
                  <a:cubicBezTo>
                    <a:pt x="48914" y="51419"/>
                    <a:pt x="48631" y="47879"/>
                    <a:pt x="47782" y="44411"/>
                  </a:cubicBezTo>
                  <a:cubicBezTo>
                    <a:pt x="46932" y="40942"/>
                    <a:pt x="46225" y="37332"/>
                    <a:pt x="44950" y="33651"/>
                  </a:cubicBezTo>
                  <a:cubicBezTo>
                    <a:pt x="43733" y="29900"/>
                    <a:pt x="42267" y="26235"/>
                    <a:pt x="40562" y="22680"/>
                  </a:cubicBezTo>
                  <a:cubicBezTo>
                    <a:pt x="38797" y="18989"/>
                    <a:pt x="36637" y="15500"/>
                    <a:pt x="34120" y="12274"/>
                  </a:cubicBezTo>
                  <a:cubicBezTo>
                    <a:pt x="31641" y="9104"/>
                    <a:pt x="28735" y="6293"/>
                    <a:pt x="25484" y="3921"/>
                  </a:cubicBezTo>
                  <a:cubicBezTo>
                    <a:pt x="22879" y="1992"/>
                    <a:pt x="19841" y="728"/>
                    <a:pt x="16636" y="240"/>
                  </a:cubicBezTo>
                  <a:cubicBezTo>
                    <a:pt x="15358" y="-80"/>
                    <a:pt x="14020" y="-80"/>
                    <a:pt x="12743" y="240"/>
                  </a:cubicBezTo>
                  <a:cubicBezTo>
                    <a:pt x="11486" y="316"/>
                    <a:pt x="10270" y="705"/>
                    <a:pt x="9204" y="1373"/>
                  </a:cubicBezTo>
                  <a:cubicBezTo>
                    <a:pt x="6948" y="2466"/>
                    <a:pt x="5055" y="4186"/>
                    <a:pt x="3753" y="6328"/>
                  </a:cubicBezTo>
                  <a:cubicBezTo>
                    <a:pt x="2365" y="8823"/>
                    <a:pt x="1385" y="11523"/>
                    <a:pt x="851" y="14327"/>
                  </a:cubicBezTo>
                  <a:cubicBezTo>
                    <a:pt x="263" y="17549"/>
                    <a:pt x="-22" y="20820"/>
                    <a:pt x="1" y="24095"/>
                  </a:cubicBezTo>
                  <a:cubicBezTo>
                    <a:pt x="-16" y="26606"/>
                    <a:pt x="1168" y="28973"/>
                    <a:pt x="3187" y="30466"/>
                  </a:cubicBezTo>
                  <a:cubicBezTo>
                    <a:pt x="5098" y="31811"/>
                    <a:pt x="6868" y="31245"/>
                    <a:pt x="7080" y="29121"/>
                  </a:cubicBezTo>
                  <a:cubicBezTo>
                    <a:pt x="7115" y="28910"/>
                    <a:pt x="7115" y="28695"/>
                    <a:pt x="7080" y="28484"/>
                  </a:cubicBezTo>
                  <a:lnTo>
                    <a:pt x="7080" y="27281"/>
                  </a:lnTo>
                  <a:cubicBezTo>
                    <a:pt x="6652" y="24447"/>
                    <a:pt x="6534" y="21575"/>
                    <a:pt x="6726" y="18716"/>
                  </a:cubicBezTo>
                  <a:cubicBezTo>
                    <a:pt x="6759" y="17385"/>
                    <a:pt x="6901" y="16059"/>
                    <a:pt x="7151" y="14752"/>
                  </a:cubicBezTo>
                  <a:lnTo>
                    <a:pt x="8283" y="11425"/>
                  </a:lnTo>
                  <a:cubicBezTo>
                    <a:pt x="9167" y="9505"/>
                    <a:pt x="10533" y="7846"/>
                    <a:pt x="12247" y="6611"/>
                  </a:cubicBezTo>
                  <a:cubicBezTo>
                    <a:pt x="12968" y="5886"/>
                    <a:pt x="13919" y="5435"/>
                    <a:pt x="14937" y="5337"/>
                  </a:cubicBezTo>
                  <a:cubicBezTo>
                    <a:pt x="15985" y="5095"/>
                    <a:pt x="17074" y="5095"/>
                    <a:pt x="18123" y="5337"/>
                  </a:cubicBezTo>
                  <a:cubicBezTo>
                    <a:pt x="20671" y="5574"/>
                    <a:pt x="23112" y="6477"/>
                    <a:pt x="25201" y="7956"/>
                  </a:cubicBezTo>
                  <a:cubicBezTo>
                    <a:pt x="27901" y="9725"/>
                    <a:pt x="30292" y="11925"/>
                    <a:pt x="32280" y="14468"/>
                  </a:cubicBezTo>
                  <a:cubicBezTo>
                    <a:pt x="34349" y="17353"/>
                    <a:pt x="36128" y="20435"/>
                    <a:pt x="37589" y="23671"/>
                  </a:cubicBezTo>
                  <a:cubicBezTo>
                    <a:pt x="39078" y="26814"/>
                    <a:pt x="40286" y="30083"/>
                    <a:pt x="41199" y="33439"/>
                  </a:cubicBezTo>
                  <a:cubicBezTo>
                    <a:pt x="42261" y="36766"/>
                    <a:pt x="42614" y="40093"/>
                    <a:pt x="43322" y="43349"/>
                  </a:cubicBezTo>
                  <a:cubicBezTo>
                    <a:pt x="43843" y="46490"/>
                    <a:pt x="44197" y="49656"/>
                    <a:pt x="44384" y="52834"/>
                  </a:cubicBezTo>
                  <a:cubicBezTo>
                    <a:pt x="44737" y="55960"/>
                    <a:pt x="44880" y="59105"/>
                    <a:pt x="44809" y="62249"/>
                  </a:cubicBezTo>
                  <a:cubicBezTo>
                    <a:pt x="44809" y="65293"/>
                    <a:pt x="44809" y="68832"/>
                    <a:pt x="44809" y="71380"/>
                  </a:cubicBezTo>
                  <a:cubicBezTo>
                    <a:pt x="44767" y="76834"/>
                    <a:pt x="43908" y="82250"/>
                    <a:pt x="42261" y="87449"/>
                  </a:cubicBezTo>
                  <a:cubicBezTo>
                    <a:pt x="40632" y="91979"/>
                    <a:pt x="37943" y="95377"/>
                    <a:pt x="33979" y="95023"/>
                  </a:cubicBezTo>
                  <a:lnTo>
                    <a:pt x="34616" y="95023"/>
                  </a:lnTo>
                  <a:cubicBezTo>
                    <a:pt x="31080" y="93511"/>
                    <a:pt x="27330" y="92556"/>
                    <a:pt x="23502" y="92191"/>
                  </a:cubicBezTo>
                  <a:cubicBezTo>
                    <a:pt x="21660" y="92096"/>
                    <a:pt x="19833" y="92565"/>
                    <a:pt x="18264" y="93536"/>
                  </a:cubicBezTo>
                  <a:cubicBezTo>
                    <a:pt x="16646" y="94873"/>
                    <a:pt x="15586" y="96767"/>
                    <a:pt x="15291" y="98845"/>
                  </a:cubicBezTo>
                  <a:cubicBezTo>
                    <a:pt x="14868" y="103177"/>
                    <a:pt x="14868" y="107538"/>
                    <a:pt x="15291" y="111870"/>
                  </a:cubicBezTo>
                  <a:cubicBezTo>
                    <a:pt x="15582" y="115616"/>
                    <a:pt x="15319" y="119384"/>
                    <a:pt x="14512" y="123054"/>
                  </a:cubicBezTo>
                  <a:cubicBezTo>
                    <a:pt x="14370" y="124897"/>
                    <a:pt x="15136" y="126694"/>
                    <a:pt x="16565" y="127867"/>
                  </a:cubicBezTo>
                  <a:cubicBezTo>
                    <a:pt x="17981" y="129071"/>
                    <a:pt x="19397" y="128929"/>
                    <a:pt x="19751" y="127513"/>
                  </a:cubicBez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47" name="Green dress">
            <a:extLst>
              <a:ext uri="{FF2B5EF4-FFF2-40B4-BE49-F238E27FC236}">
                <a16:creationId xmlns:a16="http://schemas.microsoft.com/office/drawing/2014/main" id="{1AC4325D-A712-4DC6-AD50-C2423F536336}"/>
              </a:ext>
            </a:extLst>
          </p:cNvPr>
          <p:cNvGrpSpPr>
            <a:grpSpLocks noChangeAspect="1"/>
          </p:cNvGrpSpPr>
          <p:nvPr/>
        </p:nvGrpSpPr>
        <p:grpSpPr>
          <a:xfrm>
            <a:off x="3809743" y="3192746"/>
            <a:ext cx="372502" cy="1237066"/>
            <a:chOff x="5894026" y="4081689"/>
            <a:chExt cx="607298" cy="2016819"/>
          </a:xfrm>
        </p:grpSpPr>
        <p:grpSp>
          <p:nvGrpSpPr>
            <p:cNvPr id="546" name="Group 545">
              <a:extLst>
                <a:ext uri="{FF2B5EF4-FFF2-40B4-BE49-F238E27FC236}">
                  <a16:creationId xmlns:a16="http://schemas.microsoft.com/office/drawing/2014/main" id="{4D173CE6-A97D-4277-9514-C036F17B9A94}"/>
                </a:ext>
              </a:extLst>
            </p:cNvPr>
            <p:cNvGrpSpPr/>
            <p:nvPr/>
          </p:nvGrpSpPr>
          <p:grpSpPr>
            <a:xfrm>
              <a:off x="5894026" y="4258174"/>
              <a:ext cx="607298" cy="1840334"/>
              <a:chOff x="5894026" y="4258174"/>
              <a:chExt cx="607298" cy="1840334"/>
            </a:xfrm>
          </p:grpSpPr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A86364F5-BC01-477B-A258-23BC19E07381}"/>
                  </a:ext>
                </a:extLst>
              </p:cNvPr>
              <p:cNvSpPr/>
              <p:nvPr/>
            </p:nvSpPr>
            <p:spPr>
              <a:xfrm>
                <a:off x="5992474" y="4304116"/>
                <a:ext cx="17930" cy="197777"/>
              </a:xfrm>
              <a:custGeom>
                <a:avLst/>
                <a:gdLst>
                  <a:gd name="connsiteX0" fmla="*/ 410 w 7983"/>
                  <a:gd name="connsiteY0" fmla="*/ 0 h 88057"/>
                  <a:gd name="connsiteX1" fmla="*/ 1613 w 7983"/>
                  <a:gd name="connsiteY1" fmla="*/ 83315 h 88057"/>
                  <a:gd name="connsiteX2" fmla="*/ 7984 w 7983"/>
                  <a:gd name="connsiteY2" fmla="*/ 88058 h 88057"/>
                  <a:gd name="connsiteX3" fmla="*/ 4374 w 7983"/>
                  <a:gd name="connsiteY3" fmla="*/ 212 h 8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83" h="88057">
                    <a:moveTo>
                      <a:pt x="410" y="0"/>
                    </a:moveTo>
                    <a:cubicBezTo>
                      <a:pt x="410" y="0"/>
                      <a:pt x="-1077" y="21236"/>
                      <a:pt x="1613" y="83315"/>
                    </a:cubicBezTo>
                    <a:lnTo>
                      <a:pt x="7984" y="88058"/>
                    </a:lnTo>
                    <a:cubicBezTo>
                      <a:pt x="4869" y="58886"/>
                      <a:pt x="3662" y="29542"/>
                      <a:pt x="4374" y="212"/>
                    </a:cubicBezTo>
                    <a:close/>
                  </a:path>
                </a:pathLst>
              </a:custGeom>
              <a:solidFill>
                <a:srgbClr val="23ADAD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95" name="Freeform: Shape 494">
                <a:extLst>
                  <a:ext uri="{FF2B5EF4-FFF2-40B4-BE49-F238E27FC236}">
                    <a16:creationId xmlns:a16="http://schemas.microsoft.com/office/drawing/2014/main" id="{6800E1AA-027D-4D71-BFC2-9F52B69E5C0D}"/>
                  </a:ext>
                </a:extLst>
              </p:cNvPr>
              <p:cNvSpPr/>
              <p:nvPr/>
            </p:nvSpPr>
            <p:spPr>
              <a:xfrm>
                <a:off x="6383069" y="4528763"/>
                <a:ext cx="16818" cy="193802"/>
              </a:xfrm>
              <a:custGeom>
                <a:avLst/>
                <a:gdLst>
                  <a:gd name="connsiteX0" fmla="*/ 7079 w 7488"/>
                  <a:gd name="connsiteY0" fmla="*/ 4389 h 86287"/>
                  <a:gd name="connsiteX1" fmla="*/ 5875 w 7488"/>
                  <a:gd name="connsiteY1" fmla="*/ 86288 h 86287"/>
                  <a:gd name="connsiteX2" fmla="*/ 0 w 7488"/>
                  <a:gd name="connsiteY2" fmla="*/ 83669 h 86287"/>
                  <a:gd name="connsiteX3" fmla="*/ 3610 w 7488"/>
                  <a:gd name="connsiteY3" fmla="*/ 0 h 8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88" h="86287">
                    <a:moveTo>
                      <a:pt x="7079" y="4389"/>
                    </a:moveTo>
                    <a:cubicBezTo>
                      <a:pt x="7079" y="4389"/>
                      <a:pt x="8565" y="27323"/>
                      <a:pt x="5875" y="86288"/>
                    </a:cubicBezTo>
                    <a:lnTo>
                      <a:pt x="0" y="83669"/>
                    </a:lnTo>
                    <a:cubicBezTo>
                      <a:pt x="3323" y="55911"/>
                      <a:pt x="4530" y="27941"/>
                      <a:pt x="3610" y="0"/>
                    </a:cubicBezTo>
                    <a:close/>
                  </a:path>
                </a:pathLst>
              </a:custGeom>
              <a:solidFill>
                <a:srgbClr val="23ADAD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1FDDF7C3-67C8-496E-9165-A89DCCDD9A69}"/>
                  </a:ext>
                </a:extLst>
              </p:cNvPr>
              <p:cNvSpPr/>
              <p:nvPr/>
            </p:nvSpPr>
            <p:spPr>
              <a:xfrm>
                <a:off x="5996097" y="4490924"/>
                <a:ext cx="400804" cy="469644"/>
              </a:xfrm>
              <a:custGeom>
                <a:avLst/>
                <a:gdLst>
                  <a:gd name="connsiteX0" fmla="*/ 0 w 178451"/>
                  <a:gd name="connsiteY0" fmla="*/ 0 h 209101"/>
                  <a:gd name="connsiteX1" fmla="*/ 52735 w 178451"/>
                  <a:gd name="connsiteY1" fmla="*/ 166064 h 209101"/>
                  <a:gd name="connsiteX2" fmla="*/ 127344 w 178451"/>
                  <a:gd name="connsiteY2" fmla="*/ 209101 h 209101"/>
                  <a:gd name="connsiteX3" fmla="*/ 178451 w 178451"/>
                  <a:gd name="connsiteY3" fmla="*/ 102923 h 209101"/>
                  <a:gd name="connsiteX4" fmla="*/ 89756 w 178451"/>
                  <a:gd name="connsiteY4" fmla="*/ 78148 h 209101"/>
                  <a:gd name="connsiteX5" fmla="*/ 0 w 178451"/>
                  <a:gd name="connsiteY5" fmla="*/ 0 h 209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451" h="209101">
                    <a:moveTo>
                      <a:pt x="0" y="0"/>
                    </a:moveTo>
                    <a:lnTo>
                      <a:pt x="52735" y="166064"/>
                    </a:lnTo>
                    <a:lnTo>
                      <a:pt x="127344" y="209101"/>
                    </a:lnTo>
                    <a:cubicBezTo>
                      <a:pt x="127344" y="209101"/>
                      <a:pt x="169815" y="122884"/>
                      <a:pt x="178451" y="102923"/>
                    </a:cubicBezTo>
                    <a:cubicBezTo>
                      <a:pt x="128901" y="61938"/>
                      <a:pt x="89756" y="78148"/>
                      <a:pt x="89756" y="78148"/>
                    </a:cubicBezTo>
                    <a:cubicBezTo>
                      <a:pt x="89756" y="78148"/>
                      <a:pt x="47922" y="22227"/>
                      <a:pt x="0" y="0"/>
                    </a:cubicBezTo>
                    <a:close/>
                  </a:path>
                </a:pathLst>
              </a:custGeom>
              <a:solidFill>
                <a:srgbClr val="23ADAD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070F20C5-20FE-464A-89E0-39938025A286}"/>
                  </a:ext>
                </a:extLst>
              </p:cNvPr>
              <p:cNvSpPr/>
              <p:nvPr/>
            </p:nvSpPr>
            <p:spPr>
              <a:xfrm>
                <a:off x="5894026" y="4857056"/>
                <a:ext cx="607298" cy="1239870"/>
              </a:xfrm>
              <a:custGeom>
                <a:avLst/>
                <a:gdLst>
                  <a:gd name="connsiteX0" fmla="*/ 98180 w 270389"/>
                  <a:gd name="connsiteY0" fmla="*/ 3191 h 552031"/>
                  <a:gd name="connsiteX1" fmla="*/ 0 w 270389"/>
                  <a:gd name="connsiteY1" fmla="*/ 396549 h 552031"/>
                  <a:gd name="connsiteX2" fmla="*/ 133927 w 270389"/>
                  <a:gd name="connsiteY2" fmla="*/ 505700 h 552031"/>
                  <a:gd name="connsiteX3" fmla="*/ 269199 w 270389"/>
                  <a:gd name="connsiteY3" fmla="*/ 551924 h 552031"/>
                  <a:gd name="connsiteX4" fmla="*/ 172788 w 270389"/>
                  <a:gd name="connsiteY4" fmla="*/ 46158 h 552031"/>
                  <a:gd name="connsiteX5" fmla="*/ 98180 w 270389"/>
                  <a:gd name="connsiteY5" fmla="*/ 3191 h 552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389" h="552031">
                    <a:moveTo>
                      <a:pt x="98180" y="3191"/>
                    </a:moveTo>
                    <a:cubicBezTo>
                      <a:pt x="-16422" y="183837"/>
                      <a:pt x="4176" y="254623"/>
                      <a:pt x="0" y="396549"/>
                    </a:cubicBezTo>
                    <a:cubicBezTo>
                      <a:pt x="0" y="396549"/>
                      <a:pt x="45940" y="454876"/>
                      <a:pt x="133927" y="505700"/>
                    </a:cubicBezTo>
                    <a:cubicBezTo>
                      <a:pt x="221914" y="556525"/>
                      <a:pt x="269199" y="551924"/>
                      <a:pt x="269199" y="551924"/>
                    </a:cubicBezTo>
                    <a:cubicBezTo>
                      <a:pt x="269199" y="471652"/>
                      <a:pt x="288382" y="343884"/>
                      <a:pt x="172788" y="46158"/>
                    </a:cubicBezTo>
                    <a:cubicBezTo>
                      <a:pt x="172788" y="46229"/>
                      <a:pt x="138245" y="-14363"/>
                      <a:pt x="98180" y="3191"/>
                    </a:cubicBezTo>
                    <a:close/>
                  </a:path>
                </a:pathLst>
              </a:custGeom>
              <a:solidFill>
                <a:srgbClr val="23ADAD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3EEA7A25-AD8C-4F9D-83A8-1BD700EFF8EE}"/>
                  </a:ext>
                </a:extLst>
              </p:cNvPr>
              <p:cNvSpPr/>
              <p:nvPr/>
            </p:nvSpPr>
            <p:spPr>
              <a:xfrm>
                <a:off x="6049675" y="4529877"/>
                <a:ext cx="451218" cy="1568631"/>
              </a:xfrm>
              <a:custGeom>
                <a:avLst/>
                <a:gdLst>
                  <a:gd name="connsiteX0" fmla="*/ 103206 w 200897"/>
                  <a:gd name="connsiteY0" fmla="*/ 192467 h 698406"/>
                  <a:gd name="connsiteX1" fmla="*/ 154313 w 200897"/>
                  <a:gd name="connsiteY1" fmla="*/ 86288 h 698406"/>
                  <a:gd name="connsiteX2" fmla="*/ 155517 w 200897"/>
                  <a:gd name="connsiteY2" fmla="*/ 4318 h 698406"/>
                  <a:gd name="connsiteX3" fmla="*/ 151623 w 200897"/>
                  <a:gd name="connsiteY3" fmla="*/ 0 h 698406"/>
                  <a:gd name="connsiteX4" fmla="*/ 148438 w 200897"/>
                  <a:gd name="connsiteY4" fmla="*/ 81758 h 698406"/>
                  <a:gd name="connsiteX5" fmla="*/ 136688 w 200897"/>
                  <a:gd name="connsiteY5" fmla="*/ 73971 h 698406"/>
                  <a:gd name="connsiteX6" fmla="*/ 85863 w 200897"/>
                  <a:gd name="connsiteY6" fmla="*/ 179513 h 698406"/>
                  <a:gd name="connsiteX7" fmla="*/ 182274 w 200897"/>
                  <a:gd name="connsiteY7" fmla="*/ 685207 h 698406"/>
                  <a:gd name="connsiteX8" fmla="*/ 47073 w 200897"/>
                  <a:gd name="connsiteY8" fmla="*/ 638913 h 698406"/>
                  <a:gd name="connsiteX9" fmla="*/ 0 w 200897"/>
                  <a:gd name="connsiteY9" fmla="*/ 608475 h 698406"/>
                  <a:gd name="connsiteX10" fmla="*/ 64557 w 200897"/>
                  <a:gd name="connsiteY10" fmla="*/ 652009 h 698406"/>
                  <a:gd name="connsiteX11" fmla="*/ 199829 w 200897"/>
                  <a:gd name="connsiteY11" fmla="*/ 698303 h 698406"/>
                  <a:gd name="connsiteX12" fmla="*/ 103206 w 200897"/>
                  <a:gd name="connsiteY12" fmla="*/ 192467 h 69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0897" h="698406">
                    <a:moveTo>
                      <a:pt x="103206" y="192467"/>
                    </a:moveTo>
                    <a:cubicBezTo>
                      <a:pt x="103206" y="192467"/>
                      <a:pt x="145677" y="106250"/>
                      <a:pt x="154313" y="86288"/>
                    </a:cubicBezTo>
                    <a:cubicBezTo>
                      <a:pt x="157074" y="27323"/>
                      <a:pt x="155517" y="4318"/>
                      <a:pt x="155517" y="4318"/>
                    </a:cubicBezTo>
                    <a:lnTo>
                      <a:pt x="151623" y="0"/>
                    </a:lnTo>
                    <a:cubicBezTo>
                      <a:pt x="152494" y="27294"/>
                      <a:pt x="151429" y="54615"/>
                      <a:pt x="148438" y="81758"/>
                    </a:cubicBezTo>
                    <a:cubicBezTo>
                      <a:pt x="144403" y="78785"/>
                      <a:pt x="140581" y="76307"/>
                      <a:pt x="136688" y="73971"/>
                    </a:cubicBezTo>
                    <a:cubicBezTo>
                      <a:pt x="127273" y="95207"/>
                      <a:pt x="85863" y="179513"/>
                      <a:pt x="85863" y="179513"/>
                    </a:cubicBezTo>
                    <a:cubicBezTo>
                      <a:pt x="201457" y="477168"/>
                      <a:pt x="182274" y="604936"/>
                      <a:pt x="182274" y="685207"/>
                    </a:cubicBezTo>
                    <a:cubicBezTo>
                      <a:pt x="182274" y="685207"/>
                      <a:pt x="134989" y="689667"/>
                      <a:pt x="47073" y="638913"/>
                    </a:cubicBezTo>
                    <a:cubicBezTo>
                      <a:pt x="29730" y="628862"/>
                      <a:pt x="14016" y="618598"/>
                      <a:pt x="0" y="608475"/>
                    </a:cubicBezTo>
                    <a:cubicBezTo>
                      <a:pt x="20465" y="624494"/>
                      <a:pt x="42038" y="639041"/>
                      <a:pt x="64557" y="652009"/>
                    </a:cubicBezTo>
                    <a:cubicBezTo>
                      <a:pt x="152544" y="702833"/>
                      <a:pt x="199829" y="698303"/>
                      <a:pt x="199829" y="698303"/>
                    </a:cubicBezTo>
                    <a:cubicBezTo>
                      <a:pt x="199616" y="617961"/>
                      <a:pt x="218799" y="490192"/>
                      <a:pt x="103206" y="192467"/>
                    </a:cubicBezTo>
                    <a:close/>
                  </a:path>
                </a:pathLst>
              </a:custGeom>
              <a:solidFill>
                <a:srgbClr val="199393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0F69B882-466E-4536-BFD8-39A78D1DDE94}"/>
                  </a:ext>
                </a:extLst>
              </p:cNvPr>
              <p:cNvSpPr/>
              <p:nvPr/>
            </p:nvSpPr>
            <p:spPr>
              <a:xfrm>
                <a:off x="5942293" y="4258174"/>
                <a:ext cx="498184" cy="296678"/>
              </a:xfrm>
              <a:custGeom>
                <a:avLst/>
                <a:gdLst>
                  <a:gd name="connsiteX0" fmla="*/ 221802 w 221808"/>
                  <a:gd name="connsiteY0" fmla="*/ 131942 h 132091"/>
                  <a:gd name="connsiteX1" fmla="*/ 108545 w 221808"/>
                  <a:gd name="connsiteY1" fmla="*/ 43672 h 132091"/>
                  <a:gd name="connsiteX2" fmla="*/ 30 w 221808"/>
                  <a:gd name="connsiteY2" fmla="*/ 564 h 132091"/>
                  <a:gd name="connsiteX3" fmla="*/ 109536 w 221808"/>
                  <a:gd name="connsiteY3" fmla="*/ 59599 h 132091"/>
                  <a:gd name="connsiteX4" fmla="*/ 221802 w 221808"/>
                  <a:gd name="connsiteY4" fmla="*/ 131942 h 132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08" h="132091">
                    <a:moveTo>
                      <a:pt x="221802" y="131942"/>
                    </a:moveTo>
                    <a:cubicBezTo>
                      <a:pt x="222298" y="127766"/>
                      <a:pt x="194620" y="115874"/>
                      <a:pt x="108545" y="43672"/>
                    </a:cubicBezTo>
                    <a:cubicBezTo>
                      <a:pt x="52836" y="28807"/>
                      <a:pt x="-1457" y="-4745"/>
                      <a:pt x="30" y="564"/>
                    </a:cubicBezTo>
                    <a:cubicBezTo>
                      <a:pt x="1516" y="5873"/>
                      <a:pt x="109536" y="59599"/>
                      <a:pt x="109536" y="59599"/>
                    </a:cubicBezTo>
                    <a:cubicBezTo>
                      <a:pt x="109536" y="59599"/>
                      <a:pt x="221307" y="135906"/>
                      <a:pt x="221802" y="131942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8C3E93F4-1C09-4819-91FA-2082EB54C804}"/>
                  </a:ext>
                </a:extLst>
              </p:cNvPr>
              <p:cNvSpPr/>
              <p:nvPr/>
            </p:nvSpPr>
            <p:spPr>
              <a:xfrm>
                <a:off x="6387042" y="4517793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B5098AFA-6092-4F92-8467-4D49BAB67CD4}"/>
                  </a:ext>
                </a:extLst>
              </p:cNvPr>
              <p:cNvSpPr/>
              <p:nvPr/>
            </p:nvSpPr>
            <p:spPr>
              <a:xfrm>
                <a:off x="5976700" y="4280904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9E5C911F-5CEE-4029-ABE4-4FB25BC3FE4E}"/>
                </a:ext>
              </a:extLst>
            </p:cNvPr>
            <p:cNvSpPr/>
            <p:nvPr/>
          </p:nvSpPr>
          <p:spPr>
            <a:xfrm>
              <a:off x="6144590" y="4081689"/>
              <a:ext cx="112561" cy="289002"/>
            </a:xfrm>
            <a:custGeom>
              <a:avLst/>
              <a:gdLst>
                <a:gd name="connsiteX0" fmla="*/ 19820 w 50116"/>
                <a:gd name="connsiteY0" fmla="*/ 127417 h 128673"/>
                <a:gd name="connsiteX1" fmla="*/ 20811 w 50116"/>
                <a:gd name="connsiteY1" fmla="*/ 115029 h 128673"/>
                <a:gd name="connsiteX2" fmla="*/ 20811 w 50116"/>
                <a:gd name="connsiteY2" fmla="*/ 103491 h 128673"/>
                <a:gd name="connsiteX3" fmla="*/ 25837 w 50116"/>
                <a:gd name="connsiteY3" fmla="*/ 99598 h 128673"/>
                <a:gd name="connsiteX4" fmla="*/ 35393 w 50116"/>
                <a:gd name="connsiteY4" fmla="*/ 102005 h 128673"/>
                <a:gd name="connsiteX5" fmla="*/ 36030 w 50116"/>
                <a:gd name="connsiteY5" fmla="*/ 102005 h 128673"/>
                <a:gd name="connsiteX6" fmla="*/ 47356 w 50116"/>
                <a:gd name="connsiteY6" fmla="*/ 92307 h 128673"/>
                <a:gd name="connsiteX7" fmla="*/ 50117 w 50116"/>
                <a:gd name="connsiteY7" fmla="*/ 74610 h 128673"/>
                <a:gd name="connsiteX8" fmla="*/ 50117 w 50116"/>
                <a:gd name="connsiteY8" fmla="*/ 64842 h 128673"/>
                <a:gd name="connsiteX9" fmla="*/ 49338 w 50116"/>
                <a:gd name="connsiteY9" fmla="*/ 54932 h 128673"/>
                <a:gd name="connsiteX10" fmla="*/ 47568 w 50116"/>
                <a:gd name="connsiteY10" fmla="*/ 44385 h 128673"/>
                <a:gd name="connsiteX11" fmla="*/ 44737 w 50116"/>
                <a:gd name="connsiteY11" fmla="*/ 33625 h 128673"/>
                <a:gd name="connsiteX12" fmla="*/ 40419 w 50116"/>
                <a:gd name="connsiteY12" fmla="*/ 22724 h 128673"/>
                <a:gd name="connsiteX13" fmla="*/ 34261 w 50116"/>
                <a:gd name="connsiteY13" fmla="*/ 12107 h 128673"/>
                <a:gd name="connsiteX14" fmla="*/ 25837 w 50116"/>
                <a:gd name="connsiteY14" fmla="*/ 3895 h 128673"/>
                <a:gd name="connsiteX15" fmla="*/ 17060 w 50116"/>
                <a:gd name="connsiteY15" fmla="*/ 214 h 128673"/>
                <a:gd name="connsiteX16" fmla="*/ 13096 w 50116"/>
                <a:gd name="connsiteY16" fmla="*/ 214 h 128673"/>
                <a:gd name="connsiteX17" fmla="*/ 9627 w 50116"/>
                <a:gd name="connsiteY17" fmla="*/ 1347 h 128673"/>
                <a:gd name="connsiteX18" fmla="*/ 4177 w 50116"/>
                <a:gd name="connsiteY18" fmla="*/ 6302 h 128673"/>
                <a:gd name="connsiteX19" fmla="*/ 1204 w 50116"/>
                <a:gd name="connsiteY19" fmla="*/ 14301 h 128673"/>
                <a:gd name="connsiteX20" fmla="*/ 0 w 50116"/>
                <a:gd name="connsiteY20" fmla="*/ 24282 h 128673"/>
                <a:gd name="connsiteX21" fmla="*/ 3186 w 50116"/>
                <a:gd name="connsiteY21" fmla="*/ 30652 h 128673"/>
                <a:gd name="connsiteX22" fmla="*/ 7150 w 50116"/>
                <a:gd name="connsiteY22" fmla="*/ 29307 h 128673"/>
                <a:gd name="connsiteX23" fmla="*/ 7150 w 50116"/>
                <a:gd name="connsiteY23" fmla="*/ 27467 h 128673"/>
                <a:gd name="connsiteX24" fmla="*/ 7150 w 50116"/>
                <a:gd name="connsiteY24" fmla="*/ 18902 h 128673"/>
                <a:gd name="connsiteX25" fmla="*/ 7645 w 50116"/>
                <a:gd name="connsiteY25" fmla="*/ 14938 h 128673"/>
                <a:gd name="connsiteX26" fmla="*/ 8778 w 50116"/>
                <a:gd name="connsiteY26" fmla="*/ 11611 h 128673"/>
                <a:gd name="connsiteX27" fmla="*/ 12671 w 50116"/>
                <a:gd name="connsiteY27" fmla="*/ 6798 h 128673"/>
                <a:gd name="connsiteX28" fmla="*/ 15432 w 50116"/>
                <a:gd name="connsiteY28" fmla="*/ 5523 h 128673"/>
                <a:gd name="connsiteX29" fmla="*/ 18546 w 50116"/>
                <a:gd name="connsiteY29" fmla="*/ 5523 h 128673"/>
                <a:gd name="connsiteX30" fmla="*/ 25625 w 50116"/>
                <a:gd name="connsiteY30" fmla="*/ 8072 h 128673"/>
                <a:gd name="connsiteX31" fmla="*/ 32703 w 50116"/>
                <a:gd name="connsiteY31" fmla="*/ 14584 h 128673"/>
                <a:gd name="connsiteX32" fmla="*/ 37941 w 50116"/>
                <a:gd name="connsiteY32" fmla="*/ 23786 h 128673"/>
                <a:gd name="connsiteX33" fmla="*/ 41552 w 50116"/>
                <a:gd name="connsiteY33" fmla="*/ 33696 h 128673"/>
                <a:gd name="connsiteX34" fmla="*/ 43746 w 50116"/>
                <a:gd name="connsiteY34" fmla="*/ 43535 h 128673"/>
                <a:gd name="connsiteX35" fmla="*/ 44808 w 50116"/>
                <a:gd name="connsiteY35" fmla="*/ 53021 h 128673"/>
                <a:gd name="connsiteX36" fmla="*/ 45232 w 50116"/>
                <a:gd name="connsiteY36" fmla="*/ 62506 h 128673"/>
                <a:gd name="connsiteX37" fmla="*/ 45232 w 50116"/>
                <a:gd name="connsiteY37" fmla="*/ 71637 h 128673"/>
                <a:gd name="connsiteX38" fmla="*/ 42472 w 50116"/>
                <a:gd name="connsiteY38" fmla="*/ 87423 h 128673"/>
                <a:gd name="connsiteX39" fmla="*/ 34261 w 50116"/>
                <a:gd name="connsiteY39" fmla="*/ 94997 h 128673"/>
                <a:gd name="connsiteX40" fmla="*/ 34898 w 50116"/>
                <a:gd name="connsiteY40" fmla="*/ 94997 h 128673"/>
                <a:gd name="connsiteX41" fmla="*/ 23784 w 50116"/>
                <a:gd name="connsiteY41" fmla="*/ 92236 h 128673"/>
                <a:gd name="connsiteX42" fmla="*/ 18475 w 50116"/>
                <a:gd name="connsiteY42" fmla="*/ 93510 h 128673"/>
                <a:gd name="connsiteX43" fmla="*/ 15573 w 50116"/>
                <a:gd name="connsiteY43" fmla="*/ 98819 h 128673"/>
                <a:gd name="connsiteX44" fmla="*/ 15573 w 50116"/>
                <a:gd name="connsiteY44" fmla="*/ 111915 h 128673"/>
                <a:gd name="connsiteX45" fmla="*/ 14794 w 50116"/>
                <a:gd name="connsiteY45" fmla="*/ 123028 h 128673"/>
                <a:gd name="connsiteX46" fmla="*/ 16776 w 50116"/>
                <a:gd name="connsiteY46" fmla="*/ 127912 h 128673"/>
                <a:gd name="connsiteX47" fmla="*/ 20033 w 50116"/>
                <a:gd name="connsiteY47" fmla="*/ 127558 h 12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0116" h="128673">
                  <a:moveTo>
                    <a:pt x="19820" y="127417"/>
                  </a:moveTo>
                  <a:cubicBezTo>
                    <a:pt x="20677" y="123347"/>
                    <a:pt x="21009" y="119184"/>
                    <a:pt x="20811" y="115029"/>
                  </a:cubicBezTo>
                  <a:cubicBezTo>
                    <a:pt x="20481" y="111190"/>
                    <a:pt x="20481" y="107330"/>
                    <a:pt x="20811" y="103491"/>
                  </a:cubicBezTo>
                  <a:cubicBezTo>
                    <a:pt x="21236" y="100589"/>
                    <a:pt x="23006" y="99527"/>
                    <a:pt x="25837" y="99598"/>
                  </a:cubicBezTo>
                  <a:cubicBezTo>
                    <a:pt x="29123" y="99928"/>
                    <a:pt x="32343" y="100740"/>
                    <a:pt x="35393" y="102005"/>
                  </a:cubicBezTo>
                  <a:lnTo>
                    <a:pt x="36030" y="102005"/>
                  </a:lnTo>
                  <a:cubicBezTo>
                    <a:pt x="42330" y="102429"/>
                    <a:pt x="45516" y="97403"/>
                    <a:pt x="47356" y="92307"/>
                  </a:cubicBezTo>
                  <a:cubicBezTo>
                    <a:pt x="49142" y="86576"/>
                    <a:pt x="50072" y="80613"/>
                    <a:pt x="50117" y="74610"/>
                  </a:cubicBezTo>
                  <a:cubicBezTo>
                    <a:pt x="50117" y="71142"/>
                    <a:pt x="50117" y="68098"/>
                    <a:pt x="50117" y="64842"/>
                  </a:cubicBezTo>
                  <a:cubicBezTo>
                    <a:pt x="50088" y="61524"/>
                    <a:pt x="49827" y="58213"/>
                    <a:pt x="49338" y="54932"/>
                  </a:cubicBezTo>
                  <a:cubicBezTo>
                    <a:pt x="48701" y="51393"/>
                    <a:pt x="48488" y="47853"/>
                    <a:pt x="47568" y="44385"/>
                  </a:cubicBezTo>
                  <a:cubicBezTo>
                    <a:pt x="46648" y="40916"/>
                    <a:pt x="46082" y="37306"/>
                    <a:pt x="44737" y="33625"/>
                  </a:cubicBezTo>
                  <a:cubicBezTo>
                    <a:pt x="43556" y="29894"/>
                    <a:pt x="42114" y="26252"/>
                    <a:pt x="40419" y="22724"/>
                  </a:cubicBezTo>
                  <a:cubicBezTo>
                    <a:pt x="38697" y="19003"/>
                    <a:pt x="36635" y="15449"/>
                    <a:pt x="34261" y="12107"/>
                  </a:cubicBezTo>
                  <a:cubicBezTo>
                    <a:pt x="31852" y="8987"/>
                    <a:pt x="29017" y="6223"/>
                    <a:pt x="25837" y="3895"/>
                  </a:cubicBezTo>
                  <a:cubicBezTo>
                    <a:pt x="23263" y="1959"/>
                    <a:pt x="20246" y="693"/>
                    <a:pt x="17060" y="214"/>
                  </a:cubicBezTo>
                  <a:cubicBezTo>
                    <a:pt x="15754" y="-71"/>
                    <a:pt x="14402" y="-71"/>
                    <a:pt x="13096" y="214"/>
                  </a:cubicBezTo>
                  <a:cubicBezTo>
                    <a:pt x="11865" y="309"/>
                    <a:pt x="10676" y="698"/>
                    <a:pt x="9627" y="1347"/>
                  </a:cubicBezTo>
                  <a:cubicBezTo>
                    <a:pt x="7405" y="2489"/>
                    <a:pt x="5524" y="4198"/>
                    <a:pt x="4177" y="6302"/>
                  </a:cubicBezTo>
                  <a:cubicBezTo>
                    <a:pt x="2765" y="8792"/>
                    <a:pt x="1761" y="11493"/>
                    <a:pt x="1204" y="14301"/>
                  </a:cubicBezTo>
                  <a:cubicBezTo>
                    <a:pt x="486" y="17582"/>
                    <a:pt x="84" y="20924"/>
                    <a:pt x="0" y="24282"/>
                  </a:cubicBezTo>
                  <a:cubicBezTo>
                    <a:pt x="-17" y="26792"/>
                    <a:pt x="1167" y="29160"/>
                    <a:pt x="3186" y="30652"/>
                  </a:cubicBezTo>
                  <a:cubicBezTo>
                    <a:pt x="5168" y="32068"/>
                    <a:pt x="6937" y="31431"/>
                    <a:pt x="7150" y="29307"/>
                  </a:cubicBezTo>
                  <a:lnTo>
                    <a:pt x="7150" y="27467"/>
                  </a:lnTo>
                  <a:cubicBezTo>
                    <a:pt x="6873" y="24619"/>
                    <a:pt x="6873" y="21750"/>
                    <a:pt x="7150" y="18902"/>
                  </a:cubicBezTo>
                  <a:cubicBezTo>
                    <a:pt x="7240" y="17573"/>
                    <a:pt x="7405" y="16249"/>
                    <a:pt x="7645" y="14938"/>
                  </a:cubicBezTo>
                  <a:lnTo>
                    <a:pt x="8778" y="11611"/>
                  </a:lnTo>
                  <a:cubicBezTo>
                    <a:pt x="9655" y="9708"/>
                    <a:pt x="10993" y="8053"/>
                    <a:pt x="12671" y="6798"/>
                  </a:cubicBezTo>
                  <a:cubicBezTo>
                    <a:pt x="13417" y="6068"/>
                    <a:pt x="14392" y="5618"/>
                    <a:pt x="15432" y="5523"/>
                  </a:cubicBezTo>
                  <a:cubicBezTo>
                    <a:pt x="16450" y="5236"/>
                    <a:pt x="17527" y="5236"/>
                    <a:pt x="18546" y="5523"/>
                  </a:cubicBezTo>
                  <a:cubicBezTo>
                    <a:pt x="21097" y="5698"/>
                    <a:pt x="23549" y="6580"/>
                    <a:pt x="25625" y="8072"/>
                  </a:cubicBezTo>
                  <a:cubicBezTo>
                    <a:pt x="28306" y="9865"/>
                    <a:pt x="30694" y="12061"/>
                    <a:pt x="32703" y="14584"/>
                  </a:cubicBezTo>
                  <a:cubicBezTo>
                    <a:pt x="34735" y="17479"/>
                    <a:pt x="36489" y="20560"/>
                    <a:pt x="37941" y="23786"/>
                  </a:cubicBezTo>
                  <a:cubicBezTo>
                    <a:pt x="39477" y="26959"/>
                    <a:pt x="40687" y="30279"/>
                    <a:pt x="41552" y="33696"/>
                  </a:cubicBezTo>
                  <a:cubicBezTo>
                    <a:pt x="42477" y="36930"/>
                    <a:pt x="43210" y="40215"/>
                    <a:pt x="43746" y="43535"/>
                  </a:cubicBezTo>
                  <a:cubicBezTo>
                    <a:pt x="44383" y="46862"/>
                    <a:pt x="44383" y="49906"/>
                    <a:pt x="44808" y="53021"/>
                  </a:cubicBezTo>
                  <a:cubicBezTo>
                    <a:pt x="45126" y="56172"/>
                    <a:pt x="45268" y="59339"/>
                    <a:pt x="45232" y="62506"/>
                  </a:cubicBezTo>
                  <a:cubicBezTo>
                    <a:pt x="45232" y="65479"/>
                    <a:pt x="45232" y="69089"/>
                    <a:pt x="45232" y="71637"/>
                  </a:cubicBezTo>
                  <a:cubicBezTo>
                    <a:pt x="45095" y="77007"/>
                    <a:pt x="44165" y="82325"/>
                    <a:pt x="42472" y="87423"/>
                  </a:cubicBezTo>
                  <a:cubicBezTo>
                    <a:pt x="40914" y="91953"/>
                    <a:pt x="38154" y="95351"/>
                    <a:pt x="34261" y="94997"/>
                  </a:cubicBezTo>
                  <a:lnTo>
                    <a:pt x="34898" y="94997"/>
                  </a:lnTo>
                  <a:cubicBezTo>
                    <a:pt x="31356" y="93515"/>
                    <a:pt x="27608" y="92584"/>
                    <a:pt x="23784" y="92236"/>
                  </a:cubicBezTo>
                  <a:cubicBezTo>
                    <a:pt x="21927" y="92119"/>
                    <a:pt x="20077" y="92562"/>
                    <a:pt x="18475" y="93510"/>
                  </a:cubicBezTo>
                  <a:cubicBezTo>
                    <a:pt x="16878" y="94855"/>
                    <a:pt x="15843" y="96749"/>
                    <a:pt x="15573" y="98819"/>
                  </a:cubicBezTo>
                  <a:cubicBezTo>
                    <a:pt x="15114" y="103173"/>
                    <a:pt x="15114" y="107561"/>
                    <a:pt x="15573" y="111915"/>
                  </a:cubicBezTo>
                  <a:cubicBezTo>
                    <a:pt x="15790" y="115637"/>
                    <a:pt x="15528" y="119372"/>
                    <a:pt x="14794" y="123028"/>
                  </a:cubicBezTo>
                  <a:cubicBezTo>
                    <a:pt x="14611" y="124883"/>
                    <a:pt x="15352" y="126710"/>
                    <a:pt x="16776" y="127912"/>
                  </a:cubicBezTo>
                  <a:cubicBezTo>
                    <a:pt x="18192" y="129045"/>
                    <a:pt x="19608" y="128903"/>
                    <a:pt x="20033" y="127558"/>
                  </a:cubicBez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41" name="Orange Dress">
            <a:extLst>
              <a:ext uri="{FF2B5EF4-FFF2-40B4-BE49-F238E27FC236}">
                <a16:creationId xmlns:a16="http://schemas.microsoft.com/office/drawing/2014/main" id="{89ADF5E8-90C4-49B6-A57E-5EE96676797B}"/>
              </a:ext>
            </a:extLst>
          </p:cNvPr>
          <p:cNvGrpSpPr>
            <a:grpSpLocks noChangeAspect="1"/>
          </p:cNvGrpSpPr>
          <p:nvPr/>
        </p:nvGrpSpPr>
        <p:grpSpPr>
          <a:xfrm>
            <a:off x="3523035" y="3192746"/>
            <a:ext cx="436274" cy="1237066"/>
            <a:chOff x="6236802" y="3862231"/>
            <a:chExt cx="706215" cy="2002491"/>
          </a:xfrm>
        </p:grpSpPr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8DA7893E-76A5-4CBC-924D-3FC378D3CBC6}"/>
                </a:ext>
              </a:extLst>
            </p:cNvPr>
            <p:cNvSpPr/>
            <p:nvPr/>
          </p:nvSpPr>
          <p:spPr>
            <a:xfrm>
              <a:off x="6356676" y="4060709"/>
              <a:ext cx="20668" cy="32909"/>
            </a:xfrm>
            <a:custGeom>
              <a:avLst/>
              <a:gdLst>
                <a:gd name="connsiteX0" fmla="*/ 0 w 9202"/>
                <a:gd name="connsiteY0" fmla="*/ 9344 h 14652"/>
                <a:gd name="connsiteX1" fmla="*/ 9202 w 9202"/>
                <a:gd name="connsiteY1" fmla="*/ 14653 h 14652"/>
                <a:gd name="connsiteX2" fmla="*/ 9202 w 9202"/>
                <a:gd name="connsiteY2" fmla="*/ 5309 h 14652"/>
                <a:gd name="connsiteX3" fmla="*/ 0 w 9202"/>
                <a:gd name="connsiteY3" fmla="*/ 0 h 14652"/>
                <a:gd name="connsiteX4" fmla="*/ 0 w 9202"/>
                <a:gd name="connsiteY4" fmla="*/ 9344 h 1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02" h="14652">
                  <a:moveTo>
                    <a:pt x="0" y="9344"/>
                  </a:moveTo>
                  <a:lnTo>
                    <a:pt x="9202" y="14653"/>
                  </a:lnTo>
                  <a:lnTo>
                    <a:pt x="9202" y="5309"/>
                  </a:lnTo>
                  <a:lnTo>
                    <a:pt x="0" y="0"/>
                  </a:lnTo>
                  <a:lnTo>
                    <a:pt x="0" y="9344"/>
                  </a:ln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540" name="orange dress">
              <a:extLst>
                <a:ext uri="{FF2B5EF4-FFF2-40B4-BE49-F238E27FC236}">
                  <a16:creationId xmlns:a16="http://schemas.microsoft.com/office/drawing/2014/main" id="{FD62D1D7-DAB6-43EF-B85D-7E34FFBD5F93}"/>
                </a:ext>
              </a:extLst>
            </p:cNvPr>
            <p:cNvGrpSpPr/>
            <p:nvPr/>
          </p:nvGrpSpPr>
          <p:grpSpPr>
            <a:xfrm>
              <a:off x="6236802" y="3862231"/>
              <a:ext cx="706215" cy="2002491"/>
              <a:chOff x="6236802" y="3862231"/>
              <a:chExt cx="706215" cy="2002491"/>
            </a:xfrm>
          </p:grpSpPr>
          <p:grpSp>
            <p:nvGrpSpPr>
              <p:cNvPr id="539" name="Group 538">
                <a:extLst>
                  <a:ext uri="{FF2B5EF4-FFF2-40B4-BE49-F238E27FC236}">
                    <a16:creationId xmlns:a16="http://schemas.microsoft.com/office/drawing/2014/main" id="{C9E4DE12-EFCA-4F49-BBEB-2F4AF532EA9C}"/>
                  </a:ext>
                </a:extLst>
              </p:cNvPr>
              <p:cNvGrpSpPr/>
              <p:nvPr/>
            </p:nvGrpSpPr>
            <p:grpSpPr>
              <a:xfrm>
                <a:off x="6236802" y="4037532"/>
                <a:ext cx="706215" cy="1827190"/>
                <a:chOff x="6236802" y="4037532"/>
                <a:chExt cx="706215" cy="1827190"/>
              </a:xfrm>
            </p:grpSpPr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C0CAE4D8-71D6-4E9E-83EB-5D235B099653}"/>
                    </a:ext>
                  </a:extLst>
                </p:cNvPr>
                <p:cNvSpPr/>
                <p:nvPr/>
              </p:nvSpPr>
              <p:spPr>
                <a:xfrm>
                  <a:off x="6322899" y="4037532"/>
                  <a:ext cx="497555" cy="296840"/>
                </a:xfrm>
                <a:custGeom>
                  <a:avLst/>
                  <a:gdLst>
                    <a:gd name="connsiteX0" fmla="*/ 221522 w 221528"/>
                    <a:gd name="connsiteY0" fmla="*/ 131999 h 132163"/>
                    <a:gd name="connsiteX1" fmla="*/ 108264 w 221528"/>
                    <a:gd name="connsiteY1" fmla="*/ 43658 h 132163"/>
                    <a:gd name="connsiteX2" fmla="*/ 33 w 221528"/>
                    <a:gd name="connsiteY2" fmla="*/ 550 h 132163"/>
                    <a:gd name="connsiteX3" fmla="*/ 109609 w 221528"/>
                    <a:gd name="connsiteY3" fmla="*/ 59585 h 132163"/>
                    <a:gd name="connsiteX4" fmla="*/ 221522 w 221528"/>
                    <a:gd name="connsiteY4" fmla="*/ 131999 h 132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528" h="132163">
                      <a:moveTo>
                        <a:pt x="221522" y="131999"/>
                      </a:moveTo>
                      <a:cubicBezTo>
                        <a:pt x="222017" y="127823"/>
                        <a:pt x="194340" y="115860"/>
                        <a:pt x="108264" y="43658"/>
                      </a:cubicBezTo>
                      <a:cubicBezTo>
                        <a:pt x="52839" y="28864"/>
                        <a:pt x="-1525" y="-4688"/>
                        <a:pt x="33" y="550"/>
                      </a:cubicBezTo>
                      <a:cubicBezTo>
                        <a:pt x="1590" y="5788"/>
                        <a:pt x="109609" y="59585"/>
                        <a:pt x="109609" y="59585"/>
                      </a:cubicBezTo>
                      <a:cubicBezTo>
                        <a:pt x="109609" y="59585"/>
                        <a:pt x="221026" y="136175"/>
                        <a:pt x="221522" y="131999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grpSp>
              <p:nvGrpSpPr>
                <p:cNvPr id="538" name="Group 537">
                  <a:extLst>
                    <a:ext uri="{FF2B5EF4-FFF2-40B4-BE49-F238E27FC236}">
                      <a16:creationId xmlns:a16="http://schemas.microsoft.com/office/drawing/2014/main" id="{9BE7CC30-C3AE-487F-8F11-1A64385F9097}"/>
                    </a:ext>
                  </a:extLst>
                </p:cNvPr>
                <p:cNvGrpSpPr/>
                <p:nvPr/>
              </p:nvGrpSpPr>
              <p:grpSpPr>
                <a:xfrm>
                  <a:off x="6236802" y="4051011"/>
                  <a:ext cx="706215" cy="1813711"/>
                  <a:chOff x="6236802" y="4051011"/>
                  <a:chExt cx="706215" cy="1813711"/>
                </a:xfrm>
              </p:grpSpPr>
              <p:sp>
                <p:nvSpPr>
                  <p:cNvPr id="485" name="Freeform: Shape 484">
                    <a:extLst>
                      <a:ext uri="{FF2B5EF4-FFF2-40B4-BE49-F238E27FC236}">
                        <a16:creationId xmlns:a16="http://schemas.microsoft.com/office/drawing/2014/main" id="{01E43A7B-0AC5-44DE-B3C2-BB2F8608411F}"/>
                      </a:ext>
                    </a:extLst>
                  </p:cNvPr>
                  <p:cNvSpPr/>
                  <p:nvPr/>
                </p:nvSpPr>
                <p:spPr>
                  <a:xfrm>
                    <a:off x="6236802" y="4051011"/>
                    <a:ext cx="706215" cy="1812919"/>
                  </a:xfrm>
                  <a:custGeom>
                    <a:avLst/>
                    <a:gdLst>
                      <a:gd name="connsiteX0" fmla="*/ 208748 w 314430"/>
                      <a:gd name="connsiteY0" fmla="*/ 320235 h 807171"/>
                      <a:gd name="connsiteX1" fmla="*/ 246193 w 314430"/>
                      <a:gd name="connsiteY1" fmla="*/ 110921 h 807171"/>
                      <a:gd name="connsiteX2" fmla="*/ 226727 w 314430"/>
                      <a:gd name="connsiteY2" fmla="*/ 92871 h 807171"/>
                      <a:gd name="connsiteX3" fmla="*/ 146385 w 314430"/>
                      <a:gd name="connsiteY3" fmla="*/ 133715 h 807171"/>
                      <a:gd name="connsiteX4" fmla="*/ 74538 w 314430"/>
                      <a:gd name="connsiteY4" fmla="*/ 3256 h 807171"/>
                      <a:gd name="connsiteX5" fmla="*/ 54647 w 314430"/>
                      <a:gd name="connsiteY5" fmla="*/ 0 h 807171"/>
                      <a:gd name="connsiteX6" fmla="*/ 93437 w 314430"/>
                      <a:gd name="connsiteY6" fmla="*/ 253484 h 807171"/>
                      <a:gd name="connsiteX7" fmla="*/ 0 w 314430"/>
                      <a:gd name="connsiteY7" fmla="*/ 625676 h 807171"/>
                      <a:gd name="connsiteX8" fmla="*/ 149571 w 314430"/>
                      <a:gd name="connsiteY8" fmla="*/ 745658 h 807171"/>
                      <a:gd name="connsiteX9" fmla="*/ 314431 w 314430"/>
                      <a:gd name="connsiteY9" fmla="*/ 807171 h 8071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14430" h="807171">
                        <a:moveTo>
                          <a:pt x="208748" y="320235"/>
                        </a:moveTo>
                        <a:lnTo>
                          <a:pt x="246193" y="110921"/>
                        </a:lnTo>
                        <a:lnTo>
                          <a:pt x="226727" y="92871"/>
                        </a:lnTo>
                        <a:cubicBezTo>
                          <a:pt x="226727" y="92871"/>
                          <a:pt x="213207" y="172293"/>
                          <a:pt x="146385" y="133715"/>
                        </a:cubicBezTo>
                        <a:cubicBezTo>
                          <a:pt x="79563" y="95136"/>
                          <a:pt x="74538" y="3256"/>
                          <a:pt x="74538" y="3256"/>
                        </a:cubicBezTo>
                        <a:lnTo>
                          <a:pt x="54647" y="0"/>
                        </a:lnTo>
                        <a:lnTo>
                          <a:pt x="93437" y="253484"/>
                        </a:lnTo>
                        <a:cubicBezTo>
                          <a:pt x="26969" y="486511"/>
                          <a:pt x="0" y="625676"/>
                          <a:pt x="0" y="625676"/>
                        </a:cubicBezTo>
                        <a:cubicBezTo>
                          <a:pt x="43390" y="673124"/>
                          <a:pt x="93841" y="713592"/>
                          <a:pt x="149571" y="745658"/>
                        </a:cubicBezTo>
                        <a:cubicBezTo>
                          <a:pt x="242796" y="799456"/>
                          <a:pt x="314431" y="807171"/>
                          <a:pt x="314431" y="807171"/>
                        </a:cubicBezTo>
                        <a:close/>
                      </a:path>
                    </a:pathLst>
                  </a:custGeom>
                  <a:solidFill>
                    <a:srgbClr val="FC9D2B"/>
                  </a:solidFill>
                  <a:ln w="70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765"/>
                  </a:p>
                </p:txBody>
              </p:sp>
              <p:sp>
                <p:nvSpPr>
                  <p:cNvPr id="486" name="Freeform: Shape 485">
                    <a:extLst>
                      <a:ext uri="{FF2B5EF4-FFF2-40B4-BE49-F238E27FC236}">
                        <a16:creationId xmlns:a16="http://schemas.microsoft.com/office/drawing/2014/main" id="{45BE759A-FB48-4818-AC61-FEEF4F145A37}"/>
                      </a:ext>
                    </a:extLst>
                  </p:cNvPr>
                  <p:cNvSpPr/>
                  <p:nvPr/>
                </p:nvSpPr>
                <p:spPr>
                  <a:xfrm>
                    <a:off x="6291652" y="4265959"/>
                    <a:ext cx="651365" cy="1598763"/>
                  </a:xfrm>
                  <a:custGeom>
                    <a:avLst/>
                    <a:gdLst>
                      <a:gd name="connsiteX0" fmla="*/ 184326 w 290009"/>
                      <a:gd name="connsiteY0" fmla="*/ 224674 h 711822"/>
                      <a:gd name="connsiteX1" fmla="*/ 221772 w 290009"/>
                      <a:gd name="connsiteY1" fmla="*/ 15219 h 711822"/>
                      <a:gd name="connsiteX2" fmla="*/ 205350 w 290009"/>
                      <a:gd name="connsiteY2" fmla="*/ 0 h 711822"/>
                      <a:gd name="connsiteX3" fmla="*/ 165568 w 290009"/>
                      <a:gd name="connsiteY3" fmla="*/ 221701 h 711822"/>
                      <a:gd name="connsiteX4" fmla="*/ 249874 w 290009"/>
                      <a:gd name="connsiteY4" fmla="*/ 686057 h 711822"/>
                      <a:gd name="connsiteX5" fmla="*/ 108727 w 290009"/>
                      <a:gd name="connsiteY5" fmla="*/ 635020 h 711822"/>
                      <a:gd name="connsiteX6" fmla="*/ 0 w 290009"/>
                      <a:gd name="connsiteY6" fmla="*/ 555740 h 711822"/>
                      <a:gd name="connsiteX7" fmla="*/ 125149 w 290009"/>
                      <a:gd name="connsiteY7" fmla="*/ 650310 h 711822"/>
                      <a:gd name="connsiteX8" fmla="*/ 290010 w 290009"/>
                      <a:gd name="connsiteY8" fmla="*/ 711823 h 7118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90009" h="711822">
                        <a:moveTo>
                          <a:pt x="184326" y="224674"/>
                        </a:moveTo>
                        <a:lnTo>
                          <a:pt x="221772" y="15219"/>
                        </a:lnTo>
                        <a:lnTo>
                          <a:pt x="205350" y="0"/>
                        </a:lnTo>
                        <a:lnTo>
                          <a:pt x="165568" y="221701"/>
                        </a:lnTo>
                        <a:lnTo>
                          <a:pt x="249874" y="686057"/>
                        </a:lnTo>
                        <a:cubicBezTo>
                          <a:pt x="249874" y="686057"/>
                          <a:pt x="201952" y="688817"/>
                          <a:pt x="108727" y="635020"/>
                        </a:cubicBezTo>
                        <a:cubicBezTo>
                          <a:pt x="69876" y="612369"/>
                          <a:pt x="33444" y="585803"/>
                          <a:pt x="0" y="555740"/>
                        </a:cubicBezTo>
                        <a:cubicBezTo>
                          <a:pt x="37758" y="592188"/>
                          <a:pt x="79779" y="623942"/>
                          <a:pt x="125149" y="650310"/>
                        </a:cubicBezTo>
                        <a:cubicBezTo>
                          <a:pt x="218374" y="704107"/>
                          <a:pt x="290010" y="711823"/>
                          <a:pt x="290010" y="711823"/>
                        </a:cubicBezTo>
                        <a:close/>
                      </a:path>
                    </a:pathLst>
                  </a:custGeom>
                  <a:solidFill>
                    <a:srgbClr val="E87D1C"/>
                  </a:solidFill>
                  <a:ln w="70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765"/>
                  </a:p>
                </p:txBody>
              </p:sp>
            </p:grpSp>
          </p:grp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298A07A0-9387-4A29-AC75-56C4E9D06179}"/>
                  </a:ext>
                </a:extLst>
              </p:cNvPr>
              <p:cNvSpPr/>
              <p:nvPr/>
            </p:nvSpPr>
            <p:spPr>
              <a:xfrm>
                <a:off x="6524880" y="3862231"/>
                <a:ext cx="112566" cy="289204"/>
              </a:xfrm>
              <a:custGeom>
                <a:avLst/>
                <a:gdLst>
                  <a:gd name="connsiteX0" fmla="*/ 19680 w 50118"/>
                  <a:gd name="connsiteY0" fmla="*/ 127089 h 128763"/>
                  <a:gd name="connsiteX1" fmla="*/ 20671 w 50118"/>
                  <a:gd name="connsiteY1" fmla="*/ 114701 h 128763"/>
                  <a:gd name="connsiteX2" fmla="*/ 20671 w 50118"/>
                  <a:gd name="connsiteY2" fmla="*/ 103234 h 128763"/>
                  <a:gd name="connsiteX3" fmla="*/ 25124 w 50118"/>
                  <a:gd name="connsiteY3" fmla="*/ 99202 h 128763"/>
                  <a:gd name="connsiteX4" fmla="*/ 25697 w 50118"/>
                  <a:gd name="connsiteY4" fmla="*/ 99270 h 128763"/>
                  <a:gd name="connsiteX5" fmla="*/ 35324 w 50118"/>
                  <a:gd name="connsiteY5" fmla="*/ 101677 h 128763"/>
                  <a:gd name="connsiteX6" fmla="*/ 35324 w 50118"/>
                  <a:gd name="connsiteY6" fmla="*/ 101677 h 128763"/>
                  <a:gd name="connsiteX7" fmla="*/ 35820 w 50118"/>
                  <a:gd name="connsiteY7" fmla="*/ 101677 h 128763"/>
                  <a:gd name="connsiteX8" fmla="*/ 47075 w 50118"/>
                  <a:gd name="connsiteY8" fmla="*/ 91908 h 128763"/>
                  <a:gd name="connsiteX9" fmla="*/ 50118 w 50118"/>
                  <a:gd name="connsiteY9" fmla="*/ 74636 h 128763"/>
                  <a:gd name="connsiteX10" fmla="*/ 50118 w 50118"/>
                  <a:gd name="connsiteY10" fmla="*/ 64868 h 128763"/>
                  <a:gd name="connsiteX11" fmla="*/ 49340 w 50118"/>
                  <a:gd name="connsiteY11" fmla="*/ 54958 h 128763"/>
                  <a:gd name="connsiteX12" fmla="*/ 47570 w 50118"/>
                  <a:gd name="connsiteY12" fmla="*/ 44482 h 128763"/>
                  <a:gd name="connsiteX13" fmla="*/ 44739 w 50118"/>
                  <a:gd name="connsiteY13" fmla="*/ 33651 h 128763"/>
                  <a:gd name="connsiteX14" fmla="*/ 40421 w 50118"/>
                  <a:gd name="connsiteY14" fmla="*/ 22750 h 128763"/>
                  <a:gd name="connsiteX15" fmla="*/ 34262 w 50118"/>
                  <a:gd name="connsiteY15" fmla="*/ 12203 h 128763"/>
                  <a:gd name="connsiteX16" fmla="*/ 25556 w 50118"/>
                  <a:gd name="connsiteY16" fmla="*/ 3851 h 128763"/>
                  <a:gd name="connsiteX17" fmla="*/ 16707 w 50118"/>
                  <a:gd name="connsiteY17" fmla="*/ 240 h 128763"/>
                  <a:gd name="connsiteX18" fmla="*/ 12743 w 50118"/>
                  <a:gd name="connsiteY18" fmla="*/ 240 h 128763"/>
                  <a:gd name="connsiteX19" fmla="*/ 9275 w 50118"/>
                  <a:gd name="connsiteY19" fmla="*/ 1373 h 128763"/>
                  <a:gd name="connsiteX20" fmla="*/ 3824 w 50118"/>
                  <a:gd name="connsiteY20" fmla="*/ 6328 h 128763"/>
                  <a:gd name="connsiteX21" fmla="*/ 922 w 50118"/>
                  <a:gd name="connsiteY21" fmla="*/ 14256 h 128763"/>
                  <a:gd name="connsiteX22" fmla="*/ 2 w 50118"/>
                  <a:gd name="connsiteY22" fmla="*/ 24025 h 128763"/>
                  <a:gd name="connsiteX23" fmla="*/ 3187 w 50118"/>
                  <a:gd name="connsiteY23" fmla="*/ 30395 h 128763"/>
                  <a:gd name="connsiteX24" fmla="*/ 7151 w 50118"/>
                  <a:gd name="connsiteY24" fmla="*/ 29050 h 128763"/>
                  <a:gd name="connsiteX25" fmla="*/ 7151 w 50118"/>
                  <a:gd name="connsiteY25" fmla="*/ 27210 h 128763"/>
                  <a:gd name="connsiteX26" fmla="*/ 6727 w 50118"/>
                  <a:gd name="connsiteY26" fmla="*/ 18645 h 128763"/>
                  <a:gd name="connsiteX27" fmla="*/ 7222 w 50118"/>
                  <a:gd name="connsiteY27" fmla="*/ 14752 h 128763"/>
                  <a:gd name="connsiteX28" fmla="*/ 8355 w 50118"/>
                  <a:gd name="connsiteY28" fmla="*/ 11354 h 128763"/>
                  <a:gd name="connsiteX29" fmla="*/ 12319 w 50118"/>
                  <a:gd name="connsiteY29" fmla="*/ 6611 h 128763"/>
                  <a:gd name="connsiteX30" fmla="*/ 15009 w 50118"/>
                  <a:gd name="connsiteY30" fmla="*/ 5337 h 128763"/>
                  <a:gd name="connsiteX31" fmla="*/ 18194 w 50118"/>
                  <a:gd name="connsiteY31" fmla="*/ 5337 h 128763"/>
                  <a:gd name="connsiteX32" fmla="*/ 25273 w 50118"/>
                  <a:gd name="connsiteY32" fmla="*/ 7885 h 128763"/>
                  <a:gd name="connsiteX33" fmla="*/ 32351 w 50118"/>
                  <a:gd name="connsiteY33" fmla="*/ 14398 h 128763"/>
                  <a:gd name="connsiteX34" fmla="*/ 37589 w 50118"/>
                  <a:gd name="connsiteY34" fmla="*/ 23600 h 128763"/>
                  <a:gd name="connsiteX35" fmla="*/ 41270 w 50118"/>
                  <a:gd name="connsiteY35" fmla="*/ 33510 h 128763"/>
                  <a:gd name="connsiteX36" fmla="*/ 43394 w 50118"/>
                  <a:gd name="connsiteY36" fmla="*/ 43420 h 128763"/>
                  <a:gd name="connsiteX37" fmla="*/ 44455 w 50118"/>
                  <a:gd name="connsiteY37" fmla="*/ 52905 h 128763"/>
                  <a:gd name="connsiteX38" fmla="*/ 44880 w 50118"/>
                  <a:gd name="connsiteY38" fmla="*/ 62320 h 128763"/>
                  <a:gd name="connsiteX39" fmla="*/ 44880 w 50118"/>
                  <a:gd name="connsiteY39" fmla="*/ 71451 h 128763"/>
                  <a:gd name="connsiteX40" fmla="*/ 42332 w 50118"/>
                  <a:gd name="connsiteY40" fmla="*/ 87449 h 128763"/>
                  <a:gd name="connsiteX41" fmla="*/ 34050 w 50118"/>
                  <a:gd name="connsiteY41" fmla="*/ 95094 h 128763"/>
                  <a:gd name="connsiteX42" fmla="*/ 34687 w 50118"/>
                  <a:gd name="connsiteY42" fmla="*/ 95094 h 128763"/>
                  <a:gd name="connsiteX43" fmla="*/ 23574 w 50118"/>
                  <a:gd name="connsiteY43" fmla="*/ 92262 h 128763"/>
                  <a:gd name="connsiteX44" fmla="*/ 18265 w 50118"/>
                  <a:gd name="connsiteY44" fmla="*/ 93536 h 128763"/>
                  <a:gd name="connsiteX45" fmla="*/ 15362 w 50118"/>
                  <a:gd name="connsiteY45" fmla="*/ 98916 h 128763"/>
                  <a:gd name="connsiteX46" fmla="*/ 15362 w 50118"/>
                  <a:gd name="connsiteY46" fmla="*/ 111941 h 128763"/>
                  <a:gd name="connsiteX47" fmla="*/ 14584 w 50118"/>
                  <a:gd name="connsiteY47" fmla="*/ 123054 h 128763"/>
                  <a:gd name="connsiteX48" fmla="*/ 16637 w 50118"/>
                  <a:gd name="connsiteY48" fmla="*/ 127938 h 128763"/>
                  <a:gd name="connsiteX49" fmla="*/ 19822 w 50118"/>
                  <a:gd name="connsiteY49" fmla="*/ 127938 h 128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50118" h="128763">
                    <a:moveTo>
                      <a:pt x="19680" y="127089"/>
                    </a:moveTo>
                    <a:cubicBezTo>
                      <a:pt x="20572" y="123024"/>
                      <a:pt x="20905" y="118856"/>
                      <a:pt x="20671" y="114701"/>
                    </a:cubicBezTo>
                    <a:cubicBezTo>
                      <a:pt x="20339" y="110886"/>
                      <a:pt x="20339" y="107049"/>
                      <a:pt x="20671" y="103234"/>
                    </a:cubicBezTo>
                    <a:cubicBezTo>
                      <a:pt x="20785" y="100891"/>
                      <a:pt x="22781" y="99086"/>
                      <a:pt x="25124" y="99202"/>
                    </a:cubicBezTo>
                    <a:cubicBezTo>
                      <a:pt x="25315" y="99212"/>
                      <a:pt x="25506" y="99235"/>
                      <a:pt x="25697" y="99270"/>
                    </a:cubicBezTo>
                    <a:cubicBezTo>
                      <a:pt x="29003" y="99608"/>
                      <a:pt x="32245" y="100418"/>
                      <a:pt x="35324" y="101677"/>
                    </a:cubicBezTo>
                    <a:lnTo>
                      <a:pt x="35324" y="101677"/>
                    </a:lnTo>
                    <a:lnTo>
                      <a:pt x="35820" y="101677"/>
                    </a:lnTo>
                    <a:cubicBezTo>
                      <a:pt x="42049" y="101677"/>
                      <a:pt x="45234" y="97076"/>
                      <a:pt x="47075" y="91908"/>
                    </a:cubicBezTo>
                    <a:cubicBezTo>
                      <a:pt x="48929" y="86330"/>
                      <a:pt x="49948" y="80512"/>
                      <a:pt x="50118" y="74636"/>
                    </a:cubicBezTo>
                    <a:cubicBezTo>
                      <a:pt x="50118" y="71168"/>
                      <a:pt x="50118" y="68195"/>
                      <a:pt x="50118" y="64868"/>
                    </a:cubicBezTo>
                    <a:cubicBezTo>
                      <a:pt x="50090" y="61550"/>
                      <a:pt x="49828" y="58239"/>
                      <a:pt x="49340" y="54958"/>
                    </a:cubicBezTo>
                    <a:cubicBezTo>
                      <a:pt x="48703" y="51419"/>
                      <a:pt x="48490" y="47879"/>
                      <a:pt x="47570" y="44482"/>
                    </a:cubicBezTo>
                    <a:cubicBezTo>
                      <a:pt x="46650" y="41084"/>
                      <a:pt x="46084" y="37403"/>
                      <a:pt x="44739" y="33651"/>
                    </a:cubicBezTo>
                    <a:cubicBezTo>
                      <a:pt x="43542" y="29925"/>
                      <a:pt x="42105" y="26283"/>
                      <a:pt x="40421" y="22750"/>
                    </a:cubicBezTo>
                    <a:cubicBezTo>
                      <a:pt x="38715" y="19044"/>
                      <a:pt x="36648" y="15512"/>
                      <a:pt x="34262" y="12203"/>
                    </a:cubicBezTo>
                    <a:cubicBezTo>
                      <a:pt x="31757" y="9032"/>
                      <a:pt x="28826" y="6221"/>
                      <a:pt x="25556" y="3851"/>
                    </a:cubicBezTo>
                    <a:cubicBezTo>
                      <a:pt x="22944" y="1941"/>
                      <a:pt x="19907" y="701"/>
                      <a:pt x="16707" y="240"/>
                    </a:cubicBezTo>
                    <a:cubicBezTo>
                      <a:pt x="15405" y="-80"/>
                      <a:pt x="14045" y="-80"/>
                      <a:pt x="12743" y="240"/>
                    </a:cubicBezTo>
                    <a:cubicBezTo>
                      <a:pt x="11508" y="308"/>
                      <a:pt x="10312" y="699"/>
                      <a:pt x="9275" y="1373"/>
                    </a:cubicBezTo>
                    <a:cubicBezTo>
                      <a:pt x="7019" y="2466"/>
                      <a:pt x="5127" y="4186"/>
                      <a:pt x="3824" y="6328"/>
                    </a:cubicBezTo>
                    <a:cubicBezTo>
                      <a:pt x="2395" y="8778"/>
                      <a:pt x="1412" y="11462"/>
                      <a:pt x="922" y="14256"/>
                    </a:cubicBezTo>
                    <a:cubicBezTo>
                      <a:pt x="281" y="17472"/>
                      <a:pt x="-28" y="20746"/>
                      <a:pt x="2" y="24025"/>
                    </a:cubicBezTo>
                    <a:cubicBezTo>
                      <a:pt x="-38" y="26540"/>
                      <a:pt x="1150" y="28918"/>
                      <a:pt x="3187" y="30395"/>
                    </a:cubicBezTo>
                    <a:cubicBezTo>
                      <a:pt x="5169" y="31811"/>
                      <a:pt x="6939" y="31174"/>
                      <a:pt x="7151" y="29050"/>
                    </a:cubicBezTo>
                    <a:lnTo>
                      <a:pt x="7151" y="27210"/>
                    </a:lnTo>
                    <a:cubicBezTo>
                      <a:pt x="6699" y="24378"/>
                      <a:pt x="6557" y="21507"/>
                      <a:pt x="6727" y="18645"/>
                    </a:cubicBezTo>
                    <a:cubicBezTo>
                      <a:pt x="6813" y="17338"/>
                      <a:pt x="6979" y="16038"/>
                      <a:pt x="7222" y="14752"/>
                    </a:cubicBezTo>
                    <a:lnTo>
                      <a:pt x="8355" y="11354"/>
                    </a:lnTo>
                    <a:cubicBezTo>
                      <a:pt x="9217" y="9440"/>
                      <a:pt x="10588" y="7800"/>
                      <a:pt x="12319" y="6611"/>
                    </a:cubicBezTo>
                    <a:cubicBezTo>
                      <a:pt x="13029" y="5871"/>
                      <a:pt x="13986" y="5417"/>
                      <a:pt x="15009" y="5337"/>
                    </a:cubicBezTo>
                    <a:cubicBezTo>
                      <a:pt x="16056" y="5095"/>
                      <a:pt x="17146" y="5095"/>
                      <a:pt x="18194" y="5337"/>
                    </a:cubicBezTo>
                    <a:cubicBezTo>
                      <a:pt x="20735" y="5569"/>
                      <a:pt x="23170" y="6446"/>
                      <a:pt x="25273" y="7885"/>
                    </a:cubicBezTo>
                    <a:cubicBezTo>
                      <a:pt x="27934" y="9700"/>
                      <a:pt x="30320" y="11893"/>
                      <a:pt x="32351" y="14398"/>
                    </a:cubicBezTo>
                    <a:cubicBezTo>
                      <a:pt x="34383" y="17293"/>
                      <a:pt x="36138" y="20374"/>
                      <a:pt x="37589" y="23600"/>
                    </a:cubicBezTo>
                    <a:cubicBezTo>
                      <a:pt x="39118" y="26784"/>
                      <a:pt x="40350" y="30101"/>
                      <a:pt x="41270" y="33510"/>
                    </a:cubicBezTo>
                    <a:cubicBezTo>
                      <a:pt x="42148" y="36774"/>
                      <a:pt x="42856" y="40082"/>
                      <a:pt x="43394" y="43420"/>
                    </a:cubicBezTo>
                    <a:cubicBezTo>
                      <a:pt x="44031" y="46676"/>
                      <a:pt x="44031" y="49720"/>
                      <a:pt x="44455" y="52905"/>
                    </a:cubicBezTo>
                    <a:cubicBezTo>
                      <a:pt x="44774" y="56033"/>
                      <a:pt x="44916" y="59176"/>
                      <a:pt x="44880" y="62320"/>
                    </a:cubicBezTo>
                    <a:cubicBezTo>
                      <a:pt x="44880" y="65363"/>
                      <a:pt x="44880" y="68903"/>
                      <a:pt x="44880" y="71451"/>
                    </a:cubicBezTo>
                    <a:cubicBezTo>
                      <a:pt x="44831" y="76881"/>
                      <a:pt x="43974" y="82273"/>
                      <a:pt x="42332" y="87449"/>
                    </a:cubicBezTo>
                    <a:cubicBezTo>
                      <a:pt x="40704" y="91979"/>
                      <a:pt x="37943" y="95447"/>
                      <a:pt x="34050" y="95094"/>
                    </a:cubicBezTo>
                    <a:lnTo>
                      <a:pt x="34687" y="95094"/>
                    </a:lnTo>
                    <a:cubicBezTo>
                      <a:pt x="31148" y="93590"/>
                      <a:pt x="27403" y="92635"/>
                      <a:pt x="23574" y="92262"/>
                    </a:cubicBezTo>
                    <a:cubicBezTo>
                      <a:pt x="21719" y="92153"/>
                      <a:pt x="19872" y="92596"/>
                      <a:pt x="18265" y="93536"/>
                    </a:cubicBezTo>
                    <a:cubicBezTo>
                      <a:pt x="16693" y="94931"/>
                      <a:pt x="15667" y="96837"/>
                      <a:pt x="15362" y="98916"/>
                    </a:cubicBezTo>
                    <a:cubicBezTo>
                      <a:pt x="14938" y="103247"/>
                      <a:pt x="14938" y="107609"/>
                      <a:pt x="15362" y="111941"/>
                    </a:cubicBezTo>
                    <a:cubicBezTo>
                      <a:pt x="15617" y="115663"/>
                      <a:pt x="15355" y="119403"/>
                      <a:pt x="14584" y="123054"/>
                    </a:cubicBezTo>
                    <a:cubicBezTo>
                      <a:pt x="14391" y="124926"/>
                      <a:pt x="15164" y="126766"/>
                      <a:pt x="16637" y="127938"/>
                    </a:cubicBezTo>
                    <a:cubicBezTo>
                      <a:pt x="18052" y="129142"/>
                      <a:pt x="19468" y="128929"/>
                      <a:pt x="19822" y="127938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grpSp>
        <p:nvGrpSpPr>
          <p:cNvPr id="545" name="Blue Dress">
            <a:extLst>
              <a:ext uri="{FF2B5EF4-FFF2-40B4-BE49-F238E27FC236}">
                <a16:creationId xmlns:a16="http://schemas.microsoft.com/office/drawing/2014/main" id="{AF7466A7-42EB-4BD0-9ABA-78A93C82AB0F}"/>
              </a:ext>
            </a:extLst>
          </p:cNvPr>
          <p:cNvGrpSpPr>
            <a:grpSpLocks noChangeAspect="1"/>
          </p:cNvGrpSpPr>
          <p:nvPr/>
        </p:nvGrpSpPr>
        <p:grpSpPr>
          <a:xfrm>
            <a:off x="3290026" y="3192746"/>
            <a:ext cx="371297" cy="1237066"/>
            <a:chOff x="5596405" y="4264366"/>
            <a:chExt cx="607298" cy="2023364"/>
          </a:xfrm>
        </p:grpSpPr>
        <p:grpSp>
          <p:nvGrpSpPr>
            <p:cNvPr id="544" name="Group 543">
              <a:extLst>
                <a:ext uri="{FF2B5EF4-FFF2-40B4-BE49-F238E27FC236}">
                  <a16:creationId xmlns:a16="http://schemas.microsoft.com/office/drawing/2014/main" id="{2D5CAFF4-86FA-4ED4-8292-AF145227F6CB}"/>
                </a:ext>
              </a:extLst>
            </p:cNvPr>
            <p:cNvGrpSpPr/>
            <p:nvPr/>
          </p:nvGrpSpPr>
          <p:grpSpPr>
            <a:xfrm>
              <a:off x="5596405" y="4439738"/>
              <a:ext cx="607298" cy="1847992"/>
              <a:chOff x="5596405" y="4439738"/>
              <a:chExt cx="607298" cy="1847992"/>
            </a:xfrm>
          </p:grpSpPr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72C5D6CF-7BC8-473C-9112-E195EED89175}"/>
                  </a:ext>
                </a:extLst>
              </p:cNvPr>
              <p:cNvSpPr/>
              <p:nvPr/>
            </p:nvSpPr>
            <p:spPr>
              <a:xfrm>
                <a:off x="5694852" y="4493469"/>
                <a:ext cx="17930" cy="197777"/>
              </a:xfrm>
              <a:custGeom>
                <a:avLst/>
                <a:gdLst>
                  <a:gd name="connsiteX0" fmla="*/ 410 w 7983"/>
                  <a:gd name="connsiteY0" fmla="*/ 0 h 88057"/>
                  <a:gd name="connsiteX1" fmla="*/ 1613 w 7983"/>
                  <a:gd name="connsiteY1" fmla="*/ 83315 h 88057"/>
                  <a:gd name="connsiteX2" fmla="*/ 7984 w 7983"/>
                  <a:gd name="connsiteY2" fmla="*/ 88058 h 88057"/>
                  <a:gd name="connsiteX3" fmla="*/ 4374 w 7983"/>
                  <a:gd name="connsiteY3" fmla="*/ 212 h 8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83" h="88057">
                    <a:moveTo>
                      <a:pt x="410" y="0"/>
                    </a:moveTo>
                    <a:cubicBezTo>
                      <a:pt x="410" y="0"/>
                      <a:pt x="-1077" y="21236"/>
                      <a:pt x="1613" y="83315"/>
                    </a:cubicBezTo>
                    <a:lnTo>
                      <a:pt x="7984" y="88058"/>
                    </a:lnTo>
                    <a:cubicBezTo>
                      <a:pt x="4869" y="58886"/>
                      <a:pt x="3662" y="29542"/>
                      <a:pt x="4374" y="212"/>
                    </a:cubicBezTo>
                    <a:close/>
                  </a:path>
                </a:pathLst>
              </a:custGeom>
              <a:solidFill>
                <a:schemeClr val="tx2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0" name="Freeform: Shape 499">
                <a:extLst>
                  <a:ext uri="{FF2B5EF4-FFF2-40B4-BE49-F238E27FC236}">
                    <a16:creationId xmlns:a16="http://schemas.microsoft.com/office/drawing/2014/main" id="{3BC469A7-FDE5-4A01-9EA0-17DBCD125B43}"/>
                  </a:ext>
                </a:extLst>
              </p:cNvPr>
              <p:cNvSpPr/>
              <p:nvPr/>
            </p:nvSpPr>
            <p:spPr>
              <a:xfrm>
                <a:off x="6084969" y="4718275"/>
                <a:ext cx="17993" cy="193645"/>
              </a:xfrm>
              <a:custGeom>
                <a:avLst/>
                <a:gdLst>
                  <a:gd name="connsiteX0" fmla="*/ 7574 w 8011"/>
                  <a:gd name="connsiteY0" fmla="*/ 4318 h 86217"/>
                  <a:gd name="connsiteX1" fmla="*/ 6371 w 8011"/>
                  <a:gd name="connsiteY1" fmla="*/ 86217 h 86217"/>
                  <a:gd name="connsiteX2" fmla="*/ 0 w 8011"/>
                  <a:gd name="connsiteY2" fmla="*/ 83598 h 86217"/>
                  <a:gd name="connsiteX3" fmla="*/ 3610 w 8011"/>
                  <a:gd name="connsiteY3" fmla="*/ 0 h 86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11" h="86217">
                    <a:moveTo>
                      <a:pt x="7574" y="4318"/>
                    </a:moveTo>
                    <a:cubicBezTo>
                      <a:pt x="7574" y="4318"/>
                      <a:pt x="9131" y="27323"/>
                      <a:pt x="6371" y="86217"/>
                    </a:cubicBezTo>
                    <a:lnTo>
                      <a:pt x="0" y="83598"/>
                    </a:lnTo>
                    <a:cubicBezTo>
                      <a:pt x="3322" y="55864"/>
                      <a:pt x="4529" y="27917"/>
                      <a:pt x="3610" y="0"/>
                    </a:cubicBezTo>
                    <a:close/>
                  </a:path>
                </a:pathLst>
              </a:custGeom>
              <a:solidFill>
                <a:srgbClr val="FC9D2B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1" name="Freeform: Shape 500">
                <a:extLst>
                  <a:ext uri="{FF2B5EF4-FFF2-40B4-BE49-F238E27FC236}">
                    <a16:creationId xmlns:a16="http://schemas.microsoft.com/office/drawing/2014/main" id="{622B59C5-5A89-48AA-AA5C-4A8AC28D4095}"/>
                  </a:ext>
                </a:extLst>
              </p:cNvPr>
              <p:cNvSpPr/>
              <p:nvPr/>
            </p:nvSpPr>
            <p:spPr>
              <a:xfrm>
                <a:off x="5698475" y="4680596"/>
                <a:ext cx="400804" cy="469804"/>
              </a:xfrm>
              <a:custGeom>
                <a:avLst/>
                <a:gdLst>
                  <a:gd name="connsiteX0" fmla="*/ 0 w 178451"/>
                  <a:gd name="connsiteY0" fmla="*/ 0 h 209172"/>
                  <a:gd name="connsiteX1" fmla="*/ 52806 w 178451"/>
                  <a:gd name="connsiteY1" fmla="*/ 166134 h 209172"/>
                  <a:gd name="connsiteX2" fmla="*/ 127344 w 178451"/>
                  <a:gd name="connsiteY2" fmla="*/ 209172 h 209172"/>
                  <a:gd name="connsiteX3" fmla="*/ 178451 w 178451"/>
                  <a:gd name="connsiteY3" fmla="*/ 102993 h 209172"/>
                  <a:gd name="connsiteX4" fmla="*/ 89756 w 178451"/>
                  <a:gd name="connsiteY4" fmla="*/ 78218 h 209172"/>
                  <a:gd name="connsiteX5" fmla="*/ 0 w 178451"/>
                  <a:gd name="connsiteY5" fmla="*/ 0 h 209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451" h="209172">
                    <a:moveTo>
                      <a:pt x="0" y="0"/>
                    </a:moveTo>
                    <a:lnTo>
                      <a:pt x="52806" y="166134"/>
                    </a:lnTo>
                    <a:lnTo>
                      <a:pt x="127344" y="209172"/>
                    </a:lnTo>
                    <a:cubicBezTo>
                      <a:pt x="127344" y="209172"/>
                      <a:pt x="169815" y="122884"/>
                      <a:pt x="178451" y="102993"/>
                    </a:cubicBezTo>
                    <a:cubicBezTo>
                      <a:pt x="128901" y="62008"/>
                      <a:pt x="89756" y="78218"/>
                      <a:pt x="89756" y="78218"/>
                    </a:cubicBezTo>
                    <a:cubicBezTo>
                      <a:pt x="89756" y="78218"/>
                      <a:pt x="47922" y="22085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2" name="Freeform: Shape 501">
                <a:extLst>
                  <a:ext uri="{FF2B5EF4-FFF2-40B4-BE49-F238E27FC236}">
                    <a16:creationId xmlns:a16="http://schemas.microsoft.com/office/drawing/2014/main" id="{B26727E3-8BFB-4A20-8F4C-A76FA265810E}"/>
                  </a:ext>
                </a:extLst>
              </p:cNvPr>
              <p:cNvSpPr/>
              <p:nvPr/>
            </p:nvSpPr>
            <p:spPr>
              <a:xfrm>
                <a:off x="5596405" y="5046292"/>
                <a:ext cx="607298" cy="1240614"/>
              </a:xfrm>
              <a:custGeom>
                <a:avLst/>
                <a:gdLst>
                  <a:gd name="connsiteX0" fmla="*/ 98251 w 270389"/>
                  <a:gd name="connsiteY0" fmla="*/ 3315 h 552362"/>
                  <a:gd name="connsiteX1" fmla="*/ 0 w 270389"/>
                  <a:gd name="connsiteY1" fmla="*/ 396884 h 552362"/>
                  <a:gd name="connsiteX2" fmla="*/ 133927 w 270389"/>
                  <a:gd name="connsiteY2" fmla="*/ 505965 h 552362"/>
                  <a:gd name="connsiteX3" fmla="*/ 269199 w 270389"/>
                  <a:gd name="connsiteY3" fmla="*/ 552259 h 552362"/>
                  <a:gd name="connsiteX4" fmla="*/ 172788 w 270389"/>
                  <a:gd name="connsiteY4" fmla="*/ 46565 h 552362"/>
                  <a:gd name="connsiteX5" fmla="*/ 98251 w 270389"/>
                  <a:gd name="connsiteY5" fmla="*/ 3315 h 552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389" h="552362">
                    <a:moveTo>
                      <a:pt x="98251" y="3315"/>
                    </a:moveTo>
                    <a:cubicBezTo>
                      <a:pt x="-16422" y="183818"/>
                      <a:pt x="4176" y="254746"/>
                      <a:pt x="0" y="396884"/>
                    </a:cubicBezTo>
                    <a:cubicBezTo>
                      <a:pt x="0" y="396884"/>
                      <a:pt x="46011" y="455141"/>
                      <a:pt x="133927" y="505965"/>
                    </a:cubicBezTo>
                    <a:cubicBezTo>
                      <a:pt x="221843" y="556789"/>
                      <a:pt x="269199" y="552259"/>
                      <a:pt x="269199" y="552259"/>
                    </a:cubicBezTo>
                    <a:cubicBezTo>
                      <a:pt x="269199" y="471988"/>
                      <a:pt x="288382" y="344219"/>
                      <a:pt x="172788" y="46565"/>
                    </a:cubicBezTo>
                    <a:cubicBezTo>
                      <a:pt x="172788" y="46352"/>
                      <a:pt x="138245" y="-14665"/>
                      <a:pt x="98251" y="3315"/>
                    </a:cubicBezTo>
                    <a:close/>
                  </a:path>
                </a:pathLst>
              </a:custGeom>
              <a:solidFill>
                <a:schemeClr val="tx2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3" name="Freeform: Shape 502">
                <a:extLst>
                  <a:ext uri="{FF2B5EF4-FFF2-40B4-BE49-F238E27FC236}">
                    <a16:creationId xmlns:a16="http://schemas.microsoft.com/office/drawing/2014/main" id="{0D07BD1C-658D-47CE-B346-FD2A8EC53379}"/>
                  </a:ext>
                </a:extLst>
              </p:cNvPr>
              <p:cNvSpPr/>
              <p:nvPr/>
            </p:nvSpPr>
            <p:spPr>
              <a:xfrm>
                <a:off x="5752211" y="4719865"/>
                <a:ext cx="451492" cy="1567865"/>
              </a:xfrm>
              <a:custGeom>
                <a:avLst/>
                <a:gdLst>
                  <a:gd name="connsiteX0" fmla="*/ 103418 w 201019"/>
                  <a:gd name="connsiteY0" fmla="*/ 192467 h 698065"/>
                  <a:gd name="connsiteX1" fmla="*/ 154526 w 201019"/>
                  <a:gd name="connsiteY1" fmla="*/ 86288 h 698065"/>
                  <a:gd name="connsiteX2" fmla="*/ 155729 w 201019"/>
                  <a:gd name="connsiteY2" fmla="*/ 4318 h 698065"/>
                  <a:gd name="connsiteX3" fmla="*/ 151765 w 201019"/>
                  <a:gd name="connsiteY3" fmla="*/ 0 h 698065"/>
                  <a:gd name="connsiteX4" fmla="*/ 148438 w 201019"/>
                  <a:gd name="connsiteY4" fmla="*/ 81545 h 698065"/>
                  <a:gd name="connsiteX5" fmla="*/ 136688 w 201019"/>
                  <a:gd name="connsiteY5" fmla="*/ 73759 h 698065"/>
                  <a:gd name="connsiteX6" fmla="*/ 85863 w 201019"/>
                  <a:gd name="connsiteY6" fmla="*/ 179301 h 698065"/>
                  <a:gd name="connsiteX7" fmla="*/ 182274 w 201019"/>
                  <a:gd name="connsiteY7" fmla="*/ 684995 h 698065"/>
                  <a:gd name="connsiteX8" fmla="*/ 47073 w 201019"/>
                  <a:gd name="connsiteY8" fmla="*/ 638701 h 698065"/>
                  <a:gd name="connsiteX9" fmla="*/ 0 w 201019"/>
                  <a:gd name="connsiteY9" fmla="*/ 608263 h 698065"/>
                  <a:gd name="connsiteX10" fmla="*/ 64557 w 201019"/>
                  <a:gd name="connsiteY10" fmla="*/ 651796 h 698065"/>
                  <a:gd name="connsiteX11" fmla="*/ 199829 w 201019"/>
                  <a:gd name="connsiteY11" fmla="*/ 697949 h 698065"/>
                  <a:gd name="connsiteX12" fmla="*/ 103418 w 201019"/>
                  <a:gd name="connsiteY12" fmla="*/ 192467 h 698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1019" h="698065">
                    <a:moveTo>
                      <a:pt x="103418" y="192467"/>
                    </a:moveTo>
                    <a:cubicBezTo>
                      <a:pt x="103418" y="192467"/>
                      <a:pt x="145890" y="106250"/>
                      <a:pt x="154526" y="86288"/>
                    </a:cubicBezTo>
                    <a:cubicBezTo>
                      <a:pt x="157286" y="27323"/>
                      <a:pt x="155729" y="4318"/>
                      <a:pt x="155729" y="4318"/>
                    </a:cubicBezTo>
                    <a:lnTo>
                      <a:pt x="151765" y="0"/>
                    </a:lnTo>
                    <a:cubicBezTo>
                      <a:pt x="152602" y="27226"/>
                      <a:pt x="151490" y="54478"/>
                      <a:pt x="148438" y="81545"/>
                    </a:cubicBezTo>
                    <a:cubicBezTo>
                      <a:pt x="144403" y="78572"/>
                      <a:pt x="140510" y="76095"/>
                      <a:pt x="136688" y="73759"/>
                    </a:cubicBezTo>
                    <a:cubicBezTo>
                      <a:pt x="127273" y="94995"/>
                      <a:pt x="85863" y="179301"/>
                      <a:pt x="85863" y="179301"/>
                    </a:cubicBezTo>
                    <a:cubicBezTo>
                      <a:pt x="201457" y="476955"/>
                      <a:pt x="182274" y="604724"/>
                      <a:pt x="182274" y="684995"/>
                    </a:cubicBezTo>
                    <a:cubicBezTo>
                      <a:pt x="182274" y="684995"/>
                      <a:pt x="134989" y="689454"/>
                      <a:pt x="47073" y="638701"/>
                    </a:cubicBezTo>
                    <a:cubicBezTo>
                      <a:pt x="30874" y="629364"/>
                      <a:pt x="15163" y="619207"/>
                      <a:pt x="0" y="608263"/>
                    </a:cubicBezTo>
                    <a:cubicBezTo>
                      <a:pt x="20465" y="624282"/>
                      <a:pt x="42038" y="638828"/>
                      <a:pt x="64557" y="651796"/>
                    </a:cubicBezTo>
                    <a:cubicBezTo>
                      <a:pt x="152544" y="702691"/>
                      <a:pt x="199829" y="697949"/>
                      <a:pt x="199829" y="697949"/>
                    </a:cubicBezTo>
                    <a:cubicBezTo>
                      <a:pt x="199829" y="617961"/>
                      <a:pt x="219012" y="490192"/>
                      <a:pt x="103418" y="192467"/>
                    </a:cubicBezTo>
                    <a:close/>
                  </a:path>
                </a:pathLst>
              </a:custGeom>
              <a:solidFill>
                <a:schemeClr val="tx2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0170E668-E516-40B1-AA1B-D274E7DB1775}"/>
                  </a:ext>
                </a:extLst>
              </p:cNvPr>
              <p:cNvSpPr/>
              <p:nvPr/>
            </p:nvSpPr>
            <p:spPr>
              <a:xfrm>
                <a:off x="5637197" y="4439738"/>
                <a:ext cx="498184" cy="296703"/>
              </a:xfrm>
              <a:custGeom>
                <a:avLst/>
                <a:gdLst>
                  <a:gd name="connsiteX0" fmla="*/ 221802 w 221808"/>
                  <a:gd name="connsiteY0" fmla="*/ 131942 h 132102"/>
                  <a:gd name="connsiteX1" fmla="*/ 108545 w 221808"/>
                  <a:gd name="connsiteY1" fmla="*/ 43672 h 132102"/>
                  <a:gd name="connsiteX2" fmla="*/ 30 w 221808"/>
                  <a:gd name="connsiteY2" fmla="*/ 564 h 132102"/>
                  <a:gd name="connsiteX3" fmla="*/ 109890 w 221808"/>
                  <a:gd name="connsiteY3" fmla="*/ 59599 h 132102"/>
                  <a:gd name="connsiteX4" fmla="*/ 221802 w 221808"/>
                  <a:gd name="connsiteY4" fmla="*/ 131942 h 132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08" h="132102">
                    <a:moveTo>
                      <a:pt x="221802" y="131942"/>
                    </a:moveTo>
                    <a:cubicBezTo>
                      <a:pt x="222297" y="127766"/>
                      <a:pt x="194691" y="115874"/>
                      <a:pt x="108545" y="43672"/>
                    </a:cubicBezTo>
                    <a:cubicBezTo>
                      <a:pt x="52836" y="28807"/>
                      <a:pt x="-1457" y="-4745"/>
                      <a:pt x="30" y="564"/>
                    </a:cubicBezTo>
                    <a:cubicBezTo>
                      <a:pt x="1516" y="5873"/>
                      <a:pt x="109890" y="59599"/>
                      <a:pt x="109890" y="59599"/>
                    </a:cubicBezTo>
                    <a:cubicBezTo>
                      <a:pt x="109890" y="59599"/>
                      <a:pt x="221377" y="136048"/>
                      <a:pt x="221802" y="131942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96E5367B-13D9-4FE1-ADC9-606D5B453BB0}"/>
                  </a:ext>
                </a:extLst>
              </p:cNvPr>
              <p:cNvSpPr/>
              <p:nvPr/>
            </p:nvSpPr>
            <p:spPr>
              <a:xfrm>
                <a:off x="6082108" y="4699833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B7E84C78-314C-471A-B629-4BC42575F57E}"/>
                  </a:ext>
                </a:extLst>
              </p:cNvPr>
              <p:cNvSpPr/>
              <p:nvPr/>
            </p:nvSpPr>
            <p:spPr>
              <a:xfrm>
                <a:off x="5671606" y="4462943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4E4A7F43-9832-4069-BEF5-4CE19496FE54}"/>
                </a:ext>
              </a:extLst>
            </p:cNvPr>
            <p:cNvSpPr/>
            <p:nvPr/>
          </p:nvSpPr>
          <p:spPr>
            <a:xfrm>
              <a:off x="5840605" y="4264366"/>
              <a:ext cx="111611" cy="289040"/>
            </a:xfrm>
            <a:custGeom>
              <a:avLst/>
              <a:gdLst>
                <a:gd name="connsiteX0" fmla="*/ 19326 w 49693"/>
                <a:gd name="connsiteY0" fmla="*/ 127132 h 128690"/>
                <a:gd name="connsiteX1" fmla="*/ 20388 w 49693"/>
                <a:gd name="connsiteY1" fmla="*/ 115028 h 128690"/>
                <a:gd name="connsiteX2" fmla="*/ 20388 w 49693"/>
                <a:gd name="connsiteY2" fmla="*/ 103490 h 128690"/>
                <a:gd name="connsiteX3" fmla="*/ 25484 w 49693"/>
                <a:gd name="connsiteY3" fmla="*/ 99597 h 128690"/>
                <a:gd name="connsiteX4" fmla="*/ 35040 w 49693"/>
                <a:gd name="connsiteY4" fmla="*/ 102004 h 128690"/>
                <a:gd name="connsiteX5" fmla="*/ 35677 w 49693"/>
                <a:gd name="connsiteY5" fmla="*/ 102004 h 128690"/>
                <a:gd name="connsiteX6" fmla="*/ 46932 w 49693"/>
                <a:gd name="connsiteY6" fmla="*/ 92306 h 128690"/>
                <a:gd name="connsiteX7" fmla="*/ 49693 w 49693"/>
                <a:gd name="connsiteY7" fmla="*/ 74609 h 128690"/>
                <a:gd name="connsiteX8" fmla="*/ 49693 w 49693"/>
                <a:gd name="connsiteY8" fmla="*/ 64841 h 128690"/>
                <a:gd name="connsiteX9" fmla="*/ 48844 w 49693"/>
                <a:gd name="connsiteY9" fmla="*/ 54931 h 128690"/>
                <a:gd name="connsiteX10" fmla="*/ 47145 w 49693"/>
                <a:gd name="connsiteY10" fmla="*/ 44384 h 128690"/>
                <a:gd name="connsiteX11" fmla="*/ 44313 w 49693"/>
                <a:gd name="connsiteY11" fmla="*/ 33624 h 128690"/>
                <a:gd name="connsiteX12" fmla="*/ 39995 w 49693"/>
                <a:gd name="connsiteY12" fmla="*/ 22653 h 128690"/>
                <a:gd name="connsiteX13" fmla="*/ 33766 w 49693"/>
                <a:gd name="connsiteY13" fmla="*/ 12105 h 128690"/>
                <a:gd name="connsiteX14" fmla="*/ 25413 w 49693"/>
                <a:gd name="connsiteY14" fmla="*/ 3894 h 128690"/>
                <a:gd name="connsiteX15" fmla="*/ 16565 w 49693"/>
                <a:gd name="connsiteY15" fmla="*/ 213 h 128690"/>
                <a:gd name="connsiteX16" fmla="*/ 12672 w 49693"/>
                <a:gd name="connsiteY16" fmla="*/ 213 h 128690"/>
                <a:gd name="connsiteX17" fmla="*/ 9133 w 49693"/>
                <a:gd name="connsiteY17" fmla="*/ 1346 h 128690"/>
                <a:gd name="connsiteX18" fmla="*/ 3753 w 49693"/>
                <a:gd name="connsiteY18" fmla="*/ 6301 h 128690"/>
                <a:gd name="connsiteX19" fmla="*/ 851 w 49693"/>
                <a:gd name="connsiteY19" fmla="*/ 14229 h 128690"/>
                <a:gd name="connsiteX20" fmla="*/ 1 w 49693"/>
                <a:gd name="connsiteY20" fmla="*/ 23997 h 128690"/>
                <a:gd name="connsiteX21" fmla="*/ 3187 w 49693"/>
                <a:gd name="connsiteY21" fmla="*/ 30368 h 128690"/>
                <a:gd name="connsiteX22" fmla="*/ 7151 w 49693"/>
                <a:gd name="connsiteY22" fmla="*/ 29023 h 128690"/>
                <a:gd name="connsiteX23" fmla="*/ 7151 w 49693"/>
                <a:gd name="connsiteY23" fmla="*/ 27183 h 128690"/>
                <a:gd name="connsiteX24" fmla="*/ 6797 w 49693"/>
                <a:gd name="connsiteY24" fmla="*/ 18618 h 128690"/>
                <a:gd name="connsiteX25" fmla="*/ 7221 w 49693"/>
                <a:gd name="connsiteY25" fmla="*/ 14654 h 128690"/>
                <a:gd name="connsiteX26" fmla="*/ 8425 w 49693"/>
                <a:gd name="connsiteY26" fmla="*/ 11327 h 128690"/>
                <a:gd name="connsiteX27" fmla="*/ 12318 w 49693"/>
                <a:gd name="connsiteY27" fmla="*/ 6513 h 128690"/>
                <a:gd name="connsiteX28" fmla="*/ 15008 w 49693"/>
                <a:gd name="connsiteY28" fmla="*/ 5239 h 128690"/>
                <a:gd name="connsiteX29" fmla="*/ 18193 w 49693"/>
                <a:gd name="connsiteY29" fmla="*/ 5239 h 128690"/>
                <a:gd name="connsiteX30" fmla="*/ 25272 w 49693"/>
                <a:gd name="connsiteY30" fmla="*/ 7858 h 128690"/>
                <a:gd name="connsiteX31" fmla="*/ 32350 w 49693"/>
                <a:gd name="connsiteY31" fmla="*/ 14371 h 128690"/>
                <a:gd name="connsiteX32" fmla="*/ 37659 w 49693"/>
                <a:gd name="connsiteY32" fmla="*/ 23573 h 128690"/>
                <a:gd name="connsiteX33" fmla="*/ 41269 w 49693"/>
                <a:gd name="connsiteY33" fmla="*/ 33412 h 128690"/>
                <a:gd name="connsiteX34" fmla="*/ 43393 w 49693"/>
                <a:gd name="connsiteY34" fmla="*/ 43322 h 128690"/>
                <a:gd name="connsiteX35" fmla="*/ 44455 w 49693"/>
                <a:gd name="connsiteY35" fmla="*/ 52807 h 128690"/>
                <a:gd name="connsiteX36" fmla="*/ 44880 w 49693"/>
                <a:gd name="connsiteY36" fmla="*/ 62222 h 128690"/>
                <a:gd name="connsiteX37" fmla="*/ 44880 w 49693"/>
                <a:gd name="connsiteY37" fmla="*/ 71424 h 128690"/>
                <a:gd name="connsiteX38" fmla="*/ 42331 w 49693"/>
                <a:gd name="connsiteY38" fmla="*/ 87422 h 128690"/>
                <a:gd name="connsiteX39" fmla="*/ 34049 w 49693"/>
                <a:gd name="connsiteY39" fmla="*/ 94996 h 128690"/>
                <a:gd name="connsiteX40" fmla="*/ 34686 w 49693"/>
                <a:gd name="connsiteY40" fmla="*/ 94996 h 128690"/>
                <a:gd name="connsiteX41" fmla="*/ 23573 w 49693"/>
                <a:gd name="connsiteY41" fmla="*/ 92235 h 128690"/>
                <a:gd name="connsiteX42" fmla="*/ 18335 w 49693"/>
                <a:gd name="connsiteY42" fmla="*/ 93509 h 128690"/>
                <a:gd name="connsiteX43" fmla="*/ 15433 w 49693"/>
                <a:gd name="connsiteY43" fmla="*/ 98818 h 128690"/>
                <a:gd name="connsiteX44" fmla="*/ 15433 w 49693"/>
                <a:gd name="connsiteY44" fmla="*/ 111843 h 128690"/>
                <a:gd name="connsiteX45" fmla="*/ 14725 w 49693"/>
                <a:gd name="connsiteY45" fmla="*/ 123027 h 128690"/>
                <a:gd name="connsiteX46" fmla="*/ 16707 w 49693"/>
                <a:gd name="connsiteY46" fmla="*/ 127840 h 128690"/>
                <a:gd name="connsiteX47" fmla="*/ 19892 w 49693"/>
                <a:gd name="connsiteY47" fmla="*/ 127840 h 128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9693" h="128690">
                  <a:moveTo>
                    <a:pt x="19326" y="127132"/>
                  </a:moveTo>
                  <a:cubicBezTo>
                    <a:pt x="20216" y="123163"/>
                    <a:pt x="20574" y="119092"/>
                    <a:pt x="20388" y="115028"/>
                  </a:cubicBezTo>
                  <a:cubicBezTo>
                    <a:pt x="20062" y="111189"/>
                    <a:pt x="20062" y="107329"/>
                    <a:pt x="20388" y="103490"/>
                  </a:cubicBezTo>
                  <a:cubicBezTo>
                    <a:pt x="20883" y="100517"/>
                    <a:pt x="22582" y="99526"/>
                    <a:pt x="25484" y="99597"/>
                  </a:cubicBezTo>
                  <a:cubicBezTo>
                    <a:pt x="28770" y="99927"/>
                    <a:pt x="31989" y="100739"/>
                    <a:pt x="35040" y="102004"/>
                  </a:cubicBezTo>
                  <a:lnTo>
                    <a:pt x="35677" y="102004"/>
                  </a:lnTo>
                  <a:cubicBezTo>
                    <a:pt x="41977" y="102428"/>
                    <a:pt x="45163" y="97402"/>
                    <a:pt x="46932" y="92306"/>
                  </a:cubicBezTo>
                  <a:cubicBezTo>
                    <a:pt x="48718" y="86575"/>
                    <a:pt x="49648" y="80612"/>
                    <a:pt x="49693" y="74609"/>
                  </a:cubicBezTo>
                  <a:cubicBezTo>
                    <a:pt x="49693" y="71070"/>
                    <a:pt x="49693" y="68097"/>
                    <a:pt x="49693" y="64841"/>
                  </a:cubicBezTo>
                  <a:cubicBezTo>
                    <a:pt x="49604" y="61524"/>
                    <a:pt x="49320" y="58215"/>
                    <a:pt x="48844" y="54931"/>
                  </a:cubicBezTo>
                  <a:cubicBezTo>
                    <a:pt x="48277" y="51392"/>
                    <a:pt x="48065" y="47852"/>
                    <a:pt x="47145" y="44384"/>
                  </a:cubicBezTo>
                  <a:cubicBezTo>
                    <a:pt x="46225" y="40915"/>
                    <a:pt x="45658" y="37305"/>
                    <a:pt x="44313" y="33624"/>
                  </a:cubicBezTo>
                  <a:cubicBezTo>
                    <a:pt x="43089" y="29886"/>
                    <a:pt x="41648" y="26222"/>
                    <a:pt x="39995" y="22653"/>
                  </a:cubicBezTo>
                  <a:cubicBezTo>
                    <a:pt x="38275" y="18938"/>
                    <a:pt x="36188" y="15405"/>
                    <a:pt x="33766" y="12105"/>
                  </a:cubicBezTo>
                  <a:cubicBezTo>
                    <a:pt x="31364" y="9004"/>
                    <a:pt x="28555" y="6242"/>
                    <a:pt x="25413" y="3894"/>
                  </a:cubicBezTo>
                  <a:cubicBezTo>
                    <a:pt x="22808" y="1965"/>
                    <a:pt x="19770" y="701"/>
                    <a:pt x="16565" y="213"/>
                  </a:cubicBezTo>
                  <a:cubicBezTo>
                    <a:pt x="15283" y="-71"/>
                    <a:pt x="13954" y="-71"/>
                    <a:pt x="12672" y="213"/>
                  </a:cubicBezTo>
                  <a:cubicBezTo>
                    <a:pt x="11416" y="288"/>
                    <a:pt x="10199" y="678"/>
                    <a:pt x="9133" y="1346"/>
                  </a:cubicBezTo>
                  <a:cubicBezTo>
                    <a:pt x="6884" y="2422"/>
                    <a:pt x="5010" y="4148"/>
                    <a:pt x="3753" y="6301"/>
                  </a:cubicBezTo>
                  <a:cubicBezTo>
                    <a:pt x="2343" y="8760"/>
                    <a:pt x="1362" y="11441"/>
                    <a:pt x="851" y="14229"/>
                  </a:cubicBezTo>
                  <a:cubicBezTo>
                    <a:pt x="263" y="17451"/>
                    <a:pt x="-22" y="20722"/>
                    <a:pt x="1" y="23997"/>
                  </a:cubicBezTo>
                  <a:cubicBezTo>
                    <a:pt x="-16" y="26508"/>
                    <a:pt x="1168" y="28875"/>
                    <a:pt x="3187" y="30368"/>
                  </a:cubicBezTo>
                  <a:cubicBezTo>
                    <a:pt x="5098" y="31713"/>
                    <a:pt x="6868" y="31147"/>
                    <a:pt x="7151" y="29023"/>
                  </a:cubicBezTo>
                  <a:lnTo>
                    <a:pt x="7151" y="27183"/>
                  </a:lnTo>
                  <a:cubicBezTo>
                    <a:pt x="6720" y="24349"/>
                    <a:pt x="6602" y="21478"/>
                    <a:pt x="6797" y="18618"/>
                  </a:cubicBezTo>
                  <a:cubicBezTo>
                    <a:pt x="6864" y="17290"/>
                    <a:pt x="7006" y="15966"/>
                    <a:pt x="7221" y="14654"/>
                  </a:cubicBezTo>
                  <a:lnTo>
                    <a:pt x="8425" y="11327"/>
                  </a:lnTo>
                  <a:cubicBezTo>
                    <a:pt x="9260" y="9398"/>
                    <a:pt x="10606" y="7733"/>
                    <a:pt x="12318" y="6513"/>
                  </a:cubicBezTo>
                  <a:cubicBezTo>
                    <a:pt x="13039" y="5789"/>
                    <a:pt x="13990" y="5338"/>
                    <a:pt x="15008" y="5239"/>
                  </a:cubicBezTo>
                  <a:cubicBezTo>
                    <a:pt x="16056" y="4997"/>
                    <a:pt x="17145" y="4997"/>
                    <a:pt x="18193" y="5239"/>
                  </a:cubicBezTo>
                  <a:cubicBezTo>
                    <a:pt x="20742" y="5476"/>
                    <a:pt x="23183" y="6379"/>
                    <a:pt x="25272" y="7858"/>
                  </a:cubicBezTo>
                  <a:cubicBezTo>
                    <a:pt x="27972" y="9627"/>
                    <a:pt x="30363" y="11827"/>
                    <a:pt x="32350" y="14371"/>
                  </a:cubicBezTo>
                  <a:cubicBezTo>
                    <a:pt x="34420" y="17255"/>
                    <a:pt x="36198" y="20337"/>
                    <a:pt x="37659" y="23573"/>
                  </a:cubicBezTo>
                  <a:cubicBezTo>
                    <a:pt x="39152" y="26739"/>
                    <a:pt x="40361" y="30031"/>
                    <a:pt x="41269" y="33412"/>
                  </a:cubicBezTo>
                  <a:cubicBezTo>
                    <a:pt x="42331" y="36739"/>
                    <a:pt x="42685" y="40066"/>
                    <a:pt x="43393" y="43322"/>
                  </a:cubicBezTo>
                  <a:cubicBezTo>
                    <a:pt x="43914" y="46463"/>
                    <a:pt x="44268" y="49629"/>
                    <a:pt x="44455" y="52807"/>
                  </a:cubicBezTo>
                  <a:cubicBezTo>
                    <a:pt x="44808" y="55933"/>
                    <a:pt x="44950" y="59078"/>
                    <a:pt x="44880" y="62222"/>
                  </a:cubicBezTo>
                  <a:cubicBezTo>
                    <a:pt x="44880" y="65266"/>
                    <a:pt x="44880" y="68805"/>
                    <a:pt x="44880" y="71424"/>
                  </a:cubicBezTo>
                  <a:cubicBezTo>
                    <a:pt x="44831" y="76854"/>
                    <a:pt x="43973" y="82246"/>
                    <a:pt x="42331" y="87422"/>
                  </a:cubicBezTo>
                  <a:cubicBezTo>
                    <a:pt x="40774" y="91952"/>
                    <a:pt x="38013" y="95350"/>
                    <a:pt x="34049" y="94996"/>
                  </a:cubicBezTo>
                  <a:lnTo>
                    <a:pt x="34686" y="94996"/>
                  </a:lnTo>
                  <a:cubicBezTo>
                    <a:pt x="31147" y="93506"/>
                    <a:pt x="27398" y="92574"/>
                    <a:pt x="23573" y="92235"/>
                  </a:cubicBezTo>
                  <a:cubicBezTo>
                    <a:pt x="21738" y="92114"/>
                    <a:pt x="19909" y="92559"/>
                    <a:pt x="18335" y="93509"/>
                  </a:cubicBezTo>
                  <a:cubicBezTo>
                    <a:pt x="16715" y="94836"/>
                    <a:pt x="15675" y="96739"/>
                    <a:pt x="15433" y="98818"/>
                  </a:cubicBezTo>
                  <a:cubicBezTo>
                    <a:pt x="14975" y="103147"/>
                    <a:pt x="14975" y="107513"/>
                    <a:pt x="15433" y="111843"/>
                  </a:cubicBezTo>
                  <a:cubicBezTo>
                    <a:pt x="15710" y="115586"/>
                    <a:pt x="15472" y="119349"/>
                    <a:pt x="14725" y="123027"/>
                  </a:cubicBezTo>
                  <a:cubicBezTo>
                    <a:pt x="14553" y="124860"/>
                    <a:pt x="15294" y="126660"/>
                    <a:pt x="16707" y="127840"/>
                  </a:cubicBezTo>
                  <a:cubicBezTo>
                    <a:pt x="18122" y="129044"/>
                    <a:pt x="19538" y="128902"/>
                    <a:pt x="19892" y="127840"/>
                  </a:cubicBezTo>
                  <a:close/>
                </a:path>
              </a:pathLst>
            </a:custGeom>
            <a:solidFill>
              <a:srgbClr val="2E475E"/>
            </a:solidFill>
            <a:ln w="70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537" name="Red dress">
            <a:extLst>
              <a:ext uri="{FF2B5EF4-FFF2-40B4-BE49-F238E27FC236}">
                <a16:creationId xmlns:a16="http://schemas.microsoft.com/office/drawing/2014/main" id="{83818DB9-3205-44BA-A2D5-4CF3328090B4}"/>
              </a:ext>
            </a:extLst>
          </p:cNvPr>
          <p:cNvGrpSpPr>
            <a:grpSpLocks noChangeAspect="1"/>
          </p:cNvGrpSpPr>
          <p:nvPr/>
        </p:nvGrpSpPr>
        <p:grpSpPr>
          <a:xfrm>
            <a:off x="3058167" y="3192746"/>
            <a:ext cx="374462" cy="1238706"/>
            <a:chOff x="5256969" y="4439827"/>
            <a:chExt cx="607300" cy="2008927"/>
          </a:xfrm>
          <a:solidFill>
            <a:srgbClr val="FF0000"/>
          </a:solidFill>
        </p:grpSpPr>
        <p:grpSp>
          <p:nvGrpSpPr>
            <p:cNvPr id="534" name="dress">
              <a:extLst>
                <a:ext uri="{FF2B5EF4-FFF2-40B4-BE49-F238E27FC236}">
                  <a16:creationId xmlns:a16="http://schemas.microsoft.com/office/drawing/2014/main" id="{A3FE0043-3253-4FC4-AC93-B7FF2D509BEF}"/>
                </a:ext>
              </a:extLst>
            </p:cNvPr>
            <p:cNvGrpSpPr/>
            <p:nvPr/>
          </p:nvGrpSpPr>
          <p:grpSpPr>
            <a:xfrm>
              <a:off x="5256969" y="4638622"/>
              <a:ext cx="607300" cy="1810132"/>
              <a:chOff x="5256969" y="4638622"/>
              <a:chExt cx="607300" cy="1810132"/>
            </a:xfrm>
            <a:grpFill/>
          </p:grpSpPr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EC70B83D-125A-4016-8B06-68B7C67B82CB}"/>
                  </a:ext>
                </a:extLst>
              </p:cNvPr>
              <p:cNvSpPr/>
              <p:nvPr/>
            </p:nvSpPr>
            <p:spPr>
              <a:xfrm>
                <a:off x="5355439" y="4655793"/>
                <a:ext cx="17907" cy="197777"/>
              </a:xfrm>
              <a:custGeom>
                <a:avLst/>
                <a:gdLst>
                  <a:gd name="connsiteX0" fmla="*/ 400 w 7973"/>
                  <a:gd name="connsiteY0" fmla="*/ 0 h 88057"/>
                  <a:gd name="connsiteX1" fmla="*/ 1674 w 7973"/>
                  <a:gd name="connsiteY1" fmla="*/ 83315 h 88057"/>
                  <a:gd name="connsiteX2" fmla="*/ 7974 w 7973"/>
                  <a:gd name="connsiteY2" fmla="*/ 88058 h 88057"/>
                  <a:gd name="connsiteX3" fmla="*/ 4505 w 7973"/>
                  <a:gd name="connsiteY3" fmla="*/ 212 h 8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73" h="88057">
                    <a:moveTo>
                      <a:pt x="400" y="0"/>
                    </a:moveTo>
                    <a:cubicBezTo>
                      <a:pt x="400" y="0"/>
                      <a:pt x="-1087" y="21236"/>
                      <a:pt x="1674" y="83315"/>
                    </a:cubicBezTo>
                    <a:lnTo>
                      <a:pt x="7974" y="88058"/>
                    </a:lnTo>
                    <a:cubicBezTo>
                      <a:pt x="4906" y="58883"/>
                      <a:pt x="3747" y="29538"/>
                      <a:pt x="4505" y="212"/>
                    </a:cubicBezTo>
                    <a:close/>
                  </a:path>
                </a:pathLst>
              </a:custGeom>
              <a:grpFill/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7F59F6C0-59C9-4452-A388-DE2BD1EC3D3D}"/>
                  </a:ext>
                </a:extLst>
              </p:cNvPr>
              <p:cNvSpPr/>
              <p:nvPr/>
            </p:nvSpPr>
            <p:spPr>
              <a:xfrm>
                <a:off x="5359198" y="4842920"/>
                <a:ext cx="400644" cy="469804"/>
              </a:xfrm>
              <a:custGeom>
                <a:avLst/>
                <a:gdLst>
                  <a:gd name="connsiteX0" fmla="*/ 0 w 178380"/>
                  <a:gd name="connsiteY0" fmla="*/ 0 h 209172"/>
                  <a:gd name="connsiteX1" fmla="*/ 52735 w 178380"/>
                  <a:gd name="connsiteY1" fmla="*/ 166134 h 209172"/>
                  <a:gd name="connsiteX2" fmla="*/ 127273 w 178380"/>
                  <a:gd name="connsiteY2" fmla="*/ 209172 h 209172"/>
                  <a:gd name="connsiteX3" fmla="*/ 178380 w 178380"/>
                  <a:gd name="connsiteY3" fmla="*/ 102993 h 209172"/>
                  <a:gd name="connsiteX4" fmla="*/ 89686 w 178380"/>
                  <a:gd name="connsiteY4" fmla="*/ 78218 h 209172"/>
                  <a:gd name="connsiteX5" fmla="*/ 0 w 178380"/>
                  <a:gd name="connsiteY5" fmla="*/ 0 h 209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380" h="209172">
                    <a:moveTo>
                      <a:pt x="0" y="0"/>
                    </a:moveTo>
                    <a:lnTo>
                      <a:pt x="52735" y="166134"/>
                    </a:lnTo>
                    <a:lnTo>
                      <a:pt x="127273" y="209172"/>
                    </a:lnTo>
                    <a:cubicBezTo>
                      <a:pt x="127273" y="209172"/>
                      <a:pt x="169745" y="122955"/>
                      <a:pt x="178380" y="102993"/>
                    </a:cubicBezTo>
                    <a:cubicBezTo>
                      <a:pt x="128830" y="62008"/>
                      <a:pt x="89686" y="78218"/>
                      <a:pt x="89686" y="78218"/>
                    </a:cubicBezTo>
                    <a:cubicBezTo>
                      <a:pt x="89686" y="78218"/>
                      <a:pt x="47851" y="22085"/>
                      <a:pt x="0" y="0"/>
                    </a:cubicBezTo>
                    <a:close/>
                  </a:path>
                </a:pathLst>
              </a:custGeom>
              <a:solidFill>
                <a:srgbClr val="7F220F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1F92B58A-0A97-43D5-8150-9513F44D42D0}"/>
                  </a:ext>
                </a:extLst>
              </p:cNvPr>
              <p:cNvSpPr/>
              <p:nvPr/>
            </p:nvSpPr>
            <p:spPr>
              <a:xfrm>
                <a:off x="5256969" y="5208616"/>
                <a:ext cx="607298" cy="1240138"/>
              </a:xfrm>
              <a:custGeom>
                <a:avLst/>
                <a:gdLst>
                  <a:gd name="connsiteX0" fmla="*/ 98251 w 270389"/>
                  <a:gd name="connsiteY0" fmla="*/ 3315 h 552150"/>
                  <a:gd name="connsiteX1" fmla="*/ 0 w 270389"/>
                  <a:gd name="connsiteY1" fmla="*/ 396672 h 552150"/>
                  <a:gd name="connsiteX2" fmla="*/ 133927 w 270389"/>
                  <a:gd name="connsiteY2" fmla="*/ 505753 h 552150"/>
                  <a:gd name="connsiteX3" fmla="*/ 269199 w 270389"/>
                  <a:gd name="connsiteY3" fmla="*/ 552047 h 552150"/>
                  <a:gd name="connsiteX4" fmla="*/ 172788 w 270389"/>
                  <a:gd name="connsiteY4" fmla="*/ 46353 h 552150"/>
                  <a:gd name="connsiteX5" fmla="*/ 98251 w 270389"/>
                  <a:gd name="connsiteY5" fmla="*/ 3315 h 552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389" h="552150">
                    <a:moveTo>
                      <a:pt x="98251" y="3315"/>
                    </a:moveTo>
                    <a:cubicBezTo>
                      <a:pt x="-16422" y="183819"/>
                      <a:pt x="4176" y="254746"/>
                      <a:pt x="0" y="396672"/>
                    </a:cubicBezTo>
                    <a:cubicBezTo>
                      <a:pt x="0" y="396672"/>
                      <a:pt x="46011" y="454929"/>
                      <a:pt x="133927" y="505753"/>
                    </a:cubicBezTo>
                    <a:cubicBezTo>
                      <a:pt x="221843" y="556577"/>
                      <a:pt x="269199" y="552047"/>
                      <a:pt x="269199" y="552047"/>
                    </a:cubicBezTo>
                    <a:cubicBezTo>
                      <a:pt x="269199" y="471847"/>
                      <a:pt x="288382" y="344007"/>
                      <a:pt x="172788" y="46353"/>
                    </a:cubicBezTo>
                    <a:cubicBezTo>
                      <a:pt x="172788" y="46353"/>
                      <a:pt x="138245" y="-14665"/>
                      <a:pt x="98251" y="3315"/>
                    </a:cubicBezTo>
                    <a:close/>
                  </a:path>
                </a:pathLst>
              </a:custGeom>
              <a:solidFill>
                <a:srgbClr val="7F220F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EC744F28-29D5-4126-907B-429EC018C9E5}"/>
                  </a:ext>
                </a:extLst>
              </p:cNvPr>
              <p:cNvSpPr/>
              <p:nvPr/>
            </p:nvSpPr>
            <p:spPr>
              <a:xfrm>
                <a:off x="5412777" y="4880599"/>
                <a:ext cx="451492" cy="1567667"/>
              </a:xfrm>
              <a:custGeom>
                <a:avLst/>
                <a:gdLst>
                  <a:gd name="connsiteX0" fmla="*/ 103418 w 201019"/>
                  <a:gd name="connsiteY0" fmla="*/ 192396 h 697977"/>
                  <a:gd name="connsiteX1" fmla="*/ 154526 w 201019"/>
                  <a:gd name="connsiteY1" fmla="*/ 86217 h 697977"/>
                  <a:gd name="connsiteX2" fmla="*/ 155729 w 201019"/>
                  <a:gd name="connsiteY2" fmla="*/ 4318 h 697977"/>
                  <a:gd name="connsiteX3" fmla="*/ 151765 w 201019"/>
                  <a:gd name="connsiteY3" fmla="*/ 0 h 697977"/>
                  <a:gd name="connsiteX4" fmla="*/ 148438 w 201019"/>
                  <a:gd name="connsiteY4" fmla="*/ 81333 h 697977"/>
                  <a:gd name="connsiteX5" fmla="*/ 136688 w 201019"/>
                  <a:gd name="connsiteY5" fmla="*/ 73547 h 697977"/>
                  <a:gd name="connsiteX6" fmla="*/ 85863 w 201019"/>
                  <a:gd name="connsiteY6" fmla="*/ 179017 h 697977"/>
                  <a:gd name="connsiteX7" fmla="*/ 182274 w 201019"/>
                  <a:gd name="connsiteY7" fmla="*/ 684712 h 697977"/>
                  <a:gd name="connsiteX8" fmla="*/ 47073 w 201019"/>
                  <a:gd name="connsiteY8" fmla="*/ 638418 h 697977"/>
                  <a:gd name="connsiteX9" fmla="*/ 0 w 201019"/>
                  <a:gd name="connsiteY9" fmla="*/ 608051 h 697977"/>
                  <a:gd name="connsiteX10" fmla="*/ 64557 w 201019"/>
                  <a:gd name="connsiteY10" fmla="*/ 651584 h 697977"/>
                  <a:gd name="connsiteX11" fmla="*/ 199829 w 201019"/>
                  <a:gd name="connsiteY11" fmla="*/ 697878 h 697977"/>
                  <a:gd name="connsiteX12" fmla="*/ 103418 w 201019"/>
                  <a:gd name="connsiteY12" fmla="*/ 192396 h 69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1019" h="697977">
                    <a:moveTo>
                      <a:pt x="103418" y="192396"/>
                    </a:moveTo>
                    <a:cubicBezTo>
                      <a:pt x="103418" y="192396"/>
                      <a:pt x="145890" y="106179"/>
                      <a:pt x="154526" y="86217"/>
                    </a:cubicBezTo>
                    <a:cubicBezTo>
                      <a:pt x="157286" y="27323"/>
                      <a:pt x="155729" y="4318"/>
                      <a:pt x="155729" y="4318"/>
                    </a:cubicBezTo>
                    <a:lnTo>
                      <a:pt x="151765" y="0"/>
                    </a:lnTo>
                    <a:cubicBezTo>
                      <a:pt x="152589" y="27156"/>
                      <a:pt x="151478" y="54335"/>
                      <a:pt x="148438" y="81333"/>
                    </a:cubicBezTo>
                    <a:cubicBezTo>
                      <a:pt x="144666" y="78526"/>
                      <a:pt x="140743" y="75926"/>
                      <a:pt x="136688" y="73547"/>
                    </a:cubicBezTo>
                    <a:cubicBezTo>
                      <a:pt x="127273" y="94782"/>
                      <a:pt x="85863" y="179017"/>
                      <a:pt x="85863" y="179017"/>
                    </a:cubicBezTo>
                    <a:cubicBezTo>
                      <a:pt x="201457" y="476672"/>
                      <a:pt x="182274" y="604511"/>
                      <a:pt x="182274" y="684712"/>
                    </a:cubicBezTo>
                    <a:cubicBezTo>
                      <a:pt x="182274" y="684712"/>
                      <a:pt x="134989" y="689242"/>
                      <a:pt x="47073" y="638418"/>
                    </a:cubicBezTo>
                    <a:cubicBezTo>
                      <a:pt x="29730" y="628437"/>
                      <a:pt x="14016" y="618102"/>
                      <a:pt x="0" y="608051"/>
                    </a:cubicBezTo>
                    <a:cubicBezTo>
                      <a:pt x="20500" y="624020"/>
                      <a:pt x="42069" y="638566"/>
                      <a:pt x="64557" y="651584"/>
                    </a:cubicBezTo>
                    <a:cubicBezTo>
                      <a:pt x="152544" y="702337"/>
                      <a:pt x="199829" y="697878"/>
                      <a:pt x="199829" y="697878"/>
                    </a:cubicBezTo>
                    <a:cubicBezTo>
                      <a:pt x="199829" y="617890"/>
                      <a:pt x="219012" y="490051"/>
                      <a:pt x="103418" y="192396"/>
                    </a:cubicBezTo>
                    <a:close/>
                  </a:path>
                </a:pathLst>
              </a:custGeom>
              <a:grpFill/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72F26A7F-0E0F-408B-8DB4-E3D0FB2D2D31}"/>
                  </a:ext>
                </a:extLst>
              </p:cNvPr>
              <p:cNvSpPr/>
              <p:nvPr/>
            </p:nvSpPr>
            <p:spPr>
              <a:xfrm>
                <a:off x="5343139" y="4638622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grpFill/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536" name="hanger">
              <a:extLst>
                <a:ext uri="{FF2B5EF4-FFF2-40B4-BE49-F238E27FC236}">
                  <a16:creationId xmlns:a16="http://schemas.microsoft.com/office/drawing/2014/main" id="{8DF3AA72-6372-40A5-AEBF-1C80BC4F46E3}"/>
                </a:ext>
              </a:extLst>
            </p:cNvPr>
            <p:cNvGrpSpPr/>
            <p:nvPr/>
          </p:nvGrpSpPr>
          <p:grpSpPr>
            <a:xfrm>
              <a:off x="5308733" y="4439827"/>
              <a:ext cx="498180" cy="472461"/>
              <a:chOff x="5308733" y="4439827"/>
              <a:chExt cx="498180" cy="472461"/>
            </a:xfrm>
            <a:grpFill/>
          </p:grpSpPr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31DE40AC-FB5B-482B-B1C7-B451B7168434}"/>
                  </a:ext>
                </a:extLst>
              </p:cNvPr>
              <p:cNvSpPr/>
              <p:nvPr/>
            </p:nvSpPr>
            <p:spPr>
              <a:xfrm>
                <a:off x="5753484" y="4875512"/>
                <a:ext cx="20668" cy="33068"/>
              </a:xfrm>
              <a:custGeom>
                <a:avLst/>
                <a:gdLst>
                  <a:gd name="connsiteX0" fmla="*/ 0 w 9202"/>
                  <a:gd name="connsiteY0" fmla="*/ 9344 h 14723"/>
                  <a:gd name="connsiteX1" fmla="*/ 9202 w 9202"/>
                  <a:gd name="connsiteY1" fmla="*/ 14723 h 14723"/>
                  <a:gd name="connsiteX2" fmla="*/ 9202 w 9202"/>
                  <a:gd name="connsiteY2" fmla="*/ 5309 h 14723"/>
                  <a:gd name="connsiteX3" fmla="*/ 0 w 9202"/>
                  <a:gd name="connsiteY3" fmla="*/ 0 h 14723"/>
                  <a:gd name="connsiteX4" fmla="*/ 0 w 9202"/>
                  <a:gd name="connsiteY4" fmla="*/ 9344 h 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723">
                    <a:moveTo>
                      <a:pt x="0" y="9344"/>
                    </a:moveTo>
                    <a:lnTo>
                      <a:pt x="9202" y="1472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grpFill/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2DA48632-D32D-47A7-AAC5-1F57754085FB}"/>
                  </a:ext>
                </a:extLst>
              </p:cNvPr>
              <p:cNvSpPr/>
              <p:nvPr/>
            </p:nvSpPr>
            <p:spPr>
              <a:xfrm>
                <a:off x="5308733" y="4615448"/>
                <a:ext cx="498180" cy="296840"/>
              </a:xfrm>
              <a:custGeom>
                <a:avLst/>
                <a:gdLst>
                  <a:gd name="connsiteX0" fmla="*/ 221802 w 221806"/>
                  <a:gd name="connsiteY0" fmla="*/ 131999 h 132163"/>
                  <a:gd name="connsiteX1" fmla="*/ 108545 w 221806"/>
                  <a:gd name="connsiteY1" fmla="*/ 43658 h 132163"/>
                  <a:gd name="connsiteX2" fmla="*/ 30 w 221806"/>
                  <a:gd name="connsiteY2" fmla="*/ 550 h 132163"/>
                  <a:gd name="connsiteX3" fmla="*/ 109536 w 221806"/>
                  <a:gd name="connsiteY3" fmla="*/ 59585 h 132163"/>
                  <a:gd name="connsiteX4" fmla="*/ 221802 w 221806"/>
                  <a:gd name="connsiteY4" fmla="*/ 131999 h 132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06" h="132163">
                    <a:moveTo>
                      <a:pt x="221802" y="131999"/>
                    </a:moveTo>
                    <a:cubicBezTo>
                      <a:pt x="222227" y="127823"/>
                      <a:pt x="194620" y="115860"/>
                      <a:pt x="108545" y="43658"/>
                    </a:cubicBezTo>
                    <a:cubicBezTo>
                      <a:pt x="52836" y="28864"/>
                      <a:pt x="-1457" y="-4688"/>
                      <a:pt x="30" y="550"/>
                    </a:cubicBezTo>
                    <a:cubicBezTo>
                      <a:pt x="1516" y="5788"/>
                      <a:pt x="109536" y="59585"/>
                      <a:pt x="109536" y="59585"/>
                    </a:cubicBezTo>
                    <a:cubicBezTo>
                      <a:pt x="109536" y="59585"/>
                      <a:pt x="221306" y="136175"/>
                      <a:pt x="221802" y="131999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9906112D-5ACF-4BA6-9FBC-6A093B3BD98F}"/>
                  </a:ext>
                </a:extLst>
              </p:cNvPr>
              <p:cNvSpPr/>
              <p:nvPr/>
            </p:nvSpPr>
            <p:spPr>
              <a:xfrm>
                <a:off x="5512141" y="4439827"/>
                <a:ext cx="110814" cy="289204"/>
              </a:xfrm>
              <a:custGeom>
                <a:avLst/>
                <a:gdLst>
                  <a:gd name="connsiteX0" fmla="*/ 19255 w 49338"/>
                  <a:gd name="connsiteY0" fmla="*/ 127230 h 128763"/>
                  <a:gd name="connsiteX1" fmla="*/ 20317 w 49338"/>
                  <a:gd name="connsiteY1" fmla="*/ 114772 h 128763"/>
                  <a:gd name="connsiteX2" fmla="*/ 20317 w 49338"/>
                  <a:gd name="connsiteY2" fmla="*/ 103305 h 128763"/>
                  <a:gd name="connsiteX3" fmla="*/ 25342 w 49338"/>
                  <a:gd name="connsiteY3" fmla="*/ 99341 h 128763"/>
                  <a:gd name="connsiteX4" fmla="*/ 34898 w 49338"/>
                  <a:gd name="connsiteY4" fmla="*/ 101747 h 128763"/>
                  <a:gd name="connsiteX5" fmla="*/ 34898 w 49338"/>
                  <a:gd name="connsiteY5" fmla="*/ 101747 h 128763"/>
                  <a:gd name="connsiteX6" fmla="*/ 35323 w 49338"/>
                  <a:gd name="connsiteY6" fmla="*/ 101747 h 128763"/>
                  <a:gd name="connsiteX7" fmla="*/ 46578 w 49338"/>
                  <a:gd name="connsiteY7" fmla="*/ 91979 h 128763"/>
                  <a:gd name="connsiteX8" fmla="*/ 49339 w 49338"/>
                  <a:gd name="connsiteY8" fmla="*/ 74283 h 128763"/>
                  <a:gd name="connsiteX9" fmla="*/ 49339 w 49338"/>
                  <a:gd name="connsiteY9" fmla="*/ 64514 h 128763"/>
                  <a:gd name="connsiteX10" fmla="*/ 48489 w 49338"/>
                  <a:gd name="connsiteY10" fmla="*/ 54604 h 128763"/>
                  <a:gd name="connsiteX11" fmla="*/ 46790 w 49338"/>
                  <a:gd name="connsiteY11" fmla="*/ 44128 h 128763"/>
                  <a:gd name="connsiteX12" fmla="*/ 43959 w 49338"/>
                  <a:gd name="connsiteY12" fmla="*/ 33298 h 128763"/>
                  <a:gd name="connsiteX13" fmla="*/ 39712 w 49338"/>
                  <a:gd name="connsiteY13" fmla="*/ 22750 h 128763"/>
                  <a:gd name="connsiteX14" fmla="*/ 33837 w 49338"/>
                  <a:gd name="connsiteY14" fmla="*/ 12133 h 128763"/>
                  <a:gd name="connsiteX15" fmla="*/ 25484 w 49338"/>
                  <a:gd name="connsiteY15" fmla="*/ 3851 h 128763"/>
                  <a:gd name="connsiteX16" fmla="*/ 16706 w 49338"/>
                  <a:gd name="connsiteY16" fmla="*/ 240 h 128763"/>
                  <a:gd name="connsiteX17" fmla="*/ 12742 w 49338"/>
                  <a:gd name="connsiteY17" fmla="*/ 240 h 128763"/>
                  <a:gd name="connsiteX18" fmla="*/ 9203 w 49338"/>
                  <a:gd name="connsiteY18" fmla="*/ 1373 h 128763"/>
                  <a:gd name="connsiteX19" fmla="*/ 3823 w 49338"/>
                  <a:gd name="connsiteY19" fmla="*/ 6328 h 128763"/>
                  <a:gd name="connsiteX20" fmla="*/ 850 w 49338"/>
                  <a:gd name="connsiteY20" fmla="*/ 14256 h 128763"/>
                  <a:gd name="connsiteX21" fmla="*/ 1 w 49338"/>
                  <a:gd name="connsiteY21" fmla="*/ 24025 h 128763"/>
                  <a:gd name="connsiteX22" fmla="*/ 3186 w 49338"/>
                  <a:gd name="connsiteY22" fmla="*/ 30395 h 128763"/>
                  <a:gd name="connsiteX23" fmla="*/ 7150 w 49338"/>
                  <a:gd name="connsiteY23" fmla="*/ 29050 h 128763"/>
                  <a:gd name="connsiteX24" fmla="*/ 7150 w 49338"/>
                  <a:gd name="connsiteY24" fmla="*/ 27210 h 128763"/>
                  <a:gd name="connsiteX25" fmla="*/ 6796 w 49338"/>
                  <a:gd name="connsiteY25" fmla="*/ 18645 h 128763"/>
                  <a:gd name="connsiteX26" fmla="*/ 7221 w 49338"/>
                  <a:gd name="connsiteY26" fmla="*/ 14752 h 128763"/>
                  <a:gd name="connsiteX27" fmla="*/ 8425 w 49338"/>
                  <a:gd name="connsiteY27" fmla="*/ 11354 h 128763"/>
                  <a:gd name="connsiteX28" fmla="*/ 12318 w 49338"/>
                  <a:gd name="connsiteY28" fmla="*/ 6611 h 128763"/>
                  <a:gd name="connsiteX29" fmla="*/ 15078 w 49338"/>
                  <a:gd name="connsiteY29" fmla="*/ 5337 h 128763"/>
                  <a:gd name="connsiteX30" fmla="*/ 18193 w 49338"/>
                  <a:gd name="connsiteY30" fmla="*/ 5337 h 128763"/>
                  <a:gd name="connsiteX31" fmla="*/ 25272 w 49338"/>
                  <a:gd name="connsiteY31" fmla="*/ 7885 h 128763"/>
                  <a:gd name="connsiteX32" fmla="*/ 32350 w 49338"/>
                  <a:gd name="connsiteY32" fmla="*/ 14398 h 128763"/>
                  <a:gd name="connsiteX33" fmla="*/ 37588 w 49338"/>
                  <a:gd name="connsiteY33" fmla="*/ 23600 h 128763"/>
                  <a:gd name="connsiteX34" fmla="*/ 41198 w 49338"/>
                  <a:gd name="connsiteY34" fmla="*/ 33510 h 128763"/>
                  <a:gd name="connsiteX35" fmla="*/ 43393 w 49338"/>
                  <a:gd name="connsiteY35" fmla="*/ 43420 h 128763"/>
                  <a:gd name="connsiteX36" fmla="*/ 44384 w 49338"/>
                  <a:gd name="connsiteY36" fmla="*/ 52905 h 128763"/>
                  <a:gd name="connsiteX37" fmla="*/ 44879 w 49338"/>
                  <a:gd name="connsiteY37" fmla="*/ 62320 h 128763"/>
                  <a:gd name="connsiteX38" fmla="*/ 44879 w 49338"/>
                  <a:gd name="connsiteY38" fmla="*/ 71451 h 128763"/>
                  <a:gd name="connsiteX39" fmla="*/ 42331 w 49338"/>
                  <a:gd name="connsiteY39" fmla="*/ 87449 h 128763"/>
                  <a:gd name="connsiteX40" fmla="*/ 34049 w 49338"/>
                  <a:gd name="connsiteY40" fmla="*/ 95094 h 128763"/>
                  <a:gd name="connsiteX41" fmla="*/ 34686 w 49338"/>
                  <a:gd name="connsiteY41" fmla="*/ 95094 h 128763"/>
                  <a:gd name="connsiteX42" fmla="*/ 23573 w 49338"/>
                  <a:gd name="connsiteY42" fmla="*/ 92262 h 128763"/>
                  <a:gd name="connsiteX43" fmla="*/ 18335 w 49338"/>
                  <a:gd name="connsiteY43" fmla="*/ 93536 h 128763"/>
                  <a:gd name="connsiteX44" fmla="*/ 15432 w 49338"/>
                  <a:gd name="connsiteY44" fmla="*/ 98916 h 128763"/>
                  <a:gd name="connsiteX45" fmla="*/ 15432 w 49338"/>
                  <a:gd name="connsiteY45" fmla="*/ 111941 h 128763"/>
                  <a:gd name="connsiteX46" fmla="*/ 14724 w 49338"/>
                  <a:gd name="connsiteY46" fmla="*/ 123054 h 128763"/>
                  <a:gd name="connsiteX47" fmla="*/ 16706 w 49338"/>
                  <a:gd name="connsiteY47" fmla="*/ 127938 h 128763"/>
                  <a:gd name="connsiteX48" fmla="*/ 19892 w 49338"/>
                  <a:gd name="connsiteY48" fmla="*/ 127938 h 128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9338" h="128763">
                    <a:moveTo>
                      <a:pt x="19255" y="127230"/>
                    </a:moveTo>
                    <a:cubicBezTo>
                      <a:pt x="20181" y="123147"/>
                      <a:pt x="20538" y="118954"/>
                      <a:pt x="20317" y="114772"/>
                    </a:cubicBezTo>
                    <a:cubicBezTo>
                      <a:pt x="19951" y="110958"/>
                      <a:pt x="19951" y="107119"/>
                      <a:pt x="20317" y="103305"/>
                    </a:cubicBezTo>
                    <a:cubicBezTo>
                      <a:pt x="20741" y="100332"/>
                      <a:pt x="22440" y="99270"/>
                      <a:pt x="25342" y="99341"/>
                    </a:cubicBezTo>
                    <a:cubicBezTo>
                      <a:pt x="28628" y="99671"/>
                      <a:pt x="31848" y="100482"/>
                      <a:pt x="34898" y="101747"/>
                    </a:cubicBezTo>
                    <a:lnTo>
                      <a:pt x="34898" y="101747"/>
                    </a:lnTo>
                    <a:lnTo>
                      <a:pt x="35323" y="101747"/>
                    </a:lnTo>
                    <a:cubicBezTo>
                      <a:pt x="41623" y="101747"/>
                      <a:pt x="44808" y="97146"/>
                      <a:pt x="46578" y="91979"/>
                    </a:cubicBezTo>
                    <a:cubicBezTo>
                      <a:pt x="48409" y="86259"/>
                      <a:pt x="49341" y="80289"/>
                      <a:pt x="49339" y="74283"/>
                    </a:cubicBezTo>
                    <a:cubicBezTo>
                      <a:pt x="49339" y="70814"/>
                      <a:pt x="49339" y="67841"/>
                      <a:pt x="49339" y="64514"/>
                    </a:cubicBezTo>
                    <a:cubicBezTo>
                      <a:pt x="49284" y="61195"/>
                      <a:pt x="49000" y="57884"/>
                      <a:pt x="48489" y="54604"/>
                    </a:cubicBezTo>
                    <a:cubicBezTo>
                      <a:pt x="47923" y="51065"/>
                      <a:pt x="47711" y="47525"/>
                      <a:pt x="46790" y="44128"/>
                    </a:cubicBezTo>
                    <a:cubicBezTo>
                      <a:pt x="45870" y="40730"/>
                      <a:pt x="45304" y="37049"/>
                      <a:pt x="43959" y="33298"/>
                    </a:cubicBezTo>
                    <a:cubicBezTo>
                      <a:pt x="42775" y="29693"/>
                      <a:pt x="41356" y="26170"/>
                      <a:pt x="39712" y="22750"/>
                    </a:cubicBezTo>
                    <a:cubicBezTo>
                      <a:pt x="38124" y="19019"/>
                      <a:pt x="36155" y="15460"/>
                      <a:pt x="33837" y="12133"/>
                    </a:cubicBezTo>
                    <a:cubicBezTo>
                      <a:pt x="31436" y="9010"/>
                      <a:pt x="28627" y="6225"/>
                      <a:pt x="25484" y="3851"/>
                    </a:cubicBezTo>
                    <a:cubicBezTo>
                      <a:pt x="22894" y="1954"/>
                      <a:pt x="19881" y="715"/>
                      <a:pt x="16706" y="240"/>
                    </a:cubicBezTo>
                    <a:cubicBezTo>
                      <a:pt x="15405" y="-80"/>
                      <a:pt x="14044" y="-80"/>
                      <a:pt x="12742" y="240"/>
                    </a:cubicBezTo>
                    <a:cubicBezTo>
                      <a:pt x="11487" y="316"/>
                      <a:pt x="10269" y="705"/>
                      <a:pt x="9203" y="1373"/>
                    </a:cubicBezTo>
                    <a:cubicBezTo>
                      <a:pt x="6969" y="2470"/>
                      <a:pt x="5100" y="4191"/>
                      <a:pt x="3823" y="6328"/>
                    </a:cubicBezTo>
                    <a:cubicBezTo>
                      <a:pt x="2370" y="8774"/>
                      <a:pt x="1364" y="11458"/>
                      <a:pt x="850" y="14256"/>
                    </a:cubicBezTo>
                    <a:cubicBezTo>
                      <a:pt x="268" y="17479"/>
                      <a:pt x="-16" y="20749"/>
                      <a:pt x="1" y="24025"/>
                    </a:cubicBezTo>
                    <a:cubicBezTo>
                      <a:pt x="-39" y="26540"/>
                      <a:pt x="1149" y="28918"/>
                      <a:pt x="3186" y="30395"/>
                    </a:cubicBezTo>
                    <a:cubicBezTo>
                      <a:pt x="5168" y="31811"/>
                      <a:pt x="6938" y="31174"/>
                      <a:pt x="7150" y="29050"/>
                    </a:cubicBezTo>
                    <a:lnTo>
                      <a:pt x="7150" y="27210"/>
                    </a:lnTo>
                    <a:cubicBezTo>
                      <a:pt x="6756" y="24373"/>
                      <a:pt x="6637" y="21505"/>
                      <a:pt x="6796" y="18645"/>
                    </a:cubicBezTo>
                    <a:cubicBezTo>
                      <a:pt x="6860" y="17340"/>
                      <a:pt x="7002" y="16040"/>
                      <a:pt x="7221" y="14752"/>
                    </a:cubicBezTo>
                    <a:lnTo>
                      <a:pt x="8425" y="11354"/>
                    </a:lnTo>
                    <a:cubicBezTo>
                      <a:pt x="9261" y="9445"/>
                      <a:pt x="10608" y="7804"/>
                      <a:pt x="12318" y="6611"/>
                    </a:cubicBezTo>
                    <a:cubicBezTo>
                      <a:pt x="13057" y="5871"/>
                      <a:pt x="14036" y="5419"/>
                      <a:pt x="15078" y="5337"/>
                    </a:cubicBezTo>
                    <a:cubicBezTo>
                      <a:pt x="16101" y="5082"/>
                      <a:pt x="17170" y="5082"/>
                      <a:pt x="18193" y="5337"/>
                    </a:cubicBezTo>
                    <a:cubicBezTo>
                      <a:pt x="20729" y="5578"/>
                      <a:pt x="23164" y="6454"/>
                      <a:pt x="25272" y="7885"/>
                    </a:cubicBezTo>
                    <a:cubicBezTo>
                      <a:pt x="27920" y="9719"/>
                      <a:pt x="30302" y="11910"/>
                      <a:pt x="32350" y="14398"/>
                    </a:cubicBezTo>
                    <a:cubicBezTo>
                      <a:pt x="34382" y="17293"/>
                      <a:pt x="36136" y="20374"/>
                      <a:pt x="37588" y="23600"/>
                    </a:cubicBezTo>
                    <a:cubicBezTo>
                      <a:pt x="39124" y="26772"/>
                      <a:pt x="40333" y="30093"/>
                      <a:pt x="41198" y="33510"/>
                    </a:cubicBezTo>
                    <a:cubicBezTo>
                      <a:pt x="42260" y="36837"/>
                      <a:pt x="42614" y="40093"/>
                      <a:pt x="43393" y="43420"/>
                    </a:cubicBezTo>
                    <a:cubicBezTo>
                      <a:pt x="44171" y="46747"/>
                      <a:pt x="44030" y="49720"/>
                      <a:pt x="44384" y="52905"/>
                    </a:cubicBezTo>
                    <a:cubicBezTo>
                      <a:pt x="44725" y="56032"/>
                      <a:pt x="44891" y="59175"/>
                      <a:pt x="44879" y="62320"/>
                    </a:cubicBezTo>
                    <a:cubicBezTo>
                      <a:pt x="44879" y="65363"/>
                      <a:pt x="44879" y="68903"/>
                      <a:pt x="44879" y="71451"/>
                    </a:cubicBezTo>
                    <a:cubicBezTo>
                      <a:pt x="44831" y="76881"/>
                      <a:pt x="43972" y="82273"/>
                      <a:pt x="42331" y="87449"/>
                    </a:cubicBezTo>
                    <a:cubicBezTo>
                      <a:pt x="40774" y="91979"/>
                      <a:pt x="38013" y="95447"/>
                      <a:pt x="34049" y="95094"/>
                    </a:cubicBezTo>
                    <a:lnTo>
                      <a:pt x="34686" y="95094"/>
                    </a:lnTo>
                    <a:cubicBezTo>
                      <a:pt x="31150" y="93582"/>
                      <a:pt x="27401" y="92627"/>
                      <a:pt x="23573" y="92262"/>
                    </a:cubicBezTo>
                    <a:cubicBezTo>
                      <a:pt x="21737" y="92141"/>
                      <a:pt x="19909" y="92586"/>
                      <a:pt x="18335" y="93536"/>
                    </a:cubicBezTo>
                    <a:cubicBezTo>
                      <a:pt x="16711" y="94889"/>
                      <a:pt x="15672" y="96816"/>
                      <a:pt x="15432" y="98916"/>
                    </a:cubicBezTo>
                    <a:cubicBezTo>
                      <a:pt x="14974" y="103245"/>
                      <a:pt x="14974" y="107611"/>
                      <a:pt x="15432" y="111941"/>
                    </a:cubicBezTo>
                    <a:cubicBezTo>
                      <a:pt x="15708" y="115660"/>
                      <a:pt x="15469" y="119399"/>
                      <a:pt x="14724" y="123054"/>
                    </a:cubicBezTo>
                    <a:cubicBezTo>
                      <a:pt x="14528" y="124911"/>
                      <a:pt x="15272" y="126743"/>
                      <a:pt x="16706" y="127938"/>
                    </a:cubicBezTo>
                    <a:cubicBezTo>
                      <a:pt x="18122" y="129142"/>
                      <a:pt x="19538" y="128929"/>
                      <a:pt x="19892" y="127938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grpSp>
        <p:nvGrpSpPr>
          <p:cNvPr id="549" name="2 Customer - walks TO DRESSES">
            <a:extLst>
              <a:ext uri="{FF2B5EF4-FFF2-40B4-BE49-F238E27FC236}">
                <a16:creationId xmlns:a16="http://schemas.microsoft.com/office/drawing/2014/main" id="{BF721854-948F-4E91-8F20-4605F91868F8}"/>
              </a:ext>
            </a:extLst>
          </p:cNvPr>
          <p:cNvGrpSpPr/>
          <p:nvPr/>
        </p:nvGrpSpPr>
        <p:grpSpPr>
          <a:xfrm>
            <a:off x="3322510" y="2529960"/>
            <a:ext cx="538964" cy="2573747"/>
            <a:chOff x="718877" y="1766194"/>
            <a:chExt cx="465864" cy="2224672"/>
          </a:xfrm>
          <a:solidFill>
            <a:schemeClr val="accent1"/>
          </a:solidFill>
        </p:grpSpPr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7FE8D9DD-369B-46CA-89B2-F1D4F7FE8694}"/>
                </a:ext>
              </a:extLst>
            </p:cNvPr>
            <p:cNvSpPr/>
            <p:nvPr/>
          </p:nvSpPr>
          <p:spPr>
            <a:xfrm>
              <a:off x="741639" y="2465000"/>
              <a:ext cx="68543" cy="366331"/>
            </a:xfrm>
            <a:custGeom>
              <a:avLst/>
              <a:gdLst>
                <a:gd name="connsiteX0" fmla="*/ 0 w 68543"/>
                <a:gd name="connsiteY0" fmla="*/ 6001 h 366331"/>
                <a:gd name="connsiteX1" fmla="*/ 38576 w 68543"/>
                <a:gd name="connsiteY1" fmla="*/ 366332 h 366331"/>
                <a:gd name="connsiteX2" fmla="*/ 50578 w 68543"/>
                <a:gd name="connsiteY2" fmla="*/ 366332 h 366331"/>
                <a:gd name="connsiteX3" fmla="*/ 63532 w 68543"/>
                <a:gd name="connsiteY3" fmla="*/ 0 h 36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43" h="366331">
                  <a:moveTo>
                    <a:pt x="0" y="6001"/>
                  </a:moveTo>
                  <a:cubicBezTo>
                    <a:pt x="0" y="6001"/>
                    <a:pt x="2477" y="222123"/>
                    <a:pt x="38576" y="366332"/>
                  </a:cubicBezTo>
                  <a:lnTo>
                    <a:pt x="50578" y="366332"/>
                  </a:lnTo>
                  <a:cubicBezTo>
                    <a:pt x="50578" y="366332"/>
                    <a:pt x="80010" y="167926"/>
                    <a:pt x="635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BA983B8-14E7-4F3F-AFBD-6A55541B1DD5}"/>
                </a:ext>
              </a:extLst>
            </p:cNvPr>
            <p:cNvSpPr/>
            <p:nvPr/>
          </p:nvSpPr>
          <p:spPr>
            <a:xfrm>
              <a:off x="732315" y="2077428"/>
              <a:ext cx="90960" cy="443934"/>
            </a:xfrm>
            <a:custGeom>
              <a:avLst/>
              <a:gdLst>
                <a:gd name="connsiteX0" fmla="*/ 37232 w 90960"/>
                <a:gd name="connsiteY0" fmla="*/ 0 h 443934"/>
                <a:gd name="connsiteX1" fmla="*/ 2942 w 90960"/>
                <a:gd name="connsiteY1" fmla="*/ 75248 h 443934"/>
                <a:gd name="connsiteX2" fmla="*/ 28660 w 90960"/>
                <a:gd name="connsiteY2" fmla="*/ 442341 h 443934"/>
                <a:gd name="connsiteX3" fmla="*/ 89048 w 90960"/>
                <a:gd name="connsiteY3" fmla="*/ 167545 h 443934"/>
                <a:gd name="connsiteX4" fmla="*/ 37232 w 90960"/>
                <a:gd name="connsiteY4" fmla="*/ 0 h 44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960" h="443934">
                  <a:moveTo>
                    <a:pt x="37232" y="0"/>
                  </a:moveTo>
                  <a:cubicBezTo>
                    <a:pt x="37232" y="0"/>
                    <a:pt x="5609" y="11906"/>
                    <a:pt x="2942" y="75248"/>
                  </a:cubicBezTo>
                  <a:cubicBezTo>
                    <a:pt x="-1535" y="186976"/>
                    <a:pt x="-5630" y="429006"/>
                    <a:pt x="28660" y="442341"/>
                  </a:cubicBezTo>
                  <a:cubicBezTo>
                    <a:pt x="95335" y="468344"/>
                    <a:pt x="89048" y="167545"/>
                    <a:pt x="89048" y="167545"/>
                  </a:cubicBezTo>
                  <a:cubicBezTo>
                    <a:pt x="89048" y="167545"/>
                    <a:pt x="106288" y="16478"/>
                    <a:pt x="372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DF1CC633-C6DC-4932-BC78-FD836D81A161}"/>
                </a:ext>
              </a:extLst>
            </p:cNvPr>
            <p:cNvSpPr/>
            <p:nvPr/>
          </p:nvSpPr>
          <p:spPr>
            <a:xfrm>
              <a:off x="765119" y="3122415"/>
              <a:ext cx="159399" cy="729043"/>
            </a:xfrm>
            <a:custGeom>
              <a:avLst/>
              <a:gdLst>
                <a:gd name="connsiteX0" fmla="*/ 159400 w 159399"/>
                <a:gd name="connsiteY0" fmla="*/ 52388 h 729043"/>
                <a:gd name="connsiteX1" fmla="*/ 125777 w 159399"/>
                <a:gd name="connsiteY1" fmla="*/ 349187 h 729043"/>
                <a:gd name="connsiteX2" fmla="*/ 90439 w 159399"/>
                <a:gd name="connsiteY2" fmla="*/ 729043 h 729043"/>
                <a:gd name="connsiteX3" fmla="*/ 62721 w 159399"/>
                <a:gd name="connsiteY3" fmla="*/ 723424 h 729043"/>
                <a:gd name="connsiteX4" fmla="*/ 142 w 159399"/>
                <a:gd name="connsiteY4" fmla="*/ 318611 h 729043"/>
                <a:gd name="connsiteX5" fmla="*/ 52625 w 159399"/>
                <a:gd name="connsiteY5" fmla="*/ 139160 h 729043"/>
                <a:gd name="connsiteX6" fmla="*/ 37385 w 159399"/>
                <a:gd name="connsiteY6" fmla="*/ 0 h 72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99" h="729043">
                  <a:moveTo>
                    <a:pt x="159400" y="52388"/>
                  </a:moveTo>
                  <a:cubicBezTo>
                    <a:pt x="159400" y="52388"/>
                    <a:pt x="142541" y="177260"/>
                    <a:pt x="125777" y="349187"/>
                  </a:cubicBezTo>
                  <a:cubicBezTo>
                    <a:pt x="113204" y="478060"/>
                    <a:pt x="90248" y="572072"/>
                    <a:pt x="90439" y="729043"/>
                  </a:cubicBezTo>
                  <a:cubicBezTo>
                    <a:pt x="90439" y="729043"/>
                    <a:pt x="92439" y="723424"/>
                    <a:pt x="62721" y="723424"/>
                  </a:cubicBezTo>
                  <a:cubicBezTo>
                    <a:pt x="50053" y="664559"/>
                    <a:pt x="-3097" y="379190"/>
                    <a:pt x="142" y="318611"/>
                  </a:cubicBezTo>
                  <a:cubicBezTo>
                    <a:pt x="3380" y="258032"/>
                    <a:pt x="52625" y="139160"/>
                    <a:pt x="52625" y="139160"/>
                  </a:cubicBezTo>
                  <a:lnTo>
                    <a:pt x="37385" y="0"/>
                  </a:ln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990395F8-C817-48CE-A728-9844ED0EBD84}"/>
                </a:ext>
              </a:extLst>
            </p:cNvPr>
            <p:cNvSpPr/>
            <p:nvPr/>
          </p:nvSpPr>
          <p:spPr>
            <a:xfrm>
              <a:off x="830127" y="3887555"/>
              <a:ext cx="47720" cy="42961"/>
            </a:xfrm>
            <a:custGeom>
              <a:avLst/>
              <a:gdLst>
                <a:gd name="connsiteX0" fmla="*/ 47720 w 47720"/>
                <a:gd name="connsiteY0" fmla="*/ 42962 h 42961"/>
                <a:gd name="connsiteX1" fmla="*/ 25336 w 47720"/>
                <a:gd name="connsiteY1" fmla="*/ 28579 h 42961"/>
                <a:gd name="connsiteX2" fmla="*/ 0 w 47720"/>
                <a:gd name="connsiteY2" fmla="*/ 4 h 42961"/>
                <a:gd name="connsiteX3" fmla="*/ 47720 w 47720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" h="42961">
                  <a:moveTo>
                    <a:pt x="47720" y="42962"/>
                  </a:moveTo>
                  <a:cubicBezTo>
                    <a:pt x="39772" y="38971"/>
                    <a:pt x="32268" y="34151"/>
                    <a:pt x="25336" y="28579"/>
                  </a:cubicBezTo>
                  <a:cubicBezTo>
                    <a:pt x="25336" y="28579"/>
                    <a:pt x="23717" y="14863"/>
                    <a:pt x="0" y="4"/>
                  </a:cubicBezTo>
                  <a:cubicBezTo>
                    <a:pt x="0" y="-282"/>
                    <a:pt x="45529" y="15149"/>
                    <a:pt x="47720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6FBF9EBC-9DC6-42EF-9C50-2649A4C14F3A}"/>
                </a:ext>
              </a:extLst>
            </p:cNvPr>
            <p:cNvSpPr/>
            <p:nvPr/>
          </p:nvSpPr>
          <p:spPr>
            <a:xfrm>
              <a:off x="820598" y="3841553"/>
              <a:ext cx="88993" cy="88963"/>
            </a:xfrm>
            <a:custGeom>
              <a:avLst/>
              <a:gdLst>
                <a:gd name="connsiteX0" fmla="*/ 6671 w 88993"/>
                <a:gd name="connsiteY0" fmla="*/ 4667 h 88963"/>
                <a:gd name="connsiteX1" fmla="*/ 9529 w 88993"/>
                <a:gd name="connsiteY1" fmla="*/ 45720 h 88963"/>
                <a:gd name="connsiteX2" fmla="*/ 57154 w 88993"/>
                <a:gd name="connsiteY2" fmla="*/ 88963 h 88963"/>
                <a:gd name="connsiteX3" fmla="*/ 84395 w 88993"/>
                <a:gd name="connsiteY3" fmla="*/ 46101 h 88963"/>
                <a:gd name="connsiteX4" fmla="*/ 55820 w 88993"/>
                <a:gd name="connsiteY4" fmla="*/ 47339 h 88963"/>
                <a:gd name="connsiteX5" fmla="*/ 22102 w 88993"/>
                <a:gd name="connsiteY5" fmla="*/ 1810 h 88963"/>
                <a:gd name="connsiteX6" fmla="*/ 11719 w 88993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93" h="88963">
                  <a:moveTo>
                    <a:pt x="6671" y="4667"/>
                  </a:moveTo>
                  <a:cubicBezTo>
                    <a:pt x="6671" y="4667"/>
                    <a:pt x="-10093" y="35909"/>
                    <a:pt x="9529" y="45720"/>
                  </a:cubicBezTo>
                  <a:cubicBezTo>
                    <a:pt x="32579" y="57150"/>
                    <a:pt x="52867" y="76200"/>
                    <a:pt x="57154" y="88963"/>
                  </a:cubicBezTo>
                  <a:cubicBezTo>
                    <a:pt x="57154" y="88963"/>
                    <a:pt x="103445" y="56483"/>
                    <a:pt x="84395" y="46101"/>
                  </a:cubicBezTo>
                  <a:cubicBezTo>
                    <a:pt x="75156" y="42262"/>
                    <a:pt x="64693" y="42720"/>
                    <a:pt x="55820" y="47339"/>
                  </a:cubicBezTo>
                  <a:lnTo>
                    <a:pt x="22102" y="1810"/>
                  </a:lnTo>
                  <a:lnTo>
                    <a:pt x="11719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8CFD359A-6BAB-46D4-813B-6DE4F93A8C43}"/>
                </a:ext>
              </a:extLst>
            </p:cNvPr>
            <p:cNvSpPr/>
            <p:nvPr/>
          </p:nvSpPr>
          <p:spPr>
            <a:xfrm>
              <a:off x="827269" y="3834153"/>
              <a:ext cx="63827" cy="65422"/>
            </a:xfrm>
            <a:custGeom>
              <a:avLst/>
              <a:gdLst>
                <a:gd name="connsiteX0" fmla="*/ 0 w 63827"/>
                <a:gd name="connsiteY0" fmla="*/ 12067 h 65422"/>
                <a:gd name="connsiteX1" fmla="*/ 18383 w 63827"/>
                <a:gd name="connsiteY1" fmla="*/ 15115 h 65422"/>
                <a:gd name="connsiteX2" fmla="*/ 52102 w 63827"/>
                <a:gd name="connsiteY2" fmla="*/ 65216 h 65422"/>
                <a:gd name="connsiteX3" fmla="*/ 53531 w 63827"/>
                <a:gd name="connsiteY3" fmla="*/ 52834 h 65422"/>
                <a:gd name="connsiteX4" fmla="*/ 29623 w 63827"/>
                <a:gd name="connsiteY4" fmla="*/ 14734 h 65422"/>
                <a:gd name="connsiteX5" fmla="*/ 0 w 63827"/>
                <a:gd name="connsiteY5" fmla="*/ 12067 h 6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422">
                  <a:moveTo>
                    <a:pt x="0" y="12067"/>
                  </a:moveTo>
                  <a:cubicBezTo>
                    <a:pt x="0" y="12067"/>
                    <a:pt x="7525" y="3304"/>
                    <a:pt x="18383" y="15115"/>
                  </a:cubicBezTo>
                  <a:cubicBezTo>
                    <a:pt x="29242" y="26926"/>
                    <a:pt x="40291" y="61692"/>
                    <a:pt x="52102" y="65216"/>
                  </a:cubicBezTo>
                  <a:cubicBezTo>
                    <a:pt x="59055" y="67407"/>
                    <a:pt x="73819" y="51405"/>
                    <a:pt x="53531" y="52834"/>
                  </a:cubicBezTo>
                  <a:cubicBezTo>
                    <a:pt x="46958" y="49690"/>
                    <a:pt x="43148" y="40927"/>
                    <a:pt x="29623" y="14734"/>
                  </a:cubicBezTo>
                  <a:cubicBezTo>
                    <a:pt x="29623" y="14829"/>
                    <a:pt x="18288" y="-16604"/>
                    <a:pt x="0" y="12067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6E28F9EA-8574-456F-8E29-1FDF40F85409}"/>
                </a:ext>
              </a:extLst>
            </p:cNvPr>
            <p:cNvSpPr/>
            <p:nvPr/>
          </p:nvSpPr>
          <p:spPr>
            <a:xfrm>
              <a:off x="824792" y="3883177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72" y="22870"/>
                    <a:pt x="12769" y="3802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572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BA10E4BE-6471-4471-A447-21054A4708BE}"/>
                </a:ext>
              </a:extLst>
            </p:cNvPr>
            <p:cNvSpPr/>
            <p:nvPr/>
          </p:nvSpPr>
          <p:spPr>
            <a:xfrm>
              <a:off x="858369" y="3178041"/>
              <a:ext cx="159590" cy="726471"/>
            </a:xfrm>
            <a:custGeom>
              <a:avLst/>
              <a:gdLst>
                <a:gd name="connsiteX0" fmla="*/ 159590 w 159590"/>
                <a:gd name="connsiteY0" fmla="*/ 52673 h 726471"/>
                <a:gd name="connsiteX1" fmla="*/ 125967 w 159590"/>
                <a:gd name="connsiteY1" fmla="*/ 349472 h 726471"/>
                <a:gd name="connsiteX2" fmla="*/ 91391 w 159590"/>
                <a:gd name="connsiteY2" fmla="*/ 726472 h 726471"/>
                <a:gd name="connsiteX3" fmla="*/ 62816 w 159590"/>
                <a:gd name="connsiteY3" fmla="*/ 723710 h 726471"/>
                <a:gd name="connsiteX4" fmla="*/ 142 w 159590"/>
                <a:gd name="connsiteY4" fmla="*/ 318897 h 726471"/>
                <a:gd name="connsiteX5" fmla="*/ 52720 w 159590"/>
                <a:gd name="connsiteY5" fmla="*/ 139065 h 726471"/>
                <a:gd name="connsiteX6" fmla="*/ 37384 w 159590"/>
                <a:gd name="connsiteY6" fmla="*/ 0 h 72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90" h="726471">
                  <a:moveTo>
                    <a:pt x="159590" y="52673"/>
                  </a:moveTo>
                  <a:cubicBezTo>
                    <a:pt x="159590" y="52673"/>
                    <a:pt x="142731" y="177737"/>
                    <a:pt x="125967" y="349472"/>
                  </a:cubicBezTo>
                  <a:cubicBezTo>
                    <a:pt x="113394" y="478441"/>
                    <a:pt x="91296" y="569405"/>
                    <a:pt x="91391" y="726472"/>
                  </a:cubicBezTo>
                  <a:cubicBezTo>
                    <a:pt x="91391" y="726472"/>
                    <a:pt x="92534" y="723710"/>
                    <a:pt x="62816" y="723710"/>
                  </a:cubicBezTo>
                  <a:cubicBezTo>
                    <a:pt x="50148" y="664940"/>
                    <a:pt x="-3097" y="379476"/>
                    <a:pt x="142" y="318897"/>
                  </a:cubicBezTo>
                  <a:cubicBezTo>
                    <a:pt x="3380" y="258318"/>
                    <a:pt x="52720" y="139065"/>
                    <a:pt x="52720" y="139065"/>
                  </a:cubicBezTo>
                  <a:lnTo>
                    <a:pt x="37384" y="0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7C87403C-4A14-454B-9491-6468F6CB11FE}"/>
                </a:ext>
              </a:extLst>
            </p:cNvPr>
            <p:cNvSpPr/>
            <p:nvPr/>
          </p:nvSpPr>
          <p:spPr>
            <a:xfrm>
              <a:off x="923567" y="3941180"/>
              <a:ext cx="47815" cy="42961"/>
            </a:xfrm>
            <a:custGeom>
              <a:avLst/>
              <a:gdLst>
                <a:gd name="connsiteX0" fmla="*/ 47816 w 47815"/>
                <a:gd name="connsiteY0" fmla="*/ 42962 h 42961"/>
                <a:gd name="connsiteX1" fmla="*/ 25336 w 47815"/>
                <a:gd name="connsiteY1" fmla="*/ 28579 h 42961"/>
                <a:gd name="connsiteX2" fmla="*/ 0 w 47815"/>
                <a:gd name="connsiteY2" fmla="*/ 4 h 42961"/>
                <a:gd name="connsiteX3" fmla="*/ 47816 w 47815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42961">
                  <a:moveTo>
                    <a:pt x="47816" y="42962"/>
                  </a:moveTo>
                  <a:cubicBezTo>
                    <a:pt x="39847" y="38952"/>
                    <a:pt x="32314" y="34132"/>
                    <a:pt x="25336" y="28579"/>
                  </a:cubicBezTo>
                  <a:cubicBezTo>
                    <a:pt x="25336" y="28579"/>
                    <a:pt x="23813" y="14863"/>
                    <a:pt x="0" y="4"/>
                  </a:cubicBezTo>
                  <a:cubicBezTo>
                    <a:pt x="0" y="-282"/>
                    <a:pt x="45530" y="15149"/>
                    <a:pt x="47816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1631D926-0994-4FFE-A059-D84E792C4D63}"/>
                </a:ext>
              </a:extLst>
            </p:cNvPr>
            <p:cNvSpPr/>
            <p:nvPr/>
          </p:nvSpPr>
          <p:spPr>
            <a:xfrm>
              <a:off x="914067" y="3895083"/>
              <a:ext cx="88964" cy="88963"/>
            </a:xfrm>
            <a:custGeom>
              <a:avLst/>
              <a:gdLst>
                <a:gd name="connsiteX0" fmla="*/ 6737 w 88964"/>
                <a:gd name="connsiteY0" fmla="*/ 4667 h 88963"/>
                <a:gd name="connsiteX1" fmla="*/ 9499 w 88964"/>
                <a:gd name="connsiteY1" fmla="*/ 45720 h 88963"/>
                <a:gd name="connsiteX2" fmla="*/ 57124 w 88964"/>
                <a:gd name="connsiteY2" fmla="*/ 88964 h 88963"/>
                <a:gd name="connsiteX3" fmla="*/ 84366 w 88964"/>
                <a:gd name="connsiteY3" fmla="*/ 46101 h 88963"/>
                <a:gd name="connsiteX4" fmla="*/ 55791 w 88964"/>
                <a:gd name="connsiteY4" fmla="*/ 47339 h 88963"/>
                <a:gd name="connsiteX5" fmla="*/ 21977 w 88964"/>
                <a:gd name="connsiteY5" fmla="*/ 1810 h 88963"/>
                <a:gd name="connsiteX6" fmla="*/ 11595 w 88964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64" h="88963">
                  <a:moveTo>
                    <a:pt x="6737" y="4667"/>
                  </a:moveTo>
                  <a:cubicBezTo>
                    <a:pt x="6737" y="4667"/>
                    <a:pt x="-10122" y="35909"/>
                    <a:pt x="9499" y="45720"/>
                  </a:cubicBezTo>
                  <a:cubicBezTo>
                    <a:pt x="32550" y="57150"/>
                    <a:pt x="52838" y="76200"/>
                    <a:pt x="57124" y="88964"/>
                  </a:cubicBezTo>
                  <a:cubicBezTo>
                    <a:pt x="57124" y="88964"/>
                    <a:pt x="103416" y="56483"/>
                    <a:pt x="84366" y="46101"/>
                  </a:cubicBezTo>
                  <a:cubicBezTo>
                    <a:pt x="75128" y="42253"/>
                    <a:pt x="64660" y="42710"/>
                    <a:pt x="55791" y="47339"/>
                  </a:cubicBezTo>
                  <a:lnTo>
                    <a:pt x="21977" y="1810"/>
                  </a:lnTo>
                  <a:lnTo>
                    <a:pt x="11595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A39403FB-AEC0-471D-9DCA-99D606653CE9}"/>
                </a:ext>
              </a:extLst>
            </p:cNvPr>
            <p:cNvSpPr/>
            <p:nvPr/>
          </p:nvSpPr>
          <p:spPr>
            <a:xfrm>
              <a:off x="920805" y="3887745"/>
              <a:ext cx="63827" cy="65361"/>
            </a:xfrm>
            <a:custGeom>
              <a:avLst/>
              <a:gdLst>
                <a:gd name="connsiteX0" fmla="*/ 0 w 63827"/>
                <a:gd name="connsiteY0" fmla="*/ 12005 h 65361"/>
                <a:gd name="connsiteX1" fmla="*/ 18288 w 63827"/>
                <a:gd name="connsiteY1" fmla="*/ 15053 h 65361"/>
                <a:gd name="connsiteX2" fmla="*/ 52102 w 63827"/>
                <a:gd name="connsiteY2" fmla="*/ 65155 h 65361"/>
                <a:gd name="connsiteX3" fmla="*/ 53530 w 63827"/>
                <a:gd name="connsiteY3" fmla="*/ 52772 h 65361"/>
                <a:gd name="connsiteX4" fmla="*/ 29623 w 63827"/>
                <a:gd name="connsiteY4" fmla="*/ 14672 h 65361"/>
                <a:gd name="connsiteX5" fmla="*/ 0 w 63827"/>
                <a:gd name="connsiteY5" fmla="*/ 12005 h 6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361">
                  <a:moveTo>
                    <a:pt x="0" y="12005"/>
                  </a:moveTo>
                  <a:cubicBezTo>
                    <a:pt x="0" y="12005"/>
                    <a:pt x="7525" y="3242"/>
                    <a:pt x="18288" y="15053"/>
                  </a:cubicBezTo>
                  <a:cubicBezTo>
                    <a:pt x="29051" y="26864"/>
                    <a:pt x="40291" y="61630"/>
                    <a:pt x="52102" y="65155"/>
                  </a:cubicBezTo>
                  <a:cubicBezTo>
                    <a:pt x="59055" y="67345"/>
                    <a:pt x="73819" y="51343"/>
                    <a:pt x="53530" y="52772"/>
                  </a:cubicBezTo>
                  <a:cubicBezTo>
                    <a:pt x="46958" y="49629"/>
                    <a:pt x="43053" y="40866"/>
                    <a:pt x="29623" y="14672"/>
                  </a:cubicBezTo>
                  <a:cubicBezTo>
                    <a:pt x="29623" y="14863"/>
                    <a:pt x="18288" y="-16570"/>
                    <a:pt x="0" y="12005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5ADB1966-9A7B-4C1A-AF6E-5137D641783A}"/>
                </a:ext>
              </a:extLst>
            </p:cNvPr>
            <p:cNvSpPr/>
            <p:nvPr/>
          </p:nvSpPr>
          <p:spPr>
            <a:xfrm>
              <a:off x="918423" y="3936803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14" y="22850"/>
                    <a:pt x="12709" y="3801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477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C389FFCC-090A-4138-944F-D55E6FA2E1CA}"/>
                </a:ext>
              </a:extLst>
            </p:cNvPr>
            <p:cNvSpPr/>
            <p:nvPr/>
          </p:nvSpPr>
          <p:spPr>
            <a:xfrm>
              <a:off x="727915" y="2587110"/>
              <a:ext cx="398285" cy="755363"/>
            </a:xfrm>
            <a:custGeom>
              <a:avLst/>
              <a:gdLst>
                <a:gd name="connsiteX0" fmla="*/ 68874 w 398285"/>
                <a:gd name="connsiteY0" fmla="*/ 607123 h 755363"/>
                <a:gd name="connsiteX1" fmla="*/ 60683 w 398285"/>
                <a:gd name="connsiteY1" fmla="*/ 0 h 755363"/>
                <a:gd name="connsiteX2" fmla="*/ 393105 w 398285"/>
                <a:gd name="connsiteY2" fmla="*/ 200025 h 755363"/>
                <a:gd name="connsiteX3" fmla="*/ 303665 w 398285"/>
                <a:gd name="connsiteY3" fmla="*/ 737997 h 755363"/>
                <a:gd name="connsiteX4" fmla="*/ 215845 w 398285"/>
                <a:gd name="connsiteY4" fmla="*/ 747522 h 755363"/>
                <a:gd name="connsiteX5" fmla="*/ 68874 w 398285"/>
                <a:gd name="connsiteY5" fmla="*/ 607123 h 75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285" h="755363">
                  <a:moveTo>
                    <a:pt x="68874" y="607123"/>
                  </a:moveTo>
                  <a:cubicBezTo>
                    <a:pt x="68874" y="607123"/>
                    <a:pt x="-80478" y="205454"/>
                    <a:pt x="60683" y="0"/>
                  </a:cubicBezTo>
                  <a:cubicBezTo>
                    <a:pt x="60683" y="0"/>
                    <a:pt x="318429" y="76200"/>
                    <a:pt x="393105" y="200025"/>
                  </a:cubicBezTo>
                  <a:cubicBezTo>
                    <a:pt x="393105" y="200025"/>
                    <a:pt x="430634" y="352425"/>
                    <a:pt x="303665" y="737997"/>
                  </a:cubicBezTo>
                  <a:cubicBezTo>
                    <a:pt x="303665" y="737997"/>
                    <a:pt x="281567" y="769620"/>
                    <a:pt x="215845" y="747522"/>
                  </a:cubicBezTo>
                  <a:cubicBezTo>
                    <a:pt x="98401" y="700850"/>
                    <a:pt x="68874" y="607123"/>
                    <a:pt x="68874" y="60712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1DD7B371-52A8-4DC2-873B-D60D466555E2}"/>
                </a:ext>
              </a:extLst>
            </p:cNvPr>
            <p:cNvSpPr/>
            <p:nvPr/>
          </p:nvSpPr>
          <p:spPr>
            <a:xfrm>
              <a:off x="760564" y="2077428"/>
              <a:ext cx="347193" cy="481012"/>
            </a:xfrm>
            <a:custGeom>
              <a:avLst/>
              <a:gdLst>
                <a:gd name="connsiteX0" fmla="*/ 312736 w 347193"/>
                <a:gd name="connsiteY0" fmla="*/ 174498 h 481012"/>
                <a:gd name="connsiteX1" fmla="*/ 8984 w 347193"/>
                <a:gd name="connsiteY1" fmla="*/ 0 h 481012"/>
                <a:gd name="connsiteX2" fmla="*/ 602 w 347193"/>
                <a:gd name="connsiteY2" fmla="*/ 73533 h 481012"/>
                <a:gd name="connsiteX3" fmla="*/ 100233 w 347193"/>
                <a:gd name="connsiteY3" fmla="*/ 400431 h 481012"/>
                <a:gd name="connsiteX4" fmla="*/ 241013 w 347193"/>
                <a:gd name="connsiteY4" fmla="*/ 481013 h 481012"/>
                <a:gd name="connsiteX5" fmla="*/ 344073 w 347193"/>
                <a:gd name="connsiteY5" fmla="*/ 301752 h 481012"/>
                <a:gd name="connsiteX6" fmla="*/ 312736 w 347193"/>
                <a:gd name="connsiteY6" fmla="*/ 174498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193" h="481012">
                  <a:moveTo>
                    <a:pt x="312736" y="174498"/>
                  </a:moveTo>
                  <a:cubicBezTo>
                    <a:pt x="312736" y="174498"/>
                    <a:pt x="214057" y="83153"/>
                    <a:pt x="8984" y="0"/>
                  </a:cubicBezTo>
                  <a:cubicBezTo>
                    <a:pt x="1486" y="23744"/>
                    <a:pt x="-1360" y="48711"/>
                    <a:pt x="602" y="73533"/>
                  </a:cubicBezTo>
                  <a:cubicBezTo>
                    <a:pt x="4697" y="144304"/>
                    <a:pt x="31272" y="259461"/>
                    <a:pt x="100233" y="400431"/>
                  </a:cubicBezTo>
                  <a:lnTo>
                    <a:pt x="241013" y="481013"/>
                  </a:lnTo>
                  <a:cubicBezTo>
                    <a:pt x="252157" y="393573"/>
                    <a:pt x="325976" y="362617"/>
                    <a:pt x="344073" y="301752"/>
                  </a:cubicBezTo>
                  <a:cubicBezTo>
                    <a:pt x="353313" y="270796"/>
                    <a:pt x="341787" y="242506"/>
                    <a:pt x="312736" y="174498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66A6DB0-6531-47DA-84CD-86A36C894832}"/>
                </a:ext>
              </a:extLst>
            </p:cNvPr>
            <p:cNvSpPr/>
            <p:nvPr/>
          </p:nvSpPr>
          <p:spPr>
            <a:xfrm>
              <a:off x="776882" y="2475287"/>
              <a:ext cx="344138" cy="311753"/>
            </a:xfrm>
            <a:custGeom>
              <a:avLst/>
              <a:gdLst>
                <a:gd name="connsiteX0" fmla="*/ 224695 w 344138"/>
                <a:gd name="connsiteY0" fmla="*/ 83153 h 311753"/>
                <a:gd name="connsiteX1" fmla="*/ 344138 w 344138"/>
                <a:gd name="connsiteY1" fmla="*/ 311753 h 311753"/>
                <a:gd name="connsiteX2" fmla="*/ 0 w 344138"/>
                <a:gd name="connsiteY2" fmla="*/ 114300 h 311753"/>
                <a:gd name="connsiteX3" fmla="*/ 85725 w 344138"/>
                <a:gd name="connsiteY3" fmla="*/ 0 h 311753"/>
                <a:gd name="connsiteX4" fmla="*/ 224695 w 344138"/>
                <a:gd name="connsiteY4" fmla="*/ 83153 h 31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38" h="311753">
                  <a:moveTo>
                    <a:pt x="224695" y="83153"/>
                  </a:moveTo>
                  <a:cubicBezTo>
                    <a:pt x="224695" y="83153"/>
                    <a:pt x="290703" y="154019"/>
                    <a:pt x="344138" y="311753"/>
                  </a:cubicBezTo>
                  <a:lnTo>
                    <a:pt x="0" y="114300"/>
                  </a:lnTo>
                  <a:lnTo>
                    <a:pt x="85725" y="0"/>
                  </a:lnTo>
                  <a:cubicBezTo>
                    <a:pt x="85725" y="0"/>
                    <a:pt x="186595" y="2096"/>
                    <a:pt x="224695" y="8315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0359CE0A-A890-4D99-AFD5-02CB9856DFDD}"/>
                </a:ext>
              </a:extLst>
            </p:cNvPr>
            <p:cNvSpPr/>
            <p:nvPr/>
          </p:nvSpPr>
          <p:spPr>
            <a:xfrm>
              <a:off x="718877" y="2077428"/>
              <a:ext cx="376615" cy="1265647"/>
            </a:xfrm>
            <a:custGeom>
              <a:avLst/>
              <a:gdLst>
                <a:gd name="connsiteX0" fmla="*/ 77912 w 376615"/>
                <a:gd name="connsiteY0" fmla="*/ 1116806 h 1265647"/>
                <a:gd name="connsiteX1" fmla="*/ 58005 w 376615"/>
                <a:gd name="connsiteY1" fmla="*/ 512159 h 1265647"/>
                <a:gd name="connsiteX2" fmla="*/ 141920 w 376615"/>
                <a:gd name="connsiteY2" fmla="*/ 400431 h 1265647"/>
                <a:gd name="connsiteX3" fmla="*/ 42288 w 376615"/>
                <a:gd name="connsiteY3" fmla="*/ 73533 h 1265647"/>
                <a:gd name="connsiteX4" fmla="*/ 50670 w 376615"/>
                <a:gd name="connsiteY4" fmla="*/ 0 h 1265647"/>
                <a:gd name="connsiteX5" fmla="*/ 338802 w 376615"/>
                <a:gd name="connsiteY5" fmla="*/ 161068 h 1265647"/>
                <a:gd name="connsiteX6" fmla="*/ 267269 w 376615"/>
                <a:gd name="connsiteY6" fmla="*/ 477298 h 1265647"/>
                <a:gd name="connsiteX7" fmla="*/ 29144 w 376615"/>
                <a:gd name="connsiteY7" fmla="*/ 607314 h 1265647"/>
                <a:gd name="connsiteX8" fmla="*/ 376616 w 376615"/>
                <a:gd name="connsiteY8" fmla="*/ 805625 h 1265647"/>
                <a:gd name="connsiteX9" fmla="*/ 274889 w 376615"/>
                <a:gd name="connsiteY9" fmla="*/ 1264253 h 1265647"/>
                <a:gd name="connsiteX10" fmla="*/ 164970 w 376615"/>
                <a:gd name="connsiteY10" fmla="*/ 1224725 h 1265647"/>
                <a:gd name="connsiteX11" fmla="*/ 77912 w 376615"/>
                <a:gd name="connsiteY11" fmla="*/ 1116806 h 12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615" h="1265647">
                  <a:moveTo>
                    <a:pt x="77912" y="1116806"/>
                  </a:moveTo>
                  <a:cubicBezTo>
                    <a:pt x="77912" y="1116806"/>
                    <a:pt x="-83251" y="717423"/>
                    <a:pt x="58005" y="512159"/>
                  </a:cubicBezTo>
                  <a:lnTo>
                    <a:pt x="141920" y="400431"/>
                  </a:lnTo>
                  <a:cubicBezTo>
                    <a:pt x="72959" y="259461"/>
                    <a:pt x="46384" y="144304"/>
                    <a:pt x="42288" y="73533"/>
                  </a:cubicBezTo>
                  <a:cubicBezTo>
                    <a:pt x="40326" y="48711"/>
                    <a:pt x="43172" y="23744"/>
                    <a:pt x="50670" y="0"/>
                  </a:cubicBezTo>
                  <a:cubicBezTo>
                    <a:pt x="208785" y="64198"/>
                    <a:pt x="303654" y="133350"/>
                    <a:pt x="338802" y="161068"/>
                  </a:cubicBezTo>
                  <a:cubicBezTo>
                    <a:pt x="297273" y="173926"/>
                    <a:pt x="230979" y="279273"/>
                    <a:pt x="267269" y="477298"/>
                  </a:cubicBezTo>
                  <a:cubicBezTo>
                    <a:pt x="267269" y="477298"/>
                    <a:pt x="39336" y="509492"/>
                    <a:pt x="29144" y="607314"/>
                  </a:cubicBezTo>
                  <a:cubicBezTo>
                    <a:pt x="15809" y="736473"/>
                    <a:pt x="326800" y="853631"/>
                    <a:pt x="376616" y="805625"/>
                  </a:cubicBezTo>
                  <a:cubicBezTo>
                    <a:pt x="376616" y="805625"/>
                    <a:pt x="374616" y="970216"/>
                    <a:pt x="274889" y="1264253"/>
                  </a:cubicBezTo>
                  <a:cubicBezTo>
                    <a:pt x="274889" y="1264253"/>
                    <a:pt x="240313" y="1277112"/>
                    <a:pt x="164970" y="1224725"/>
                  </a:cubicBezTo>
                  <a:cubicBezTo>
                    <a:pt x="89628" y="1172337"/>
                    <a:pt x="77912" y="1116806"/>
                    <a:pt x="77912" y="1116806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88EB525B-5C13-42BC-BBAC-9F82500B61EA}"/>
                </a:ext>
              </a:extLst>
            </p:cNvPr>
            <p:cNvSpPr/>
            <p:nvPr/>
          </p:nvSpPr>
          <p:spPr>
            <a:xfrm>
              <a:off x="790788" y="2085714"/>
              <a:ext cx="247173" cy="209550"/>
            </a:xfrm>
            <a:custGeom>
              <a:avLst/>
              <a:gdLst>
                <a:gd name="connsiteX0" fmla="*/ 247174 w 247173"/>
                <a:gd name="connsiteY0" fmla="*/ 137636 h 209550"/>
                <a:gd name="connsiteX1" fmla="*/ 82677 w 247173"/>
                <a:gd name="connsiteY1" fmla="*/ 209550 h 209550"/>
                <a:gd name="connsiteX2" fmla="*/ 0 w 247173"/>
                <a:gd name="connsiteY2" fmla="*/ 0 h 209550"/>
                <a:gd name="connsiteX3" fmla="*/ 247174 w 247173"/>
                <a:gd name="connsiteY3" fmla="*/ 13763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173" h="209550">
                  <a:moveTo>
                    <a:pt x="247174" y="137636"/>
                  </a:moveTo>
                  <a:cubicBezTo>
                    <a:pt x="191028" y="158482"/>
                    <a:pt x="136107" y="182491"/>
                    <a:pt x="82677" y="209550"/>
                  </a:cubicBezTo>
                  <a:cubicBezTo>
                    <a:pt x="69818" y="185071"/>
                    <a:pt x="16002" y="111824"/>
                    <a:pt x="0" y="0"/>
                  </a:cubicBezTo>
                  <a:cubicBezTo>
                    <a:pt x="0" y="381"/>
                    <a:pt x="171164" y="78677"/>
                    <a:pt x="247174" y="137636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9DBC8762-04A9-43C0-85FA-D51B753E7F7D}"/>
                </a:ext>
              </a:extLst>
            </p:cNvPr>
            <p:cNvSpPr/>
            <p:nvPr/>
          </p:nvSpPr>
          <p:spPr>
            <a:xfrm>
              <a:off x="790788" y="2086095"/>
              <a:ext cx="230028" cy="127319"/>
            </a:xfrm>
            <a:custGeom>
              <a:avLst/>
              <a:gdLst>
                <a:gd name="connsiteX0" fmla="*/ 230029 w 230028"/>
                <a:gd name="connsiteY0" fmla="*/ 125063 h 127319"/>
                <a:gd name="connsiteX1" fmla="*/ 0 w 230028"/>
                <a:gd name="connsiteY1" fmla="*/ 0 h 127319"/>
                <a:gd name="connsiteX2" fmla="*/ 230029 w 230028"/>
                <a:gd name="connsiteY2" fmla="*/ 125063 h 12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028" h="127319">
                  <a:moveTo>
                    <a:pt x="230029" y="125063"/>
                  </a:moveTo>
                  <a:cubicBezTo>
                    <a:pt x="230029" y="125063"/>
                    <a:pt x="65723" y="154591"/>
                    <a:pt x="0" y="0"/>
                  </a:cubicBezTo>
                  <a:cubicBezTo>
                    <a:pt x="81646" y="31814"/>
                    <a:pt x="158937" y="73835"/>
                    <a:pt x="230029" y="125063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ADD6D131-7A50-4CA7-90E8-93F2761BCE76}"/>
                </a:ext>
              </a:extLst>
            </p:cNvPr>
            <p:cNvSpPr/>
            <p:nvPr/>
          </p:nvSpPr>
          <p:spPr>
            <a:xfrm>
              <a:off x="852225" y="1997515"/>
              <a:ext cx="161925" cy="218310"/>
            </a:xfrm>
            <a:custGeom>
              <a:avLst/>
              <a:gdLst>
                <a:gd name="connsiteX0" fmla="*/ 161925 w 161925"/>
                <a:gd name="connsiteY0" fmla="*/ 107535 h 218310"/>
                <a:gd name="connsiteX1" fmla="*/ 128302 w 161925"/>
                <a:gd name="connsiteY1" fmla="*/ 218310 h 218310"/>
                <a:gd name="connsiteX2" fmla="*/ 0 w 161925"/>
                <a:gd name="connsiteY2" fmla="*/ 169638 h 218310"/>
                <a:gd name="connsiteX3" fmla="*/ 1905 w 161925"/>
                <a:gd name="connsiteY3" fmla="*/ 5903 h 218310"/>
                <a:gd name="connsiteX4" fmla="*/ 161925 w 161925"/>
                <a:gd name="connsiteY4" fmla="*/ 107535 h 21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18310">
                  <a:moveTo>
                    <a:pt x="161925" y="107535"/>
                  </a:moveTo>
                  <a:cubicBezTo>
                    <a:pt x="161925" y="107535"/>
                    <a:pt x="111347" y="154493"/>
                    <a:pt x="128302" y="218310"/>
                  </a:cubicBezTo>
                  <a:lnTo>
                    <a:pt x="0" y="169638"/>
                  </a:lnTo>
                  <a:cubicBezTo>
                    <a:pt x="6749" y="115302"/>
                    <a:pt x="7389" y="60381"/>
                    <a:pt x="1905" y="5903"/>
                  </a:cubicBezTo>
                  <a:cubicBezTo>
                    <a:pt x="-1619" y="-29721"/>
                    <a:pt x="161925" y="107535"/>
                    <a:pt x="161925" y="107535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D9008B17-D753-4B5F-8EDA-A02AB6C96487}"/>
                </a:ext>
              </a:extLst>
            </p:cNvPr>
            <p:cNvSpPr/>
            <p:nvPr/>
          </p:nvSpPr>
          <p:spPr>
            <a:xfrm>
              <a:off x="833831" y="1860162"/>
              <a:ext cx="146123" cy="231323"/>
            </a:xfrm>
            <a:custGeom>
              <a:avLst/>
              <a:gdLst>
                <a:gd name="connsiteX0" fmla="*/ 486 w 146123"/>
                <a:gd name="connsiteY0" fmla="*/ 0 h 231323"/>
                <a:gd name="connsiteX1" fmla="*/ 136122 w 146123"/>
                <a:gd name="connsiteY1" fmla="*/ 228600 h 231323"/>
                <a:gd name="connsiteX2" fmla="*/ 146123 w 146123"/>
                <a:gd name="connsiteY2" fmla="*/ 71057 h 23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123" h="231323">
                  <a:moveTo>
                    <a:pt x="486" y="0"/>
                  </a:moveTo>
                  <a:cubicBezTo>
                    <a:pt x="486" y="0"/>
                    <a:pt x="-15516" y="260604"/>
                    <a:pt x="136122" y="228600"/>
                  </a:cubicBezTo>
                  <a:lnTo>
                    <a:pt x="146123" y="71057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2D274FFD-E9BC-4B28-A22A-D36064611BF7}"/>
                </a:ext>
              </a:extLst>
            </p:cNvPr>
            <p:cNvSpPr/>
            <p:nvPr/>
          </p:nvSpPr>
          <p:spPr>
            <a:xfrm>
              <a:off x="965096" y="1892547"/>
              <a:ext cx="161353" cy="254741"/>
            </a:xfrm>
            <a:custGeom>
              <a:avLst/>
              <a:gdLst>
                <a:gd name="connsiteX0" fmla="*/ 161354 w 161353"/>
                <a:gd name="connsiteY0" fmla="*/ 0 h 254741"/>
                <a:gd name="connsiteX1" fmla="*/ 134779 w 161353"/>
                <a:gd name="connsiteY1" fmla="*/ 143256 h 254741"/>
                <a:gd name="connsiteX2" fmla="*/ 89726 w 161353"/>
                <a:gd name="connsiteY2" fmla="*/ 252603 h 254741"/>
                <a:gd name="connsiteX3" fmla="*/ 17621 w 161353"/>
                <a:gd name="connsiteY3" fmla="*/ 226886 h 254741"/>
                <a:gd name="connsiteX4" fmla="*/ 0 w 161353"/>
                <a:gd name="connsiteY4" fmla="*/ 61151 h 25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53" h="254741">
                  <a:moveTo>
                    <a:pt x="161354" y="0"/>
                  </a:moveTo>
                  <a:cubicBezTo>
                    <a:pt x="145447" y="37338"/>
                    <a:pt x="144304" y="92678"/>
                    <a:pt x="134779" y="143256"/>
                  </a:cubicBezTo>
                  <a:cubicBezTo>
                    <a:pt x="123730" y="199072"/>
                    <a:pt x="103918" y="248031"/>
                    <a:pt x="89726" y="252603"/>
                  </a:cubicBezTo>
                  <a:cubicBezTo>
                    <a:pt x="77724" y="256413"/>
                    <a:pt x="52102" y="258699"/>
                    <a:pt x="17621" y="226886"/>
                  </a:cubicBezTo>
                  <a:lnTo>
                    <a:pt x="0" y="61151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492A7BF-44A9-4AB0-AFF8-E7BDA63298F4}"/>
                </a:ext>
              </a:extLst>
            </p:cNvPr>
            <p:cNvSpPr/>
            <p:nvPr/>
          </p:nvSpPr>
          <p:spPr>
            <a:xfrm>
              <a:off x="976050" y="2059806"/>
              <a:ext cx="74009" cy="87153"/>
            </a:xfrm>
            <a:custGeom>
              <a:avLst/>
              <a:gdLst>
                <a:gd name="connsiteX0" fmla="*/ 0 w 74009"/>
                <a:gd name="connsiteY0" fmla="*/ 19050 h 87153"/>
                <a:gd name="connsiteX1" fmla="*/ 8763 w 74009"/>
                <a:gd name="connsiteY1" fmla="*/ 0 h 87153"/>
                <a:gd name="connsiteX2" fmla="*/ 74009 w 74009"/>
                <a:gd name="connsiteY2" fmla="*/ 86487 h 87153"/>
                <a:gd name="connsiteX3" fmla="*/ 4096 w 74009"/>
                <a:gd name="connsiteY3" fmla="*/ 57150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7153">
                  <a:moveTo>
                    <a:pt x="0" y="19050"/>
                  </a:moveTo>
                  <a:lnTo>
                    <a:pt x="8763" y="0"/>
                  </a:lnTo>
                  <a:cubicBezTo>
                    <a:pt x="33242" y="96107"/>
                    <a:pt x="74009" y="86487"/>
                    <a:pt x="74009" y="86487"/>
                  </a:cubicBezTo>
                  <a:cubicBezTo>
                    <a:pt x="74009" y="86487"/>
                    <a:pt x="40672" y="94202"/>
                    <a:pt x="4096" y="57150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19BF370B-FADC-4F37-9546-D888F0AFB8F0}"/>
                </a:ext>
              </a:extLst>
            </p:cNvPr>
            <p:cNvSpPr/>
            <p:nvPr/>
          </p:nvSpPr>
          <p:spPr>
            <a:xfrm>
              <a:off x="820510" y="1766194"/>
              <a:ext cx="309177" cy="345641"/>
            </a:xfrm>
            <a:custGeom>
              <a:avLst/>
              <a:gdLst>
                <a:gd name="connsiteX0" fmla="*/ 12093 w 309177"/>
                <a:gd name="connsiteY0" fmla="*/ 51582 h 345641"/>
                <a:gd name="connsiteX1" fmla="*/ 309178 w 309177"/>
                <a:gd name="connsiteY1" fmla="*/ 83205 h 345641"/>
                <a:gd name="connsiteX2" fmla="*/ 229930 w 309177"/>
                <a:gd name="connsiteY2" fmla="*/ 196553 h 345641"/>
                <a:gd name="connsiteX3" fmla="*/ 171256 w 309177"/>
                <a:gd name="connsiteY3" fmla="*/ 246845 h 345641"/>
                <a:gd name="connsiteX4" fmla="*/ 52765 w 309177"/>
                <a:gd name="connsiteY4" fmla="*/ 328283 h 345641"/>
                <a:gd name="connsiteX5" fmla="*/ 12093 w 309177"/>
                <a:gd name="connsiteY5" fmla="*/ 51582 h 345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177" h="345641">
                  <a:moveTo>
                    <a:pt x="12093" y="51582"/>
                  </a:moveTo>
                  <a:cubicBezTo>
                    <a:pt x="60289" y="-28618"/>
                    <a:pt x="260314" y="-13188"/>
                    <a:pt x="309178" y="83205"/>
                  </a:cubicBezTo>
                  <a:cubicBezTo>
                    <a:pt x="309178" y="83205"/>
                    <a:pt x="272697" y="168073"/>
                    <a:pt x="229930" y="196553"/>
                  </a:cubicBezTo>
                  <a:cubicBezTo>
                    <a:pt x="205165" y="265037"/>
                    <a:pt x="196687" y="258275"/>
                    <a:pt x="171256" y="246845"/>
                  </a:cubicBezTo>
                  <a:cubicBezTo>
                    <a:pt x="166303" y="250655"/>
                    <a:pt x="173923" y="394387"/>
                    <a:pt x="52765" y="328283"/>
                  </a:cubicBezTo>
                  <a:cubicBezTo>
                    <a:pt x="-13053" y="292374"/>
                    <a:pt x="-5147" y="79967"/>
                    <a:pt x="12093" y="51582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DF868022-13BC-48BF-93EF-927256F65465}"/>
                </a:ext>
              </a:extLst>
            </p:cNvPr>
            <p:cNvSpPr/>
            <p:nvPr/>
          </p:nvSpPr>
          <p:spPr>
            <a:xfrm>
              <a:off x="1048249" y="1829206"/>
              <a:ext cx="88990" cy="159448"/>
            </a:xfrm>
            <a:custGeom>
              <a:avLst/>
              <a:gdLst>
                <a:gd name="connsiteX0" fmla="*/ 19050 w 88990"/>
                <a:gd name="connsiteY0" fmla="*/ 84963 h 159448"/>
                <a:gd name="connsiteX1" fmla="*/ 0 w 88990"/>
                <a:gd name="connsiteY1" fmla="*/ 159449 h 159448"/>
                <a:gd name="connsiteX2" fmla="*/ 78010 w 88990"/>
                <a:gd name="connsiteY2" fmla="*/ 119348 h 159448"/>
                <a:gd name="connsiteX3" fmla="*/ 68485 w 88990"/>
                <a:gd name="connsiteY3" fmla="*/ 0 h 15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90" h="159448">
                  <a:moveTo>
                    <a:pt x="19050" y="84963"/>
                  </a:moveTo>
                  <a:lnTo>
                    <a:pt x="0" y="159449"/>
                  </a:lnTo>
                  <a:cubicBezTo>
                    <a:pt x="28732" y="152234"/>
                    <a:pt x="55421" y="138514"/>
                    <a:pt x="78010" y="119348"/>
                  </a:cubicBezTo>
                  <a:cubicBezTo>
                    <a:pt x="81820" y="106109"/>
                    <a:pt x="105537" y="39624"/>
                    <a:pt x="68485" y="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2D6D59C1-7F18-4938-A8CD-45CBA71C936C}"/>
                </a:ext>
              </a:extLst>
            </p:cNvPr>
            <p:cNvSpPr/>
            <p:nvPr/>
          </p:nvSpPr>
          <p:spPr>
            <a:xfrm>
              <a:off x="980145" y="2821330"/>
              <a:ext cx="204596" cy="296703"/>
            </a:xfrm>
            <a:custGeom>
              <a:avLst/>
              <a:gdLst>
                <a:gd name="connsiteX0" fmla="*/ 204597 w 204596"/>
                <a:gd name="connsiteY0" fmla="*/ 179927 h 296703"/>
                <a:gd name="connsiteX1" fmla="*/ 2381 w 204596"/>
                <a:gd name="connsiteY1" fmla="*/ 296704 h 296703"/>
                <a:gd name="connsiteX2" fmla="*/ 0 w 204596"/>
                <a:gd name="connsiteY2" fmla="*/ 103918 h 296703"/>
                <a:gd name="connsiteX3" fmla="*/ 180118 w 204596"/>
                <a:gd name="connsiteY3" fmla="*/ 0 h 296703"/>
                <a:gd name="connsiteX4" fmla="*/ 204597 w 204596"/>
                <a:gd name="connsiteY4" fmla="*/ 179927 h 2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96" h="296703">
                  <a:moveTo>
                    <a:pt x="204597" y="179927"/>
                  </a:moveTo>
                  <a:lnTo>
                    <a:pt x="2381" y="296704"/>
                  </a:lnTo>
                  <a:lnTo>
                    <a:pt x="0" y="103918"/>
                  </a:lnTo>
                  <a:lnTo>
                    <a:pt x="180118" y="0"/>
                  </a:lnTo>
                  <a:lnTo>
                    <a:pt x="204597" y="179927"/>
                  </a:ln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8DAB8416-8CEF-41D3-8E44-50A51DF6ACCA}"/>
                </a:ext>
              </a:extLst>
            </p:cNvPr>
            <p:cNvSpPr/>
            <p:nvPr/>
          </p:nvSpPr>
          <p:spPr>
            <a:xfrm>
              <a:off x="945474" y="2912580"/>
              <a:ext cx="37052" cy="205454"/>
            </a:xfrm>
            <a:custGeom>
              <a:avLst/>
              <a:gdLst>
                <a:gd name="connsiteX0" fmla="*/ 37052 w 37052"/>
                <a:gd name="connsiteY0" fmla="*/ 205454 h 205454"/>
                <a:gd name="connsiteX1" fmla="*/ 0 w 37052"/>
                <a:gd name="connsiteY1" fmla="*/ 184309 h 205454"/>
                <a:gd name="connsiteX2" fmla="*/ 12382 w 37052"/>
                <a:gd name="connsiteY2" fmla="*/ 0 h 205454"/>
                <a:gd name="connsiteX3" fmla="*/ 34671 w 37052"/>
                <a:gd name="connsiteY3" fmla="*/ 12668 h 205454"/>
                <a:gd name="connsiteX4" fmla="*/ 37052 w 37052"/>
                <a:gd name="connsiteY4" fmla="*/ 205454 h 20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52" h="205454">
                  <a:moveTo>
                    <a:pt x="37052" y="205454"/>
                  </a:moveTo>
                  <a:lnTo>
                    <a:pt x="0" y="184309"/>
                  </a:lnTo>
                  <a:lnTo>
                    <a:pt x="12382" y="0"/>
                  </a:lnTo>
                  <a:lnTo>
                    <a:pt x="34671" y="12668"/>
                  </a:lnTo>
                  <a:lnTo>
                    <a:pt x="37052" y="205454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AC95AC79-607F-4DF1-93AE-A37356FC110B}"/>
                </a:ext>
              </a:extLst>
            </p:cNvPr>
            <p:cNvSpPr/>
            <p:nvPr/>
          </p:nvSpPr>
          <p:spPr>
            <a:xfrm>
              <a:off x="957857" y="2810281"/>
              <a:ext cx="202406" cy="114966"/>
            </a:xfrm>
            <a:custGeom>
              <a:avLst/>
              <a:gdLst>
                <a:gd name="connsiteX0" fmla="*/ 0 w 202406"/>
                <a:gd name="connsiteY0" fmla="*/ 102298 h 114966"/>
                <a:gd name="connsiteX1" fmla="*/ 183451 w 202406"/>
                <a:gd name="connsiteY1" fmla="*/ 0 h 114966"/>
                <a:gd name="connsiteX2" fmla="*/ 202406 w 202406"/>
                <a:gd name="connsiteY2" fmla="*/ 11049 h 114966"/>
                <a:gd name="connsiteX3" fmla="*/ 22289 w 202406"/>
                <a:gd name="connsiteY3" fmla="*/ 114967 h 114966"/>
                <a:gd name="connsiteX4" fmla="*/ 0 w 202406"/>
                <a:gd name="connsiteY4" fmla="*/ 102298 h 11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06" h="114966">
                  <a:moveTo>
                    <a:pt x="0" y="102298"/>
                  </a:moveTo>
                  <a:lnTo>
                    <a:pt x="183451" y="0"/>
                  </a:lnTo>
                  <a:lnTo>
                    <a:pt x="202406" y="11049"/>
                  </a:lnTo>
                  <a:lnTo>
                    <a:pt x="22289" y="114967"/>
                  </a:lnTo>
                  <a:lnTo>
                    <a:pt x="0" y="102298"/>
                  </a:ln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CCA55157-C84A-4A4C-996E-CFE430B043A3}"/>
                </a:ext>
              </a:extLst>
            </p:cNvPr>
            <p:cNvSpPr/>
            <p:nvPr/>
          </p:nvSpPr>
          <p:spPr>
            <a:xfrm>
              <a:off x="993036" y="2242084"/>
              <a:ext cx="151722" cy="684949"/>
            </a:xfrm>
            <a:custGeom>
              <a:avLst/>
              <a:gdLst>
                <a:gd name="connsiteX0" fmla="*/ 4751 w 151722"/>
                <a:gd name="connsiteY0" fmla="*/ 684950 h 684949"/>
                <a:gd name="connsiteX1" fmla="*/ 6752 w 151722"/>
                <a:gd name="connsiteY1" fmla="*/ 596462 h 684949"/>
                <a:gd name="connsiteX2" fmla="*/ 6752 w 151722"/>
                <a:gd name="connsiteY2" fmla="*/ 507880 h 684949"/>
                <a:gd name="connsiteX3" fmla="*/ 4751 w 151722"/>
                <a:gd name="connsiteY3" fmla="*/ 419393 h 684949"/>
                <a:gd name="connsiteX4" fmla="*/ 2465 w 151722"/>
                <a:gd name="connsiteY4" fmla="*/ 330810 h 684949"/>
                <a:gd name="connsiteX5" fmla="*/ 465 w 151722"/>
                <a:gd name="connsiteY5" fmla="*/ 242132 h 684949"/>
                <a:gd name="connsiteX6" fmla="*/ 465 w 151722"/>
                <a:gd name="connsiteY6" fmla="*/ 153455 h 684949"/>
                <a:gd name="connsiteX7" fmla="*/ 3037 w 151722"/>
                <a:gd name="connsiteY7" fmla="*/ 108973 h 684949"/>
                <a:gd name="connsiteX8" fmla="*/ 9228 w 151722"/>
                <a:gd name="connsiteY8" fmla="*/ 64682 h 684949"/>
                <a:gd name="connsiteX9" fmla="*/ 24373 w 151722"/>
                <a:gd name="connsiteY9" fmla="*/ 21819 h 684949"/>
                <a:gd name="connsiteX10" fmla="*/ 41232 w 151722"/>
                <a:gd name="connsiteY10" fmla="*/ 4769 h 684949"/>
                <a:gd name="connsiteX11" fmla="*/ 65330 w 151722"/>
                <a:gd name="connsiteY11" fmla="*/ 388 h 684949"/>
                <a:gd name="connsiteX12" fmla="*/ 65330 w 151722"/>
                <a:gd name="connsiteY12" fmla="*/ 388 h 684949"/>
                <a:gd name="connsiteX13" fmla="*/ 84476 w 151722"/>
                <a:gd name="connsiteY13" fmla="*/ 10961 h 684949"/>
                <a:gd name="connsiteX14" fmla="*/ 96668 w 151722"/>
                <a:gd name="connsiteY14" fmla="*/ 27534 h 684949"/>
                <a:gd name="connsiteX15" fmla="*/ 110765 w 151722"/>
                <a:gd name="connsiteY15" fmla="*/ 64586 h 684949"/>
                <a:gd name="connsiteX16" fmla="*/ 124004 w 151722"/>
                <a:gd name="connsiteY16" fmla="*/ 141548 h 684949"/>
                <a:gd name="connsiteX17" fmla="*/ 129910 w 151722"/>
                <a:gd name="connsiteY17" fmla="*/ 219082 h 684949"/>
                <a:gd name="connsiteX18" fmla="*/ 133148 w 151722"/>
                <a:gd name="connsiteY18" fmla="*/ 296711 h 684949"/>
                <a:gd name="connsiteX19" fmla="*/ 138673 w 151722"/>
                <a:gd name="connsiteY19" fmla="*/ 451682 h 684949"/>
                <a:gd name="connsiteX20" fmla="*/ 151722 w 151722"/>
                <a:gd name="connsiteY20" fmla="*/ 605702 h 684949"/>
                <a:gd name="connsiteX21" fmla="*/ 136101 w 151722"/>
                <a:gd name="connsiteY21" fmla="*/ 607511 h 684949"/>
                <a:gd name="connsiteX22" fmla="*/ 131243 w 151722"/>
                <a:gd name="connsiteY22" fmla="*/ 529692 h 684949"/>
                <a:gd name="connsiteX23" fmla="*/ 128862 w 151722"/>
                <a:gd name="connsiteY23" fmla="*/ 452063 h 684949"/>
                <a:gd name="connsiteX24" fmla="*/ 125719 w 151722"/>
                <a:gd name="connsiteY24" fmla="*/ 296901 h 684949"/>
                <a:gd name="connsiteX25" fmla="*/ 116194 w 151722"/>
                <a:gd name="connsiteY25" fmla="*/ 142501 h 684949"/>
                <a:gd name="connsiteX26" fmla="*/ 102764 w 151722"/>
                <a:gd name="connsiteY26" fmla="*/ 66301 h 684949"/>
                <a:gd name="connsiteX27" fmla="*/ 89238 w 151722"/>
                <a:gd name="connsiteY27" fmla="*/ 31154 h 684949"/>
                <a:gd name="connsiteX28" fmla="*/ 63902 w 151722"/>
                <a:gd name="connsiteY28" fmla="*/ 8198 h 684949"/>
                <a:gd name="connsiteX29" fmla="*/ 63902 w 151722"/>
                <a:gd name="connsiteY29" fmla="*/ 8198 h 684949"/>
                <a:gd name="connsiteX30" fmla="*/ 44852 w 151722"/>
                <a:gd name="connsiteY30" fmla="*/ 11342 h 684949"/>
                <a:gd name="connsiteX31" fmla="*/ 30850 w 151722"/>
                <a:gd name="connsiteY31" fmla="*/ 25343 h 684949"/>
                <a:gd name="connsiteX32" fmla="*/ 16277 w 151722"/>
                <a:gd name="connsiteY32" fmla="*/ 65444 h 684949"/>
                <a:gd name="connsiteX33" fmla="*/ 9800 w 151722"/>
                <a:gd name="connsiteY33" fmla="*/ 108878 h 684949"/>
                <a:gd name="connsiteX34" fmla="*/ 6847 w 151722"/>
                <a:gd name="connsiteY34" fmla="*/ 152788 h 684949"/>
                <a:gd name="connsiteX35" fmla="*/ 5609 w 151722"/>
                <a:gd name="connsiteY35" fmla="*/ 241275 h 684949"/>
                <a:gd name="connsiteX36" fmla="*/ 7514 w 151722"/>
                <a:gd name="connsiteY36" fmla="*/ 329762 h 684949"/>
                <a:gd name="connsiteX37" fmla="*/ 10657 w 151722"/>
                <a:gd name="connsiteY37" fmla="*/ 418250 h 684949"/>
                <a:gd name="connsiteX38" fmla="*/ 13895 w 151722"/>
                <a:gd name="connsiteY38" fmla="*/ 506832 h 684949"/>
                <a:gd name="connsiteX39" fmla="*/ 16658 w 151722"/>
                <a:gd name="connsiteY39" fmla="*/ 595510 h 684949"/>
                <a:gd name="connsiteX40" fmla="*/ 18563 w 151722"/>
                <a:gd name="connsiteY40" fmla="*/ 684188 h 68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1722" h="684949">
                  <a:moveTo>
                    <a:pt x="4751" y="684950"/>
                  </a:moveTo>
                  <a:cubicBezTo>
                    <a:pt x="5704" y="655422"/>
                    <a:pt x="6466" y="625990"/>
                    <a:pt x="6752" y="596462"/>
                  </a:cubicBezTo>
                  <a:cubicBezTo>
                    <a:pt x="7037" y="566935"/>
                    <a:pt x="6752" y="537407"/>
                    <a:pt x="6752" y="507880"/>
                  </a:cubicBezTo>
                  <a:lnTo>
                    <a:pt x="4751" y="419393"/>
                  </a:lnTo>
                  <a:lnTo>
                    <a:pt x="2465" y="330810"/>
                  </a:lnTo>
                  <a:cubicBezTo>
                    <a:pt x="1608" y="301283"/>
                    <a:pt x="1037" y="271755"/>
                    <a:pt x="465" y="242132"/>
                  </a:cubicBezTo>
                  <a:cubicBezTo>
                    <a:pt x="-106" y="212510"/>
                    <a:pt x="-202" y="182982"/>
                    <a:pt x="465" y="153455"/>
                  </a:cubicBezTo>
                  <a:cubicBezTo>
                    <a:pt x="941" y="138596"/>
                    <a:pt x="1799" y="123832"/>
                    <a:pt x="3037" y="108973"/>
                  </a:cubicBezTo>
                  <a:cubicBezTo>
                    <a:pt x="4258" y="94103"/>
                    <a:pt x="6325" y="79316"/>
                    <a:pt x="9228" y="64682"/>
                  </a:cubicBezTo>
                  <a:cubicBezTo>
                    <a:pt x="11876" y="49656"/>
                    <a:pt x="16994" y="35173"/>
                    <a:pt x="24373" y="21819"/>
                  </a:cubicBezTo>
                  <a:cubicBezTo>
                    <a:pt x="28447" y="14791"/>
                    <a:pt x="34250" y="8921"/>
                    <a:pt x="41232" y="4769"/>
                  </a:cubicBezTo>
                  <a:cubicBezTo>
                    <a:pt x="48581" y="743"/>
                    <a:pt x="57035" y="-794"/>
                    <a:pt x="65330" y="388"/>
                  </a:cubicBezTo>
                  <a:lnTo>
                    <a:pt x="65330" y="388"/>
                  </a:lnTo>
                  <a:cubicBezTo>
                    <a:pt x="72574" y="2056"/>
                    <a:pt x="79206" y="5718"/>
                    <a:pt x="84476" y="10961"/>
                  </a:cubicBezTo>
                  <a:cubicBezTo>
                    <a:pt x="89332" y="15855"/>
                    <a:pt x="93440" y="21440"/>
                    <a:pt x="96668" y="27534"/>
                  </a:cubicBezTo>
                  <a:cubicBezTo>
                    <a:pt x="102824" y="39280"/>
                    <a:pt x="107557" y="51719"/>
                    <a:pt x="110765" y="64586"/>
                  </a:cubicBezTo>
                  <a:cubicBezTo>
                    <a:pt x="117092" y="89874"/>
                    <a:pt x="121517" y="115600"/>
                    <a:pt x="124004" y="141548"/>
                  </a:cubicBezTo>
                  <a:cubicBezTo>
                    <a:pt x="126767" y="167361"/>
                    <a:pt x="128576" y="193269"/>
                    <a:pt x="129910" y="219082"/>
                  </a:cubicBezTo>
                  <a:cubicBezTo>
                    <a:pt x="131243" y="244894"/>
                    <a:pt x="132386" y="270803"/>
                    <a:pt x="133148" y="296711"/>
                  </a:cubicBezTo>
                  <a:cubicBezTo>
                    <a:pt x="134863" y="348431"/>
                    <a:pt x="136482" y="400057"/>
                    <a:pt x="138673" y="451682"/>
                  </a:cubicBezTo>
                  <a:cubicBezTo>
                    <a:pt x="140864" y="503308"/>
                    <a:pt x="144388" y="554838"/>
                    <a:pt x="151722" y="605702"/>
                  </a:cubicBezTo>
                  <a:lnTo>
                    <a:pt x="136101" y="607511"/>
                  </a:lnTo>
                  <a:cubicBezTo>
                    <a:pt x="133625" y="581508"/>
                    <a:pt x="132291" y="555600"/>
                    <a:pt x="131243" y="529692"/>
                  </a:cubicBezTo>
                  <a:cubicBezTo>
                    <a:pt x="130196" y="503784"/>
                    <a:pt x="129338" y="477876"/>
                    <a:pt x="128862" y="452063"/>
                  </a:cubicBezTo>
                  <a:cubicBezTo>
                    <a:pt x="127529" y="400247"/>
                    <a:pt x="127338" y="348622"/>
                    <a:pt x="125719" y="296901"/>
                  </a:cubicBezTo>
                  <a:cubicBezTo>
                    <a:pt x="124100" y="245180"/>
                    <a:pt x="122004" y="193650"/>
                    <a:pt x="116194" y="142501"/>
                  </a:cubicBezTo>
                  <a:cubicBezTo>
                    <a:pt x="113685" y="116793"/>
                    <a:pt x="109195" y="91317"/>
                    <a:pt x="102764" y="66301"/>
                  </a:cubicBezTo>
                  <a:cubicBezTo>
                    <a:pt x="99656" y="54093"/>
                    <a:pt x="95116" y="42295"/>
                    <a:pt x="89238" y="31154"/>
                  </a:cubicBezTo>
                  <a:cubicBezTo>
                    <a:pt x="84276" y="20366"/>
                    <a:pt x="75124" y="12074"/>
                    <a:pt x="63902" y="8198"/>
                  </a:cubicBezTo>
                  <a:lnTo>
                    <a:pt x="63902" y="8198"/>
                  </a:lnTo>
                  <a:cubicBezTo>
                    <a:pt x="57379" y="7126"/>
                    <a:pt x="50684" y="8231"/>
                    <a:pt x="44852" y="11342"/>
                  </a:cubicBezTo>
                  <a:cubicBezTo>
                    <a:pt x="39069" y="14742"/>
                    <a:pt x="34250" y="19561"/>
                    <a:pt x="30850" y="25343"/>
                  </a:cubicBezTo>
                  <a:cubicBezTo>
                    <a:pt x="23862" y="37837"/>
                    <a:pt x="18941" y="51379"/>
                    <a:pt x="16277" y="65444"/>
                  </a:cubicBezTo>
                  <a:cubicBezTo>
                    <a:pt x="13346" y="79796"/>
                    <a:pt x="11184" y="94295"/>
                    <a:pt x="9800" y="108878"/>
                  </a:cubicBezTo>
                  <a:cubicBezTo>
                    <a:pt x="8371" y="123451"/>
                    <a:pt x="7418" y="138119"/>
                    <a:pt x="6847" y="152788"/>
                  </a:cubicBezTo>
                  <a:cubicBezTo>
                    <a:pt x="5609" y="182220"/>
                    <a:pt x="5418" y="211748"/>
                    <a:pt x="5609" y="241275"/>
                  </a:cubicBezTo>
                  <a:cubicBezTo>
                    <a:pt x="5799" y="270803"/>
                    <a:pt x="6656" y="300235"/>
                    <a:pt x="7514" y="329762"/>
                  </a:cubicBezTo>
                  <a:cubicBezTo>
                    <a:pt x="8371" y="359290"/>
                    <a:pt x="9514" y="388817"/>
                    <a:pt x="10657" y="418250"/>
                  </a:cubicBezTo>
                  <a:lnTo>
                    <a:pt x="13895" y="506832"/>
                  </a:lnTo>
                  <a:cubicBezTo>
                    <a:pt x="15038" y="536360"/>
                    <a:pt x="15959" y="565916"/>
                    <a:pt x="16658" y="595510"/>
                  </a:cubicBezTo>
                  <a:cubicBezTo>
                    <a:pt x="17515" y="625037"/>
                    <a:pt x="18277" y="654660"/>
                    <a:pt x="18563" y="684188"/>
                  </a:cubicBez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EB199800-2B7E-4588-8178-BA84EC316475}"/>
                </a:ext>
              </a:extLst>
            </p:cNvPr>
            <p:cNvSpPr/>
            <p:nvPr/>
          </p:nvSpPr>
          <p:spPr>
            <a:xfrm>
              <a:off x="980145" y="2821330"/>
              <a:ext cx="180117" cy="160671"/>
            </a:xfrm>
            <a:custGeom>
              <a:avLst/>
              <a:gdLst>
                <a:gd name="connsiteX0" fmla="*/ 0 w 180117"/>
                <a:gd name="connsiteY0" fmla="*/ 104013 h 160671"/>
                <a:gd name="connsiteX1" fmla="*/ 117634 w 180117"/>
                <a:gd name="connsiteY1" fmla="*/ 159544 h 160671"/>
                <a:gd name="connsiteX2" fmla="*/ 180118 w 180117"/>
                <a:gd name="connsiteY2" fmla="*/ 0 h 16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117" h="160671">
                  <a:moveTo>
                    <a:pt x="0" y="104013"/>
                  </a:moveTo>
                  <a:cubicBezTo>
                    <a:pt x="0" y="104013"/>
                    <a:pt x="96488" y="170021"/>
                    <a:pt x="117634" y="159544"/>
                  </a:cubicBezTo>
                  <a:cubicBezTo>
                    <a:pt x="144590" y="146018"/>
                    <a:pt x="180118" y="0"/>
                    <a:pt x="180118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6F85C8A9-63C9-42F3-B485-73CC7DC28FD5}"/>
                </a:ext>
              </a:extLst>
            </p:cNvPr>
            <p:cNvSpPr/>
            <p:nvPr/>
          </p:nvSpPr>
          <p:spPr>
            <a:xfrm>
              <a:off x="909897" y="2578171"/>
              <a:ext cx="195788" cy="228205"/>
            </a:xfrm>
            <a:custGeom>
              <a:avLst/>
              <a:gdLst>
                <a:gd name="connsiteX0" fmla="*/ 2907 w 195788"/>
                <a:gd name="connsiteY0" fmla="*/ 50278 h 228205"/>
                <a:gd name="connsiteX1" fmla="*/ 185596 w 195788"/>
                <a:gd name="connsiteY1" fmla="*/ 228205 h 228205"/>
                <a:gd name="connsiteX2" fmla="*/ 195788 w 195788"/>
                <a:gd name="connsiteY2" fmla="*/ 211251 h 228205"/>
                <a:gd name="connsiteX3" fmla="*/ 157688 w 195788"/>
                <a:gd name="connsiteY3" fmla="*/ 153339 h 228205"/>
                <a:gd name="connsiteX4" fmla="*/ 5288 w 195788"/>
                <a:gd name="connsiteY4" fmla="*/ 8749 h 228205"/>
                <a:gd name="connsiteX5" fmla="*/ 2907 w 195788"/>
                <a:gd name="connsiteY5" fmla="*/ 50278 h 22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788" h="228205">
                  <a:moveTo>
                    <a:pt x="2907" y="50278"/>
                  </a:moveTo>
                  <a:cubicBezTo>
                    <a:pt x="2907" y="50278"/>
                    <a:pt x="48817" y="128002"/>
                    <a:pt x="185596" y="228205"/>
                  </a:cubicBezTo>
                  <a:lnTo>
                    <a:pt x="195788" y="211251"/>
                  </a:lnTo>
                  <a:cubicBezTo>
                    <a:pt x="181918" y="192744"/>
                    <a:pt x="169194" y="173398"/>
                    <a:pt x="157688" y="153339"/>
                  </a:cubicBezTo>
                  <a:cubicBezTo>
                    <a:pt x="117397" y="82663"/>
                    <a:pt x="53580" y="-32685"/>
                    <a:pt x="5288" y="8749"/>
                  </a:cubicBezTo>
                  <a:cubicBezTo>
                    <a:pt x="-817" y="21771"/>
                    <a:pt x="-1670" y="36644"/>
                    <a:pt x="2907" y="50278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E247701F-2D07-441F-BCC2-6A0A84267D32}"/>
                </a:ext>
              </a:extLst>
            </p:cNvPr>
            <p:cNvSpPr/>
            <p:nvPr/>
          </p:nvSpPr>
          <p:spPr>
            <a:xfrm>
              <a:off x="1087683" y="2767853"/>
              <a:ext cx="68761" cy="48175"/>
            </a:xfrm>
            <a:custGeom>
              <a:avLst/>
              <a:gdLst>
                <a:gd name="connsiteX0" fmla="*/ 0 w 68761"/>
                <a:gd name="connsiteY0" fmla="*/ 18044 h 48175"/>
                <a:gd name="connsiteX1" fmla="*/ 59150 w 68761"/>
                <a:gd name="connsiteY1" fmla="*/ 42 h 48175"/>
                <a:gd name="connsiteX2" fmla="*/ 64865 w 68761"/>
                <a:gd name="connsiteY2" fmla="*/ 10138 h 48175"/>
                <a:gd name="connsiteX3" fmla="*/ 65913 w 68761"/>
                <a:gd name="connsiteY3" fmla="*/ 24140 h 48175"/>
                <a:gd name="connsiteX4" fmla="*/ 63817 w 68761"/>
                <a:gd name="connsiteY4" fmla="*/ 37189 h 48175"/>
                <a:gd name="connsiteX5" fmla="*/ 57436 w 68761"/>
                <a:gd name="connsiteY5" fmla="*/ 47286 h 48175"/>
                <a:gd name="connsiteX6" fmla="*/ 4572 w 68761"/>
                <a:gd name="connsiteY6" fmla="*/ 3585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61" h="48175">
                  <a:moveTo>
                    <a:pt x="0" y="18044"/>
                  </a:moveTo>
                  <a:cubicBezTo>
                    <a:pt x="0" y="18044"/>
                    <a:pt x="42481" y="-1006"/>
                    <a:pt x="59150" y="42"/>
                  </a:cubicBezTo>
                  <a:cubicBezTo>
                    <a:pt x="67913" y="42"/>
                    <a:pt x="67437" y="6423"/>
                    <a:pt x="64865" y="10138"/>
                  </a:cubicBezTo>
                  <a:cubicBezTo>
                    <a:pt x="69247" y="11757"/>
                    <a:pt x="70390" y="16996"/>
                    <a:pt x="65913" y="24140"/>
                  </a:cubicBezTo>
                  <a:cubicBezTo>
                    <a:pt x="68866" y="28140"/>
                    <a:pt x="68580" y="30236"/>
                    <a:pt x="63817" y="37189"/>
                  </a:cubicBezTo>
                  <a:cubicBezTo>
                    <a:pt x="66008" y="42714"/>
                    <a:pt x="63817" y="46714"/>
                    <a:pt x="57436" y="47286"/>
                  </a:cubicBezTo>
                  <a:cubicBezTo>
                    <a:pt x="39008" y="50143"/>
                    <a:pt x="20175" y="46066"/>
                    <a:pt x="4572" y="35856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9234C0A7-2DCF-4BEB-904C-4526A4222E0D}"/>
                </a:ext>
              </a:extLst>
            </p:cNvPr>
            <p:cNvSpPr/>
            <p:nvPr/>
          </p:nvSpPr>
          <p:spPr>
            <a:xfrm>
              <a:off x="908820" y="2243258"/>
              <a:ext cx="180261" cy="391202"/>
            </a:xfrm>
            <a:custGeom>
              <a:avLst/>
              <a:gdLst>
                <a:gd name="connsiteX0" fmla="*/ 154192 w 180261"/>
                <a:gd name="connsiteY0" fmla="*/ 0 h 391202"/>
                <a:gd name="connsiteX1" fmla="*/ 98757 w 180261"/>
                <a:gd name="connsiteY1" fmla="*/ 62674 h 391202"/>
                <a:gd name="connsiteX2" fmla="*/ 5793 w 180261"/>
                <a:gd name="connsiteY2" fmla="*/ 385382 h 391202"/>
                <a:gd name="connsiteX3" fmla="*/ 148668 w 180261"/>
                <a:gd name="connsiteY3" fmla="*/ 178784 h 391202"/>
                <a:gd name="connsiteX4" fmla="*/ 154192 w 180261"/>
                <a:gd name="connsiteY4" fmla="*/ 0 h 39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261" h="391202">
                  <a:moveTo>
                    <a:pt x="154192" y="0"/>
                  </a:moveTo>
                  <a:cubicBezTo>
                    <a:pt x="154192" y="0"/>
                    <a:pt x="122665" y="4000"/>
                    <a:pt x="98757" y="62674"/>
                  </a:cubicBezTo>
                  <a:cubicBezTo>
                    <a:pt x="56561" y="166211"/>
                    <a:pt x="-21925" y="361093"/>
                    <a:pt x="5793" y="385382"/>
                  </a:cubicBezTo>
                  <a:cubicBezTo>
                    <a:pt x="59609" y="432435"/>
                    <a:pt x="148668" y="178784"/>
                    <a:pt x="148668" y="178784"/>
                  </a:cubicBezTo>
                  <a:cubicBezTo>
                    <a:pt x="148668" y="178784"/>
                    <a:pt x="215914" y="40576"/>
                    <a:pt x="154192" y="0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B2A3C600-ED83-4E76-8161-88E4BCFD08AE}"/>
                </a:ext>
              </a:extLst>
            </p:cNvPr>
            <p:cNvSpPr/>
            <p:nvPr/>
          </p:nvSpPr>
          <p:spPr>
            <a:xfrm>
              <a:off x="729162" y="1822387"/>
              <a:ext cx="323087" cy="560309"/>
            </a:xfrm>
            <a:custGeom>
              <a:avLst/>
              <a:gdLst>
                <a:gd name="connsiteX0" fmla="*/ 100298 w 323087"/>
                <a:gd name="connsiteY0" fmla="*/ 3009 h 560309"/>
                <a:gd name="connsiteX1" fmla="*/ 0 w 323087"/>
                <a:gd name="connsiteY1" fmla="*/ 386010 h 560309"/>
                <a:gd name="connsiteX2" fmla="*/ 134398 w 323087"/>
                <a:gd name="connsiteY2" fmla="*/ 540791 h 560309"/>
                <a:gd name="connsiteX3" fmla="*/ 323088 w 323087"/>
                <a:gd name="connsiteY3" fmla="*/ 542886 h 560309"/>
                <a:gd name="connsiteX4" fmla="*/ 264795 w 323087"/>
                <a:gd name="connsiteY4" fmla="*/ 517264 h 560309"/>
                <a:gd name="connsiteX5" fmla="*/ 259652 w 323087"/>
                <a:gd name="connsiteY5" fmla="*/ 218655 h 560309"/>
                <a:gd name="connsiteX6" fmla="*/ 100298 w 323087"/>
                <a:gd name="connsiteY6" fmla="*/ 3009 h 56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087" h="560309">
                  <a:moveTo>
                    <a:pt x="100298" y="3009"/>
                  </a:moveTo>
                  <a:cubicBezTo>
                    <a:pt x="85630" y="35966"/>
                    <a:pt x="67437" y="464019"/>
                    <a:pt x="0" y="386010"/>
                  </a:cubicBezTo>
                  <a:cubicBezTo>
                    <a:pt x="0" y="386010"/>
                    <a:pt x="17717" y="490785"/>
                    <a:pt x="134398" y="540791"/>
                  </a:cubicBezTo>
                  <a:cubicBezTo>
                    <a:pt x="180213" y="560508"/>
                    <a:pt x="279749" y="571557"/>
                    <a:pt x="323088" y="542886"/>
                  </a:cubicBezTo>
                  <a:cubicBezTo>
                    <a:pt x="323088" y="542886"/>
                    <a:pt x="277368" y="550602"/>
                    <a:pt x="264795" y="517264"/>
                  </a:cubicBezTo>
                  <a:cubicBezTo>
                    <a:pt x="244412" y="463162"/>
                    <a:pt x="259652" y="218655"/>
                    <a:pt x="259652" y="218655"/>
                  </a:cubicBezTo>
                  <a:cubicBezTo>
                    <a:pt x="259652" y="218655"/>
                    <a:pt x="114872" y="-29947"/>
                    <a:pt x="100298" y="3009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B302B77A-791F-4CA3-9451-9D3B2D470CA5}"/>
                </a:ext>
              </a:extLst>
            </p:cNvPr>
            <p:cNvSpPr/>
            <p:nvPr/>
          </p:nvSpPr>
          <p:spPr>
            <a:xfrm>
              <a:off x="967953" y="1995142"/>
              <a:ext cx="41742" cy="66653"/>
            </a:xfrm>
            <a:custGeom>
              <a:avLst/>
              <a:gdLst>
                <a:gd name="connsiteX0" fmla="*/ 13907 w 41742"/>
                <a:gd name="connsiteY0" fmla="*/ 60378 h 66653"/>
                <a:gd name="connsiteX1" fmla="*/ 40672 w 41742"/>
                <a:gd name="connsiteY1" fmla="*/ 52758 h 66653"/>
                <a:gd name="connsiteX2" fmla="*/ 27813 w 41742"/>
                <a:gd name="connsiteY2" fmla="*/ 6276 h 66653"/>
                <a:gd name="connsiteX3" fmla="*/ 1048 w 41742"/>
                <a:gd name="connsiteY3" fmla="*/ 13896 h 66653"/>
                <a:gd name="connsiteX4" fmla="*/ 13907 w 41742"/>
                <a:gd name="connsiteY4" fmla="*/ 60378 h 6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42" h="66653">
                  <a:moveTo>
                    <a:pt x="13907" y="60378"/>
                  </a:moveTo>
                  <a:cubicBezTo>
                    <a:pt x="24860" y="71141"/>
                    <a:pt x="36862" y="67712"/>
                    <a:pt x="40672" y="52758"/>
                  </a:cubicBezTo>
                  <a:cubicBezTo>
                    <a:pt x="44067" y="36099"/>
                    <a:pt x="39287" y="18821"/>
                    <a:pt x="27813" y="6276"/>
                  </a:cubicBezTo>
                  <a:cubicBezTo>
                    <a:pt x="16859" y="-4487"/>
                    <a:pt x="4858" y="-1058"/>
                    <a:pt x="1048" y="13896"/>
                  </a:cubicBezTo>
                  <a:cubicBezTo>
                    <a:pt x="-2299" y="30553"/>
                    <a:pt x="2475" y="47810"/>
                    <a:pt x="13907" y="60378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D57853D-096D-4C0E-82C2-183FE7C5AFAF}"/>
                </a:ext>
              </a:extLst>
            </p:cNvPr>
            <p:cNvSpPr/>
            <p:nvPr/>
          </p:nvSpPr>
          <p:spPr>
            <a:xfrm>
              <a:off x="978444" y="2011519"/>
              <a:ext cx="21363" cy="34091"/>
            </a:xfrm>
            <a:custGeom>
              <a:avLst/>
              <a:gdLst>
                <a:gd name="connsiteX0" fmla="*/ 7130 w 21363"/>
                <a:gd name="connsiteY0" fmla="*/ 30857 h 34091"/>
                <a:gd name="connsiteX1" fmla="*/ 20846 w 21363"/>
                <a:gd name="connsiteY1" fmla="*/ 26952 h 34091"/>
                <a:gd name="connsiteX2" fmla="*/ 14179 w 21363"/>
                <a:gd name="connsiteY2" fmla="*/ 3234 h 34091"/>
                <a:gd name="connsiteX3" fmla="*/ 558 w 21363"/>
                <a:gd name="connsiteY3" fmla="*/ 7140 h 34091"/>
                <a:gd name="connsiteX4" fmla="*/ 7130 w 21363"/>
                <a:gd name="connsiteY4" fmla="*/ 30857 h 3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3" h="34091">
                  <a:moveTo>
                    <a:pt x="7130" y="30857"/>
                  </a:moveTo>
                  <a:cubicBezTo>
                    <a:pt x="12750" y="36381"/>
                    <a:pt x="18846" y="34667"/>
                    <a:pt x="20846" y="26952"/>
                  </a:cubicBezTo>
                  <a:cubicBezTo>
                    <a:pt x="22530" y="18435"/>
                    <a:pt x="20054" y="9626"/>
                    <a:pt x="14179" y="3234"/>
                  </a:cubicBezTo>
                  <a:cubicBezTo>
                    <a:pt x="8654" y="-2290"/>
                    <a:pt x="2463" y="-576"/>
                    <a:pt x="558" y="7140"/>
                  </a:cubicBezTo>
                  <a:cubicBezTo>
                    <a:pt x="-1199" y="15643"/>
                    <a:pt x="1247" y="24471"/>
                    <a:pt x="7130" y="30857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F317ECDC-77B6-4C44-901A-55E05BA075F8}"/>
                </a:ext>
              </a:extLst>
            </p:cNvPr>
            <p:cNvSpPr/>
            <p:nvPr/>
          </p:nvSpPr>
          <p:spPr>
            <a:xfrm>
              <a:off x="985098" y="2062569"/>
              <a:ext cx="15239" cy="46577"/>
            </a:xfrm>
            <a:custGeom>
              <a:avLst/>
              <a:gdLst>
                <a:gd name="connsiteX0" fmla="*/ 15240 w 15239"/>
                <a:gd name="connsiteY0" fmla="*/ 28575 h 46577"/>
                <a:gd name="connsiteX1" fmla="*/ 7620 w 15239"/>
                <a:gd name="connsiteY1" fmla="*/ 46577 h 46577"/>
                <a:gd name="connsiteX2" fmla="*/ 0 w 15239"/>
                <a:gd name="connsiteY2" fmla="*/ 28575 h 46577"/>
                <a:gd name="connsiteX3" fmla="*/ 7620 w 15239"/>
                <a:gd name="connsiteY3" fmla="*/ 0 h 46577"/>
                <a:gd name="connsiteX4" fmla="*/ 15240 w 15239"/>
                <a:gd name="connsiteY4" fmla="*/ 28575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39" h="46577">
                  <a:moveTo>
                    <a:pt x="15240" y="28575"/>
                  </a:moveTo>
                  <a:cubicBezTo>
                    <a:pt x="15240" y="41434"/>
                    <a:pt x="11811" y="46577"/>
                    <a:pt x="7620" y="46577"/>
                  </a:cubicBezTo>
                  <a:cubicBezTo>
                    <a:pt x="3429" y="46577"/>
                    <a:pt x="0" y="41434"/>
                    <a:pt x="0" y="28575"/>
                  </a:cubicBezTo>
                  <a:cubicBezTo>
                    <a:pt x="0" y="15716"/>
                    <a:pt x="3429" y="0"/>
                    <a:pt x="7620" y="0"/>
                  </a:cubicBezTo>
                  <a:cubicBezTo>
                    <a:pt x="11811" y="0"/>
                    <a:pt x="15240" y="15716"/>
                    <a:pt x="15240" y="2857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FD7D7AE6-756B-41C2-830D-3D14896E8E0B}"/>
                </a:ext>
              </a:extLst>
            </p:cNvPr>
            <p:cNvSpPr/>
            <p:nvPr/>
          </p:nvSpPr>
          <p:spPr>
            <a:xfrm>
              <a:off x="987003" y="2052377"/>
              <a:ext cx="11430" cy="11430"/>
            </a:xfrm>
            <a:custGeom>
              <a:avLst/>
              <a:gdLst>
                <a:gd name="connsiteX0" fmla="*/ 11430 w 11430"/>
                <a:gd name="connsiteY0" fmla="*/ 5715 h 11430"/>
                <a:gd name="connsiteX1" fmla="*/ 5715 w 11430"/>
                <a:gd name="connsiteY1" fmla="*/ 11430 h 11430"/>
                <a:gd name="connsiteX2" fmla="*/ 0 w 11430"/>
                <a:gd name="connsiteY2" fmla="*/ 5715 h 11430"/>
                <a:gd name="connsiteX3" fmla="*/ 5715 w 11430"/>
                <a:gd name="connsiteY3" fmla="*/ 0 h 11430"/>
                <a:gd name="connsiteX4" fmla="*/ 11430 w 11430"/>
                <a:gd name="connsiteY4" fmla="*/ 5715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" h="11430">
                  <a:moveTo>
                    <a:pt x="11430" y="5715"/>
                  </a:moveTo>
                  <a:cubicBezTo>
                    <a:pt x="11430" y="8871"/>
                    <a:pt x="8871" y="11430"/>
                    <a:pt x="5715" y="11430"/>
                  </a:cubicBezTo>
                  <a:cubicBezTo>
                    <a:pt x="2559" y="11430"/>
                    <a:pt x="0" y="8871"/>
                    <a:pt x="0" y="5715"/>
                  </a:cubicBezTo>
                  <a:cubicBezTo>
                    <a:pt x="0" y="2559"/>
                    <a:pt x="2559" y="0"/>
                    <a:pt x="5715" y="0"/>
                  </a:cubicBezTo>
                  <a:cubicBezTo>
                    <a:pt x="8871" y="0"/>
                    <a:pt x="11430" y="2559"/>
                    <a:pt x="11430" y="571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A5FA2772-C155-41AC-B4B3-33627BC11981}"/>
                </a:ext>
              </a:extLst>
            </p:cNvPr>
            <p:cNvSpPr/>
            <p:nvPr/>
          </p:nvSpPr>
          <p:spPr>
            <a:xfrm>
              <a:off x="836828" y="1769763"/>
              <a:ext cx="285239" cy="141727"/>
            </a:xfrm>
            <a:custGeom>
              <a:avLst/>
              <a:gdLst>
                <a:gd name="connsiteX0" fmla="*/ 41971 w 285239"/>
                <a:gd name="connsiteY0" fmla="*/ 117640 h 141727"/>
                <a:gd name="connsiteX1" fmla="*/ 3871 w 285239"/>
                <a:gd name="connsiteY1" fmla="*/ 39440 h 141727"/>
                <a:gd name="connsiteX2" fmla="*/ 284192 w 285239"/>
                <a:gd name="connsiteY2" fmla="*/ 72587 h 141727"/>
                <a:gd name="connsiteX3" fmla="*/ 285240 w 285239"/>
                <a:gd name="connsiteY3" fmla="*/ 74587 h 141727"/>
                <a:gd name="connsiteX4" fmla="*/ 245616 w 285239"/>
                <a:gd name="connsiteY4" fmla="*/ 117164 h 141727"/>
                <a:gd name="connsiteX5" fmla="*/ 41971 w 285239"/>
                <a:gd name="connsiteY5" fmla="*/ 117640 h 14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239" h="141727">
                  <a:moveTo>
                    <a:pt x="41971" y="117640"/>
                  </a:moveTo>
                  <a:cubicBezTo>
                    <a:pt x="5395" y="96495"/>
                    <a:pt x="-7178" y="66682"/>
                    <a:pt x="3871" y="39440"/>
                  </a:cubicBezTo>
                  <a:cubicBezTo>
                    <a:pt x="69308" y="-26568"/>
                    <a:pt x="240948" y="-5804"/>
                    <a:pt x="284192" y="72587"/>
                  </a:cubicBezTo>
                  <a:lnTo>
                    <a:pt x="285240" y="74587"/>
                  </a:lnTo>
                  <a:cubicBezTo>
                    <a:pt x="277516" y="93040"/>
                    <a:pt x="263467" y="108135"/>
                    <a:pt x="245616" y="117164"/>
                  </a:cubicBezTo>
                  <a:cubicBezTo>
                    <a:pt x="189228" y="149740"/>
                    <a:pt x="98073" y="149930"/>
                    <a:pt x="41971" y="11764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690" name="1">
            <a:extLst>
              <a:ext uri="{FF2B5EF4-FFF2-40B4-BE49-F238E27FC236}">
                <a16:creationId xmlns:a16="http://schemas.microsoft.com/office/drawing/2014/main" id="{9593EAE6-C095-4C55-B948-BA3468265B76}"/>
              </a:ext>
            </a:extLst>
          </p:cNvPr>
          <p:cNvSpPr txBox="1"/>
          <p:nvPr/>
        </p:nvSpPr>
        <p:spPr>
          <a:xfrm>
            <a:off x="375309" y="5879779"/>
            <a:ext cx="2271351" cy="65898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er walks into the store. Cameras detect.</a:t>
            </a:r>
          </a:p>
        </p:txBody>
      </p:sp>
      <p:sp>
        <p:nvSpPr>
          <p:cNvPr id="691" name="2">
            <a:extLst>
              <a:ext uri="{FF2B5EF4-FFF2-40B4-BE49-F238E27FC236}">
                <a16:creationId xmlns:a16="http://schemas.microsoft.com/office/drawing/2014/main" id="{18757164-29EC-4AAF-8365-29E0963306E2}"/>
              </a:ext>
            </a:extLst>
          </p:cNvPr>
          <p:cNvSpPr txBox="1"/>
          <p:nvPr/>
        </p:nvSpPr>
        <p:spPr>
          <a:xfrm>
            <a:off x="9056057" y="5688901"/>
            <a:ext cx="2271351" cy="65898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altime footfall metrics are available in the in-store app</a:t>
            </a:r>
          </a:p>
        </p:txBody>
      </p:sp>
      <p:grpSp>
        <p:nvGrpSpPr>
          <p:cNvPr id="889" name="CUSTOMER DRESS">
            <a:extLst>
              <a:ext uri="{FF2B5EF4-FFF2-40B4-BE49-F238E27FC236}">
                <a16:creationId xmlns:a16="http://schemas.microsoft.com/office/drawing/2014/main" id="{56BDF21A-8151-44E5-88E0-DAF9A04F1A01}"/>
              </a:ext>
            </a:extLst>
          </p:cNvPr>
          <p:cNvGrpSpPr/>
          <p:nvPr/>
        </p:nvGrpSpPr>
        <p:grpSpPr>
          <a:xfrm>
            <a:off x="5772483" y="2693980"/>
            <a:ext cx="734120" cy="1721577"/>
            <a:chOff x="2421923" y="2502911"/>
            <a:chExt cx="583474" cy="1368297"/>
          </a:xfrm>
        </p:grpSpPr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88EDD504-67BF-4FD1-AAD2-9B2325C50B73}"/>
                </a:ext>
              </a:extLst>
            </p:cNvPr>
            <p:cNvSpPr/>
            <p:nvPr/>
          </p:nvSpPr>
          <p:spPr>
            <a:xfrm flipH="1">
              <a:off x="2430160" y="3341776"/>
              <a:ext cx="14073" cy="35838"/>
            </a:xfrm>
            <a:custGeom>
              <a:avLst/>
              <a:gdLst>
                <a:gd name="connsiteX0" fmla="*/ 7593 w 14073"/>
                <a:gd name="connsiteY0" fmla="*/ 0 h 35838"/>
                <a:gd name="connsiteX1" fmla="*/ 5954 w 14073"/>
                <a:gd name="connsiteY1" fmla="*/ 17021 h 35838"/>
                <a:gd name="connsiteX2" fmla="*/ 800 w 14073"/>
                <a:gd name="connsiteY2" fmla="*/ 35839 h 35838"/>
                <a:gd name="connsiteX3" fmla="*/ 12122 w 14073"/>
                <a:gd name="connsiteY3" fmla="*/ 17021 h 35838"/>
                <a:gd name="connsiteX4" fmla="*/ 14074 w 14073"/>
                <a:gd name="connsiteY4" fmla="*/ 1405 h 3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" h="35838">
                  <a:moveTo>
                    <a:pt x="7593" y="0"/>
                  </a:moveTo>
                  <a:cubicBezTo>
                    <a:pt x="7578" y="5715"/>
                    <a:pt x="7029" y="11407"/>
                    <a:pt x="5954" y="17021"/>
                  </a:cubicBezTo>
                  <a:cubicBezTo>
                    <a:pt x="2674" y="24127"/>
                    <a:pt x="-1854" y="34277"/>
                    <a:pt x="800" y="35839"/>
                  </a:cubicBezTo>
                  <a:cubicBezTo>
                    <a:pt x="5690" y="30311"/>
                    <a:pt x="9527" y="23931"/>
                    <a:pt x="12122" y="17021"/>
                  </a:cubicBezTo>
                  <a:cubicBezTo>
                    <a:pt x="13096" y="11860"/>
                    <a:pt x="13748" y="6645"/>
                    <a:pt x="14074" y="1405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FE0B88E2-2395-46F8-B30C-6ABA15ED6120}"/>
                </a:ext>
              </a:extLst>
            </p:cNvPr>
            <p:cNvSpPr/>
            <p:nvPr/>
          </p:nvSpPr>
          <p:spPr>
            <a:xfrm flipH="1">
              <a:off x="2421923" y="3344743"/>
              <a:ext cx="10969" cy="40601"/>
            </a:xfrm>
            <a:custGeom>
              <a:avLst/>
              <a:gdLst>
                <a:gd name="connsiteX0" fmla="*/ 0 w 10969"/>
                <a:gd name="connsiteY0" fmla="*/ 4294 h 40601"/>
                <a:gd name="connsiteX1" fmla="*/ 2889 w 10969"/>
                <a:gd name="connsiteY1" fmla="*/ 21160 h 40601"/>
                <a:gd name="connsiteX2" fmla="*/ 2889 w 10969"/>
                <a:gd name="connsiteY2" fmla="*/ 40602 h 40601"/>
                <a:gd name="connsiteX3" fmla="*/ 9838 w 10969"/>
                <a:gd name="connsiteY3" fmla="*/ 16319 h 40601"/>
                <a:gd name="connsiteX4" fmla="*/ 10853 w 10969"/>
                <a:gd name="connsiteY4" fmla="*/ 0 h 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9" h="40601">
                  <a:moveTo>
                    <a:pt x="0" y="4294"/>
                  </a:moveTo>
                  <a:cubicBezTo>
                    <a:pt x="1500" y="9815"/>
                    <a:pt x="2467" y="15460"/>
                    <a:pt x="2889" y="21160"/>
                  </a:cubicBezTo>
                  <a:cubicBezTo>
                    <a:pt x="1640" y="28968"/>
                    <a:pt x="312" y="40367"/>
                    <a:pt x="2889" y="40602"/>
                  </a:cubicBezTo>
                  <a:cubicBezTo>
                    <a:pt x="6130" y="32801"/>
                    <a:pt x="8462" y="24650"/>
                    <a:pt x="9838" y="16319"/>
                  </a:cubicBezTo>
                  <a:cubicBezTo>
                    <a:pt x="9838" y="12961"/>
                    <a:pt x="11400" y="4763"/>
                    <a:pt x="10853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0DA74C87-E747-458D-8AA9-F7AA62CFEE58}"/>
                </a:ext>
              </a:extLst>
            </p:cNvPr>
            <p:cNvSpPr/>
            <p:nvPr/>
          </p:nvSpPr>
          <p:spPr>
            <a:xfrm flipH="1">
              <a:off x="2421962" y="3308904"/>
              <a:ext cx="20895" cy="48635"/>
            </a:xfrm>
            <a:custGeom>
              <a:avLst/>
              <a:gdLst>
                <a:gd name="connsiteX0" fmla="*/ 13634 w 20895"/>
                <a:gd name="connsiteY0" fmla="*/ 0 h 48635"/>
                <a:gd name="connsiteX1" fmla="*/ 20896 w 20895"/>
                <a:gd name="connsiteY1" fmla="*/ 35839 h 48635"/>
                <a:gd name="connsiteX2" fmla="*/ 5280 w 20895"/>
                <a:gd name="connsiteY2" fmla="*/ 46380 h 48635"/>
                <a:gd name="connsiteX3" fmla="*/ 2313 w 20895"/>
                <a:gd name="connsiteY3" fmla="*/ 30763 h 48635"/>
                <a:gd name="connsiteX4" fmla="*/ 1376 w 20895"/>
                <a:gd name="connsiteY4" fmla="*/ 6871 h 48635"/>
                <a:gd name="connsiteX5" fmla="*/ 4343 w 20895"/>
                <a:gd name="connsiteY5" fmla="*/ 703 h 48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95" h="48635">
                  <a:moveTo>
                    <a:pt x="13634" y="0"/>
                  </a:moveTo>
                  <a:cubicBezTo>
                    <a:pt x="17211" y="11681"/>
                    <a:pt x="19643" y="23682"/>
                    <a:pt x="20896" y="35839"/>
                  </a:cubicBezTo>
                  <a:cubicBezTo>
                    <a:pt x="19959" y="43647"/>
                    <a:pt x="6529" y="53016"/>
                    <a:pt x="5280" y="46380"/>
                  </a:cubicBezTo>
                  <a:cubicBezTo>
                    <a:pt x="4655" y="43959"/>
                    <a:pt x="3718" y="36541"/>
                    <a:pt x="2313" y="30763"/>
                  </a:cubicBezTo>
                  <a:cubicBezTo>
                    <a:pt x="-410" y="23080"/>
                    <a:pt x="-737" y="14749"/>
                    <a:pt x="1376" y="6871"/>
                  </a:cubicBezTo>
                  <a:lnTo>
                    <a:pt x="4343" y="703"/>
                  </a:ln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8ACB09E8-AAF8-47D9-A275-61FEF1A1E5BB}"/>
                </a:ext>
              </a:extLst>
            </p:cNvPr>
            <p:cNvSpPr/>
            <p:nvPr/>
          </p:nvSpPr>
          <p:spPr>
            <a:xfrm flipH="1">
              <a:off x="2429934" y="3350911"/>
              <a:ext cx="8190" cy="36931"/>
            </a:xfrm>
            <a:custGeom>
              <a:avLst/>
              <a:gdLst>
                <a:gd name="connsiteX0" fmla="*/ 0 w 8190"/>
                <a:gd name="connsiteY0" fmla="*/ 0 h 36931"/>
                <a:gd name="connsiteX1" fmla="*/ 2108 w 8190"/>
                <a:gd name="connsiteY1" fmla="*/ 17021 h 36931"/>
                <a:gd name="connsiteX2" fmla="*/ 3123 w 8190"/>
                <a:gd name="connsiteY2" fmla="*/ 36932 h 36931"/>
                <a:gd name="connsiteX3" fmla="*/ 8120 w 8190"/>
                <a:gd name="connsiteY3" fmla="*/ 17021 h 36931"/>
                <a:gd name="connsiteX4" fmla="*/ 6637 w 8190"/>
                <a:gd name="connsiteY4" fmla="*/ 156 h 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0" h="36931">
                  <a:moveTo>
                    <a:pt x="0" y="0"/>
                  </a:moveTo>
                  <a:cubicBezTo>
                    <a:pt x="1244" y="5590"/>
                    <a:pt x="1950" y="11290"/>
                    <a:pt x="2108" y="17021"/>
                  </a:cubicBezTo>
                  <a:cubicBezTo>
                    <a:pt x="703" y="24829"/>
                    <a:pt x="859" y="36698"/>
                    <a:pt x="3123" y="36932"/>
                  </a:cubicBezTo>
                  <a:cubicBezTo>
                    <a:pt x="6661" y="30912"/>
                    <a:pt x="8396" y="24002"/>
                    <a:pt x="8120" y="17021"/>
                  </a:cubicBezTo>
                  <a:cubicBezTo>
                    <a:pt x="8389" y="11361"/>
                    <a:pt x="7890" y="5684"/>
                    <a:pt x="6637" y="156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B9656D8E-1C74-4815-9E75-1698347D6AB0}"/>
                </a:ext>
              </a:extLst>
            </p:cNvPr>
            <p:cNvSpPr/>
            <p:nvPr/>
          </p:nvSpPr>
          <p:spPr>
            <a:xfrm flipH="1">
              <a:off x="2428263" y="2789906"/>
              <a:ext cx="176115" cy="530567"/>
            </a:xfrm>
            <a:custGeom>
              <a:avLst/>
              <a:gdLst>
                <a:gd name="connsiteX0" fmla="*/ 17824 w 176115"/>
                <a:gd name="connsiteY0" fmla="*/ 0 h 530567"/>
                <a:gd name="connsiteX1" fmla="*/ 150560 w 176115"/>
                <a:gd name="connsiteY1" fmla="*/ 289287 h 530567"/>
                <a:gd name="connsiteX2" fmla="*/ 176093 w 176115"/>
                <a:gd name="connsiteY2" fmla="*/ 524229 h 530567"/>
                <a:gd name="connsiteX3" fmla="*/ 162507 w 176115"/>
                <a:gd name="connsiteY3" fmla="*/ 530554 h 530567"/>
                <a:gd name="connsiteX4" fmla="*/ 106289 w 176115"/>
                <a:gd name="connsiteY4" fmla="*/ 303419 h 530567"/>
                <a:gd name="connsiteX5" fmla="*/ 23758 w 176115"/>
                <a:gd name="connsiteY5" fmla="*/ 140388 h 530567"/>
                <a:gd name="connsiteX6" fmla="*/ 17824 w 176115"/>
                <a:gd name="connsiteY6" fmla="*/ 0 h 53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115" h="530567">
                  <a:moveTo>
                    <a:pt x="17824" y="0"/>
                  </a:moveTo>
                  <a:cubicBezTo>
                    <a:pt x="17824" y="0"/>
                    <a:pt x="66390" y="46848"/>
                    <a:pt x="150560" y="289287"/>
                  </a:cubicBezTo>
                  <a:cubicBezTo>
                    <a:pt x="157509" y="308026"/>
                    <a:pt x="176873" y="368850"/>
                    <a:pt x="176093" y="524229"/>
                  </a:cubicBezTo>
                  <a:cubicBezTo>
                    <a:pt x="172857" y="528415"/>
                    <a:pt x="167793" y="530773"/>
                    <a:pt x="162507" y="530554"/>
                  </a:cubicBezTo>
                  <a:cubicBezTo>
                    <a:pt x="153684" y="468090"/>
                    <a:pt x="96841" y="374862"/>
                    <a:pt x="106289" y="303419"/>
                  </a:cubicBezTo>
                  <a:cubicBezTo>
                    <a:pt x="79351" y="263442"/>
                    <a:pt x="48744" y="198792"/>
                    <a:pt x="23758" y="140388"/>
                  </a:cubicBezTo>
                  <a:cubicBezTo>
                    <a:pt x="-1227" y="81984"/>
                    <a:pt x="-11456" y="20301"/>
                    <a:pt x="17824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EA673527-C212-4E82-A323-C67284C16065}"/>
                </a:ext>
              </a:extLst>
            </p:cNvPr>
            <p:cNvSpPr/>
            <p:nvPr/>
          </p:nvSpPr>
          <p:spPr>
            <a:xfrm flipH="1">
              <a:off x="2564853" y="3506681"/>
              <a:ext cx="135073" cy="318357"/>
            </a:xfrm>
            <a:custGeom>
              <a:avLst/>
              <a:gdLst>
                <a:gd name="connsiteX0" fmla="*/ 0 w 135073"/>
                <a:gd name="connsiteY0" fmla="*/ 0 h 318357"/>
                <a:gd name="connsiteX1" fmla="*/ 59732 w 135073"/>
                <a:gd name="connsiteY1" fmla="*/ 171386 h 318357"/>
                <a:gd name="connsiteX2" fmla="*/ 6654 w 135073"/>
                <a:gd name="connsiteY2" fmla="*/ 291200 h 318357"/>
                <a:gd name="connsiteX3" fmla="*/ 1556 w 135073"/>
                <a:gd name="connsiteY3" fmla="*/ 318357 h 318357"/>
                <a:gd name="connsiteX4" fmla="*/ 97145 w 135073"/>
                <a:gd name="connsiteY4" fmla="*/ 260635 h 318357"/>
                <a:gd name="connsiteX5" fmla="*/ 99855 w 135073"/>
                <a:gd name="connsiteY5" fmla="*/ 241219 h 318357"/>
                <a:gd name="connsiteX6" fmla="*/ 127427 w 135073"/>
                <a:gd name="connsiteY6" fmla="*/ 167950 h 318357"/>
                <a:gd name="connsiteX7" fmla="*/ 130941 w 135073"/>
                <a:gd name="connsiteY7" fmla="*/ 63557 h 31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73" h="318357">
                  <a:moveTo>
                    <a:pt x="0" y="0"/>
                  </a:moveTo>
                  <a:cubicBezTo>
                    <a:pt x="0" y="0"/>
                    <a:pt x="63557" y="146400"/>
                    <a:pt x="59732" y="171386"/>
                  </a:cubicBezTo>
                  <a:cubicBezTo>
                    <a:pt x="48605" y="202716"/>
                    <a:pt x="20394" y="248363"/>
                    <a:pt x="6654" y="291200"/>
                  </a:cubicBezTo>
                  <a:lnTo>
                    <a:pt x="1556" y="318357"/>
                  </a:lnTo>
                  <a:lnTo>
                    <a:pt x="97145" y="260635"/>
                  </a:lnTo>
                  <a:lnTo>
                    <a:pt x="99855" y="241219"/>
                  </a:lnTo>
                  <a:cubicBezTo>
                    <a:pt x="109566" y="189949"/>
                    <a:pt x="121103" y="188798"/>
                    <a:pt x="127427" y="167950"/>
                  </a:cubicBezTo>
                  <a:cubicBezTo>
                    <a:pt x="142262" y="118994"/>
                    <a:pt x="130941" y="63557"/>
                    <a:pt x="130941" y="63557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F924414C-0A80-4738-A5CE-87E3AAD90544}"/>
                </a:ext>
              </a:extLst>
            </p:cNvPr>
            <p:cNvSpPr/>
            <p:nvPr/>
          </p:nvSpPr>
          <p:spPr>
            <a:xfrm flipH="1">
              <a:off x="2645657" y="3555403"/>
              <a:ext cx="138049" cy="315805"/>
            </a:xfrm>
            <a:custGeom>
              <a:avLst/>
              <a:gdLst>
                <a:gd name="connsiteX0" fmla="*/ 0 w 138049"/>
                <a:gd name="connsiteY0" fmla="*/ 0 h 315805"/>
                <a:gd name="connsiteX1" fmla="*/ 59731 w 138049"/>
                <a:gd name="connsiteY1" fmla="*/ 171386 h 315805"/>
                <a:gd name="connsiteX2" fmla="*/ 12883 w 138049"/>
                <a:gd name="connsiteY2" fmla="*/ 262115 h 315805"/>
                <a:gd name="connsiteX3" fmla="*/ 8500 w 138049"/>
                <a:gd name="connsiteY3" fmla="*/ 304161 h 315805"/>
                <a:gd name="connsiteX4" fmla="*/ 8876 w 138049"/>
                <a:gd name="connsiteY4" fmla="*/ 315805 h 315805"/>
                <a:gd name="connsiteX5" fmla="*/ 119782 w 138049"/>
                <a:gd name="connsiteY5" fmla="*/ 248835 h 315805"/>
                <a:gd name="connsiteX6" fmla="*/ 123420 w 138049"/>
                <a:gd name="connsiteY6" fmla="*/ 234057 h 315805"/>
                <a:gd name="connsiteX7" fmla="*/ 137577 w 138049"/>
                <a:gd name="connsiteY7" fmla="*/ 161235 h 315805"/>
                <a:gd name="connsiteX8" fmla="*/ 130628 w 138049"/>
                <a:gd name="connsiteY8" fmla="*/ 63557 h 31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049" h="315805">
                  <a:moveTo>
                    <a:pt x="0" y="0"/>
                  </a:moveTo>
                  <a:cubicBezTo>
                    <a:pt x="0" y="0"/>
                    <a:pt x="63557" y="146400"/>
                    <a:pt x="59731" y="171386"/>
                  </a:cubicBezTo>
                  <a:cubicBezTo>
                    <a:pt x="46302" y="195278"/>
                    <a:pt x="25766" y="234865"/>
                    <a:pt x="12883" y="262115"/>
                  </a:cubicBezTo>
                  <a:cubicBezTo>
                    <a:pt x="9662" y="268928"/>
                    <a:pt x="8379" y="283265"/>
                    <a:pt x="8500" y="304161"/>
                  </a:cubicBezTo>
                  <a:lnTo>
                    <a:pt x="8876" y="315805"/>
                  </a:lnTo>
                  <a:lnTo>
                    <a:pt x="119782" y="248835"/>
                  </a:lnTo>
                  <a:lnTo>
                    <a:pt x="123420" y="234057"/>
                  </a:lnTo>
                  <a:cubicBezTo>
                    <a:pt x="130921" y="202930"/>
                    <a:pt x="136308" y="178022"/>
                    <a:pt x="137577" y="161235"/>
                  </a:cubicBezTo>
                  <a:cubicBezTo>
                    <a:pt x="139143" y="128512"/>
                    <a:pt x="136811" y="95726"/>
                    <a:pt x="130628" y="63557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9423B1DB-2D85-46F3-A4E4-AA673BD9B1F3}"/>
                </a:ext>
              </a:extLst>
            </p:cNvPr>
            <p:cNvSpPr/>
            <p:nvPr/>
          </p:nvSpPr>
          <p:spPr>
            <a:xfrm flipH="1">
              <a:off x="2532356" y="2789203"/>
              <a:ext cx="292639" cy="930548"/>
            </a:xfrm>
            <a:custGeom>
              <a:avLst/>
              <a:gdLst>
                <a:gd name="connsiteX0" fmla="*/ 292316 w 292639"/>
                <a:gd name="connsiteY0" fmla="*/ 573342 h 930548"/>
                <a:gd name="connsiteX1" fmla="*/ 270297 w 292639"/>
                <a:gd name="connsiteY1" fmla="*/ 442636 h 930548"/>
                <a:gd name="connsiteX2" fmla="*/ 229227 w 292639"/>
                <a:gd name="connsiteY2" fmla="*/ 351360 h 930548"/>
                <a:gd name="connsiteX3" fmla="*/ 292316 w 292639"/>
                <a:gd name="connsiteY3" fmla="*/ 195200 h 930548"/>
                <a:gd name="connsiteX4" fmla="*/ 238441 w 292639"/>
                <a:gd name="connsiteY4" fmla="*/ 0 h 930548"/>
                <a:gd name="connsiteX5" fmla="*/ 9744 w 292639"/>
                <a:gd name="connsiteY5" fmla="*/ 124928 h 930548"/>
                <a:gd name="connsiteX6" fmla="*/ 132798 w 292639"/>
                <a:gd name="connsiteY6" fmla="*/ 373379 h 930548"/>
                <a:gd name="connsiteX7" fmla="*/ 4903 w 292639"/>
                <a:gd name="connsiteY7" fmla="*/ 539221 h 930548"/>
                <a:gd name="connsiteX8" fmla="*/ 3966 w 292639"/>
                <a:gd name="connsiteY8" fmla="*/ 542188 h 930548"/>
                <a:gd name="connsiteX9" fmla="*/ 2170 w 292639"/>
                <a:gd name="connsiteY9" fmla="*/ 549996 h 930548"/>
                <a:gd name="connsiteX10" fmla="*/ 76034 w 292639"/>
                <a:gd name="connsiteY10" fmla="*/ 883476 h 930548"/>
                <a:gd name="connsiteX11" fmla="*/ 102581 w 292639"/>
                <a:gd name="connsiteY11" fmla="*/ 914708 h 930548"/>
                <a:gd name="connsiteX12" fmla="*/ 234146 w 292639"/>
                <a:gd name="connsiteY12" fmla="*/ 914708 h 930548"/>
                <a:gd name="connsiteX13" fmla="*/ 260928 w 292639"/>
                <a:gd name="connsiteY13" fmla="*/ 880353 h 930548"/>
                <a:gd name="connsiteX14" fmla="*/ 260928 w 292639"/>
                <a:gd name="connsiteY14" fmla="*/ 880353 h 930548"/>
                <a:gd name="connsiteX15" fmla="*/ 292316 w 292639"/>
                <a:gd name="connsiteY15" fmla="*/ 573342 h 93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2639" h="930548">
                  <a:moveTo>
                    <a:pt x="292316" y="573342"/>
                  </a:moveTo>
                  <a:cubicBezTo>
                    <a:pt x="291535" y="528922"/>
                    <a:pt x="284113" y="484863"/>
                    <a:pt x="270297" y="442636"/>
                  </a:cubicBezTo>
                  <a:cubicBezTo>
                    <a:pt x="270297" y="442636"/>
                    <a:pt x="260303" y="416401"/>
                    <a:pt x="229227" y="351360"/>
                  </a:cubicBezTo>
                  <a:cubicBezTo>
                    <a:pt x="235396" y="296001"/>
                    <a:pt x="292316" y="195200"/>
                    <a:pt x="292316" y="195200"/>
                  </a:cubicBezTo>
                  <a:cubicBezTo>
                    <a:pt x="245468" y="126490"/>
                    <a:pt x="238441" y="0"/>
                    <a:pt x="238441" y="0"/>
                  </a:cubicBezTo>
                  <a:cubicBezTo>
                    <a:pt x="109687" y="31779"/>
                    <a:pt x="9744" y="124928"/>
                    <a:pt x="9744" y="124928"/>
                  </a:cubicBezTo>
                  <a:cubicBezTo>
                    <a:pt x="10212" y="222997"/>
                    <a:pt x="119056" y="357060"/>
                    <a:pt x="132798" y="373379"/>
                  </a:cubicBezTo>
                  <a:cubicBezTo>
                    <a:pt x="123741" y="382358"/>
                    <a:pt x="24189" y="482691"/>
                    <a:pt x="4903" y="539221"/>
                  </a:cubicBezTo>
                  <a:cubicBezTo>
                    <a:pt x="4903" y="540158"/>
                    <a:pt x="4278" y="541173"/>
                    <a:pt x="3966" y="542188"/>
                  </a:cubicBezTo>
                  <a:cubicBezTo>
                    <a:pt x="3188" y="544749"/>
                    <a:pt x="2587" y="547357"/>
                    <a:pt x="2170" y="549996"/>
                  </a:cubicBezTo>
                  <a:cubicBezTo>
                    <a:pt x="296" y="556789"/>
                    <a:pt x="-15398" y="628622"/>
                    <a:pt x="76034" y="883476"/>
                  </a:cubicBezTo>
                  <a:cubicBezTo>
                    <a:pt x="80158" y="897124"/>
                    <a:pt x="89777" y="908438"/>
                    <a:pt x="102581" y="914708"/>
                  </a:cubicBezTo>
                  <a:cubicBezTo>
                    <a:pt x="139045" y="935789"/>
                    <a:pt x="197917" y="935867"/>
                    <a:pt x="234146" y="914708"/>
                  </a:cubicBezTo>
                  <a:cubicBezTo>
                    <a:pt x="250699" y="905182"/>
                    <a:pt x="259600" y="892845"/>
                    <a:pt x="260928" y="880353"/>
                  </a:cubicBezTo>
                  <a:lnTo>
                    <a:pt x="260928" y="880353"/>
                  </a:lnTo>
                  <a:cubicBezTo>
                    <a:pt x="260928" y="880353"/>
                    <a:pt x="296376" y="725364"/>
                    <a:pt x="292316" y="573342"/>
                  </a:cubicBezTo>
                  <a:close/>
                </a:path>
              </a:pathLst>
            </a:custGeom>
            <a:solidFill>
              <a:srgbClr val="EF9B2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6CDB3052-2D08-49B7-95ED-51B59FA0589D}"/>
                </a:ext>
              </a:extLst>
            </p:cNvPr>
            <p:cNvSpPr/>
            <p:nvPr/>
          </p:nvSpPr>
          <p:spPr>
            <a:xfrm flipH="1">
              <a:off x="2595117" y="2805288"/>
              <a:ext cx="189136" cy="157595"/>
            </a:xfrm>
            <a:custGeom>
              <a:avLst/>
              <a:gdLst>
                <a:gd name="connsiteX0" fmla="*/ 0 w 189136"/>
                <a:gd name="connsiteY0" fmla="*/ 84092 h 157595"/>
                <a:gd name="connsiteX1" fmla="*/ 156160 w 189136"/>
                <a:gd name="connsiteY1" fmla="*/ 153818 h 157595"/>
                <a:gd name="connsiteX2" fmla="*/ 161079 w 189136"/>
                <a:gd name="connsiteY2" fmla="*/ 0 h 157595"/>
                <a:gd name="connsiteX3" fmla="*/ 0 w 189136"/>
                <a:gd name="connsiteY3" fmla="*/ 84092 h 15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136" h="157595">
                  <a:moveTo>
                    <a:pt x="0" y="84092"/>
                  </a:moveTo>
                  <a:cubicBezTo>
                    <a:pt x="0" y="84092"/>
                    <a:pt x="84951" y="177242"/>
                    <a:pt x="156160" y="153818"/>
                  </a:cubicBezTo>
                  <a:cubicBezTo>
                    <a:pt x="227369" y="130394"/>
                    <a:pt x="161079" y="0"/>
                    <a:pt x="161079" y="0"/>
                  </a:cubicBezTo>
                  <a:cubicBezTo>
                    <a:pt x="101934" y="16044"/>
                    <a:pt x="46975" y="44735"/>
                    <a:pt x="0" y="84092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D4A9FF4C-95B9-417E-B25C-12B437BC5B45}"/>
                </a:ext>
              </a:extLst>
            </p:cNvPr>
            <p:cNvSpPr/>
            <p:nvPr/>
          </p:nvSpPr>
          <p:spPr>
            <a:xfrm flipH="1">
              <a:off x="2532352" y="2872436"/>
              <a:ext cx="255492" cy="847861"/>
            </a:xfrm>
            <a:custGeom>
              <a:avLst/>
              <a:gdLst>
                <a:gd name="connsiteX0" fmla="*/ 255166 w 255492"/>
                <a:gd name="connsiteY0" fmla="*/ 490108 h 847861"/>
                <a:gd name="connsiteX1" fmla="*/ 233147 w 255492"/>
                <a:gd name="connsiteY1" fmla="*/ 359402 h 847861"/>
                <a:gd name="connsiteX2" fmla="*/ 192077 w 255492"/>
                <a:gd name="connsiteY2" fmla="*/ 268127 h 847861"/>
                <a:gd name="connsiteX3" fmla="*/ 255166 w 255492"/>
                <a:gd name="connsiteY3" fmla="*/ 111967 h 847861"/>
                <a:gd name="connsiteX4" fmla="*/ 236270 w 255492"/>
                <a:gd name="connsiteY4" fmla="*/ 77143 h 847861"/>
                <a:gd name="connsiteX5" fmla="*/ 212846 w 255492"/>
                <a:gd name="connsiteY5" fmla="*/ 0 h 847861"/>
                <a:gd name="connsiteX6" fmla="*/ 126958 w 255492"/>
                <a:gd name="connsiteY6" fmla="*/ 177632 h 847861"/>
                <a:gd name="connsiteX7" fmla="*/ 30685 w 255492"/>
                <a:gd name="connsiteY7" fmla="*/ 126021 h 847861"/>
                <a:gd name="connsiteX8" fmla="*/ 0 w 255492"/>
                <a:gd name="connsiteY8" fmla="*/ 142652 h 847861"/>
                <a:gd name="connsiteX9" fmla="*/ 95804 w 255492"/>
                <a:gd name="connsiteY9" fmla="*/ 291004 h 847861"/>
                <a:gd name="connsiteX10" fmla="*/ 64572 w 255492"/>
                <a:gd name="connsiteY10" fmla="*/ 323720 h 847861"/>
                <a:gd name="connsiteX11" fmla="*/ 89402 w 255492"/>
                <a:gd name="connsiteY11" fmla="*/ 365571 h 847861"/>
                <a:gd name="connsiteX12" fmla="*/ 10775 w 255492"/>
                <a:gd name="connsiteY12" fmla="*/ 716931 h 847861"/>
                <a:gd name="connsiteX13" fmla="*/ 39196 w 255492"/>
                <a:gd name="connsiteY13" fmla="*/ 800789 h 847861"/>
                <a:gd name="connsiteX14" fmla="*/ 65743 w 255492"/>
                <a:gd name="connsiteY14" fmla="*/ 832021 h 847861"/>
                <a:gd name="connsiteX15" fmla="*/ 197308 w 255492"/>
                <a:gd name="connsiteY15" fmla="*/ 832021 h 847861"/>
                <a:gd name="connsiteX16" fmla="*/ 224090 w 255492"/>
                <a:gd name="connsiteY16" fmla="*/ 797666 h 847861"/>
                <a:gd name="connsiteX17" fmla="*/ 224090 w 255492"/>
                <a:gd name="connsiteY17" fmla="*/ 797666 h 847861"/>
                <a:gd name="connsiteX18" fmla="*/ 255166 w 255492"/>
                <a:gd name="connsiteY18" fmla="*/ 490108 h 847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492" h="847861">
                  <a:moveTo>
                    <a:pt x="255166" y="490108"/>
                  </a:moveTo>
                  <a:cubicBezTo>
                    <a:pt x="254385" y="445689"/>
                    <a:pt x="246963" y="401630"/>
                    <a:pt x="233147" y="359402"/>
                  </a:cubicBezTo>
                  <a:cubicBezTo>
                    <a:pt x="233147" y="359402"/>
                    <a:pt x="223153" y="333168"/>
                    <a:pt x="192077" y="268127"/>
                  </a:cubicBezTo>
                  <a:cubicBezTo>
                    <a:pt x="196840" y="225027"/>
                    <a:pt x="239706" y="141403"/>
                    <a:pt x="255166" y="111967"/>
                  </a:cubicBezTo>
                  <a:lnTo>
                    <a:pt x="236270" y="77143"/>
                  </a:lnTo>
                  <a:cubicBezTo>
                    <a:pt x="225983" y="52248"/>
                    <a:pt x="218139" y="26412"/>
                    <a:pt x="212846" y="0"/>
                  </a:cubicBezTo>
                  <a:cubicBezTo>
                    <a:pt x="203711" y="37166"/>
                    <a:pt x="202306" y="165764"/>
                    <a:pt x="126958" y="177632"/>
                  </a:cubicBezTo>
                  <a:cubicBezTo>
                    <a:pt x="77455" y="185440"/>
                    <a:pt x="30685" y="126021"/>
                    <a:pt x="30685" y="126021"/>
                  </a:cubicBezTo>
                  <a:cubicBezTo>
                    <a:pt x="30685" y="126021"/>
                    <a:pt x="13117" y="134454"/>
                    <a:pt x="0" y="142652"/>
                  </a:cubicBezTo>
                  <a:cubicBezTo>
                    <a:pt x="26108" y="195631"/>
                    <a:pt x="58256" y="245413"/>
                    <a:pt x="95804" y="291004"/>
                  </a:cubicBezTo>
                  <a:cubicBezTo>
                    <a:pt x="92837" y="293893"/>
                    <a:pt x="80188" y="306620"/>
                    <a:pt x="64572" y="323720"/>
                  </a:cubicBezTo>
                  <a:cubicBezTo>
                    <a:pt x="64572" y="323720"/>
                    <a:pt x="84483" y="347690"/>
                    <a:pt x="89402" y="365571"/>
                  </a:cubicBezTo>
                  <a:cubicBezTo>
                    <a:pt x="94321" y="383451"/>
                    <a:pt x="71287" y="654467"/>
                    <a:pt x="10775" y="716931"/>
                  </a:cubicBezTo>
                  <a:cubicBezTo>
                    <a:pt x="18583" y="742385"/>
                    <a:pt x="28265" y="770260"/>
                    <a:pt x="39196" y="800789"/>
                  </a:cubicBezTo>
                  <a:cubicBezTo>
                    <a:pt x="43355" y="814422"/>
                    <a:pt x="52963" y="825720"/>
                    <a:pt x="65743" y="832021"/>
                  </a:cubicBezTo>
                  <a:cubicBezTo>
                    <a:pt x="102207" y="853103"/>
                    <a:pt x="161079" y="853181"/>
                    <a:pt x="197308" y="832021"/>
                  </a:cubicBezTo>
                  <a:cubicBezTo>
                    <a:pt x="213861" y="822495"/>
                    <a:pt x="222763" y="810159"/>
                    <a:pt x="224090" y="797666"/>
                  </a:cubicBezTo>
                  <a:lnTo>
                    <a:pt x="224090" y="797666"/>
                  </a:lnTo>
                  <a:cubicBezTo>
                    <a:pt x="224090" y="797666"/>
                    <a:pt x="259226" y="642130"/>
                    <a:pt x="255166" y="490108"/>
                  </a:cubicBezTo>
                  <a:close/>
                </a:path>
              </a:pathLst>
            </a:custGeom>
            <a:solidFill>
              <a:srgbClr val="EF9B2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BB96AB04-6F08-4EF0-970C-C44512053C6A}"/>
                </a:ext>
              </a:extLst>
            </p:cNvPr>
            <p:cNvSpPr/>
            <p:nvPr/>
          </p:nvSpPr>
          <p:spPr>
            <a:xfrm flipH="1">
              <a:off x="2612417" y="2808567"/>
              <a:ext cx="137324" cy="89047"/>
            </a:xfrm>
            <a:custGeom>
              <a:avLst/>
              <a:gdLst>
                <a:gd name="connsiteX0" fmla="*/ 0 w 137324"/>
                <a:gd name="connsiteY0" fmla="*/ 54656 h 89047"/>
                <a:gd name="connsiteX1" fmla="*/ 117511 w 137324"/>
                <a:gd name="connsiteY1" fmla="*/ 0 h 89047"/>
                <a:gd name="connsiteX2" fmla="*/ 126412 w 137324"/>
                <a:gd name="connsiteY2" fmla="*/ 85341 h 89047"/>
                <a:gd name="connsiteX3" fmla="*/ 0 w 137324"/>
                <a:gd name="connsiteY3" fmla="*/ 54656 h 8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24" h="89047">
                  <a:moveTo>
                    <a:pt x="0" y="54656"/>
                  </a:moveTo>
                  <a:cubicBezTo>
                    <a:pt x="0" y="54656"/>
                    <a:pt x="40055" y="19520"/>
                    <a:pt x="117511" y="0"/>
                  </a:cubicBezTo>
                  <a:cubicBezTo>
                    <a:pt x="117511" y="0"/>
                    <a:pt x="155379" y="67461"/>
                    <a:pt x="126412" y="85341"/>
                  </a:cubicBezTo>
                  <a:cubicBezTo>
                    <a:pt x="110561" y="94867"/>
                    <a:pt x="63948" y="86513"/>
                    <a:pt x="0" y="54656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853681B1-CD62-4CE8-9EB1-980DE379ABF3}"/>
                </a:ext>
              </a:extLst>
            </p:cNvPr>
            <p:cNvSpPr/>
            <p:nvPr/>
          </p:nvSpPr>
          <p:spPr>
            <a:xfrm flipH="1">
              <a:off x="2644957" y="2748523"/>
              <a:ext cx="99787" cy="104522"/>
            </a:xfrm>
            <a:custGeom>
              <a:avLst/>
              <a:gdLst>
                <a:gd name="connsiteX0" fmla="*/ 0 w 99787"/>
                <a:gd name="connsiteY0" fmla="*/ 8589 h 104522"/>
                <a:gd name="connsiteX1" fmla="*/ 32403 w 99787"/>
                <a:gd name="connsiteY1" fmla="*/ 103925 h 104522"/>
                <a:gd name="connsiteX2" fmla="*/ 99786 w 99787"/>
                <a:gd name="connsiteY2" fmla="*/ 97756 h 104522"/>
                <a:gd name="connsiteX3" fmla="*/ 99786 w 99787"/>
                <a:gd name="connsiteY3" fmla="*/ 0 h 10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7" h="104522">
                  <a:moveTo>
                    <a:pt x="0" y="8589"/>
                  </a:moveTo>
                  <a:cubicBezTo>
                    <a:pt x="13188" y="39505"/>
                    <a:pt x="24021" y="71375"/>
                    <a:pt x="32403" y="103925"/>
                  </a:cubicBezTo>
                  <a:cubicBezTo>
                    <a:pt x="32403" y="103925"/>
                    <a:pt x="100099" y="107360"/>
                    <a:pt x="99786" y="97756"/>
                  </a:cubicBezTo>
                  <a:lnTo>
                    <a:pt x="99786" y="0"/>
                  </a:ln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EC5FA9BC-4262-45DD-AB4E-CD9C663556BA}"/>
                </a:ext>
              </a:extLst>
            </p:cNvPr>
            <p:cNvSpPr/>
            <p:nvPr/>
          </p:nvSpPr>
          <p:spPr>
            <a:xfrm flipH="1">
              <a:off x="2562029" y="2623986"/>
              <a:ext cx="18044" cy="78080"/>
            </a:xfrm>
            <a:custGeom>
              <a:avLst/>
              <a:gdLst>
                <a:gd name="connsiteX0" fmla="*/ 17646 w 18044"/>
                <a:gd name="connsiteY0" fmla="*/ 0 h 78080"/>
                <a:gd name="connsiteX1" fmla="*/ 4919 w 18044"/>
                <a:gd name="connsiteY1" fmla="*/ 78080 h 78080"/>
                <a:gd name="connsiteX2" fmla="*/ 0 w 18044"/>
                <a:gd name="connsiteY2" fmla="*/ 8667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" h="78080">
                  <a:moveTo>
                    <a:pt x="17646" y="0"/>
                  </a:moveTo>
                  <a:cubicBezTo>
                    <a:pt x="17646" y="0"/>
                    <a:pt x="21550" y="55671"/>
                    <a:pt x="4919" y="78080"/>
                  </a:cubicBezTo>
                  <a:lnTo>
                    <a:pt x="0" y="8667"/>
                  </a:ln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A2C4E268-EF5C-464A-A2CE-617B8A7E5071}"/>
                </a:ext>
              </a:extLst>
            </p:cNvPr>
            <p:cNvSpPr/>
            <p:nvPr/>
          </p:nvSpPr>
          <p:spPr>
            <a:xfrm flipH="1">
              <a:off x="2647582" y="2577222"/>
              <a:ext cx="186720" cy="419127"/>
            </a:xfrm>
            <a:custGeom>
              <a:avLst/>
              <a:gdLst>
                <a:gd name="connsiteX0" fmla="*/ 23424 w 186720"/>
                <a:gd name="connsiteY0" fmla="*/ 8192 h 419127"/>
                <a:gd name="connsiteX1" fmla="*/ 0 w 186720"/>
                <a:gd name="connsiteY1" fmla="*/ 82525 h 419127"/>
                <a:gd name="connsiteX2" fmla="*/ 14991 w 186720"/>
                <a:gd name="connsiteY2" fmla="*/ 139289 h 419127"/>
                <a:gd name="connsiteX3" fmla="*/ 312 w 186720"/>
                <a:gd name="connsiteY3" fmla="*/ 186839 h 419127"/>
                <a:gd name="connsiteX4" fmla="*/ 26547 w 186720"/>
                <a:gd name="connsiteY4" fmla="*/ 235874 h 419127"/>
                <a:gd name="connsiteX5" fmla="*/ 15226 w 186720"/>
                <a:gd name="connsiteY5" fmla="*/ 274289 h 419127"/>
                <a:gd name="connsiteX6" fmla="*/ 71131 w 186720"/>
                <a:gd name="connsiteY6" fmla="*/ 332537 h 419127"/>
                <a:gd name="connsiteX7" fmla="*/ 94555 w 186720"/>
                <a:gd name="connsiteY7" fmla="*/ 377433 h 419127"/>
                <a:gd name="connsiteX8" fmla="*/ 182707 w 186720"/>
                <a:gd name="connsiteY8" fmla="*/ 419128 h 419127"/>
                <a:gd name="connsiteX9" fmla="*/ 165608 w 186720"/>
                <a:gd name="connsiteY9" fmla="*/ 355805 h 419127"/>
                <a:gd name="connsiteX10" fmla="*/ 141559 w 186720"/>
                <a:gd name="connsiteY10" fmla="*/ 293341 h 419127"/>
                <a:gd name="connsiteX11" fmla="*/ 120243 w 186720"/>
                <a:gd name="connsiteY11" fmla="*/ 268745 h 419127"/>
                <a:gd name="connsiteX12" fmla="*/ 122195 w 186720"/>
                <a:gd name="connsiteY12" fmla="*/ 234781 h 419127"/>
                <a:gd name="connsiteX13" fmla="*/ 102207 w 186720"/>
                <a:gd name="connsiteY13" fmla="*/ 183560 h 419127"/>
                <a:gd name="connsiteX14" fmla="*/ 102753 w 186720"/>
                <a:gd name="connsiteY14" fmla="*/ 137259 h 419127"/>
                <a:gd name="connsiteX15" fmla="*/ 23424 w 186720"/>
                <a:gd name="connsiteY15" fmla="*/ 8192 h 41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720" h="419127">
                  <a:moveTo>
                    <a:pt x="23424" y="8192"/>
                  </a:moveTo>
                  <a:cubicBezTo>
                    <a:pt x="18193" y="47232"/>
                    <a:pt x="0" y="54181"/>
                    <a:pt x="0" y="82525"/>
                  </a:cubicBezTo>
                  <a:cubicBezTo>
                    <a:pt x="0" y="110868"/>
                    <a:pt x="14991" y="111883"/>
                    <a:pt x="14991" y="139289"/>
                  </a:cubicBezTo>
                  <a:cubicBezTo>
                    <a:pt x="14991" y="162713"/>
                    <a:pt x="-1796" y="166773"/>
                    <a:pt x="312" y="186839"/>
                  </a:cubicBezTo>
                  <a:cubicBezTo>
                    <a:pt x="2420" y="206906"/>
                    <a:pt x="26547" y="210263"/>
                    <a:pt x="26547" y="235874"/>
                  </a:cubicBezTo>
                  <a:cubicBezTo>
                    <a:pt x="26547" y="251490"/>
                    <a:pt x="15226" y="261406"/>
                    <a:pt x="15226" y="274289"/>
                  </a:cubicBezTo>
                  <a:cubicBezTo>
                    <a:pt x="15226" y="312626"/>
                    <a:pt x="39899" y="301773"/>
                    <a:pt x="71131" y="332537"/>
                  </a:cubicBezTo>
                  <a:cubicBezTo>
                    <a:pt x="86747" y="349402"/>
                    <a:pt x="73083" y="365409"/>
                    <a:pt x="94555" y="377433"/>
                  </a:cubicBezTo>
                  <a:cubicBezTo>
                    <a:pt x="116027" y="389457"/>
                    <a:pt x="160064" y="373841"/>
                    <a:pt x="182707" y="419128"/>
                  </a:cubicBezTo>
                  <a:cubicBezTo>
                    <a:pt x="182707" y="398046"/>
                    <a:pt x="199104" y="369937"/>
                    <a:pt x="165608" y="355805"/>
                  </a:cubicBezTo>
                  <a:cubicBezTo>
                    <a:pt x="136562" y="335270"/>
                    <a:pt x="148430" y="316765"/>
                    <a:pt x="141559" y="293341"/>
                  </a:cubicBezTo>
                  <a:cubicBezTo>
                    <a:pt x="135469" y="272181"/>
                    <a:pt x="124772" y="281238"/>
                    <a:pt x="120243" y="268745"/>
                  </a:cubicBezTo>
                  <a:cubicBezTo>
                    <a:pt x="115715" y="256253"/>
                    <a:pt x="125162" y="252192"/>
                    <a:pt x="122195" y="234781"/>
                  </a:cubicBezTo>
                  <a:cubicBezTo>
                    <a:pt x="116808" y="203549"/>
                    <a:pt x="101816" y="203080"/>
                    <a:pt x="102207" y="183560"/>
                  </a:cubicBezTo>
                  <a:cubicBezTo>
                    <a:pt x="102207" y="169115"/>
                    <a:pt x="102753" y="153265"/>
                    <a:pt x="102753" y="137259"/>
                  </a:cubicBezTo>
                  <a:cubicBezTo>
                    <a:pt x="102753" y="76903"/>
                    <a:pt x="28655" y="-30457"/>
                    <a:pt x="23424" y="8192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BBDD602B-0758-448F-8AB5-1DE636C456A7}"/>
                </a:ext>
              </a:extLst>
            </p:cNvPr>
            <p:cNvSpPr/>
            <p:nvPr/>
          </p:nvSpPr>
          <p:spPr>
            <a:xfrm flipH="1">
              <a:off x="2732018" y="2704112"/>
              <a:ext cx="43802" cy="56307"/>
            </a:xfrm>
            <a:custGeom>
              <a:avLst/>
              <a:gdLst>
                <a:gd name="connsiteX0" fmla="*/ 43803 w 43802"/>
                <a:gd name="connsiteY0" fmla="*/ 40820 h 56307"/>
                <a:gd name="connsiteX1" fmla="*/ 21862 w 43802"/>
                <a:gd name="connsiteY1" fmla="*/ 53313 h 56307"/>
                <a:gd name="connsiteX2" fmla="*/ 0 w 43802"/>
                <a:gd name="connsiteY2" fmla="*/ 15522 h 56307"/>
                <a:gd name="connsiteX3" fmla="*/ 21862 w 43802"/>
                <a:gd name="connsiteY3" fmla="*/ 3029 h 56307"/>
                <a:gd name="connsiteX4" fmla="*/ 43803 w 43802"/>
                <a:gd name="connsiteY4" fmla="*/ 40820 h 56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307">
                  <a:moveTo>
                    <a:pt x="43803" y="40820"/>
                  </a:moveTo>
                  <a:cubicBezTo>
                    <a:pt x="43803" y="54718"/>
                    <a:pt x="33965" y="60262"/>
                    <a:pt x="21862" y="53313"/>
                  </a:cubicBezTo>
                  <a:cubicBezTo>
                    <a:pt x="8967" y="44921"/>
                    <a:pt x="846" y="30884"/>
                    <a:pt x="0" y="15522"/>
                  </a:cubicBezTo>
                  <a:cubicBezTo>
                    <a:pt x="0" y="1624"/>
                    <a:pt x="9760" y="-3998"/>
                    <a:pt x="21862" y="3029"/>
                  </a:cubicBezTo>
                  <a:cubicBezTo>
                    <a:pt x="34788" y="11403"/>
                    <a:pt x="42939" y="25444"/>
                    <a:pt x="43803" y="40820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7DA8E0E-A89E-45A3-865D-005B3AC13BC3}"/>
                </a:ext>
              </a:extLst>
            </p:cNvPr>
            <p:cNvSpPr/>
            <p:nvPr/>
          </p:nvSpPr>
          <p:spPr>
            <a:xfrm flipH="1">
              <a:off x="2569579" y="2610067"/>
              <a:ext cx="173682" cy="222958"/>
            </a:xfrm>
            <a:custGeom>
              <a:avLst/>
              <a:gdLst>
                <a:gd name="connsiteX0" fmla="*/ 171074 w 173682"/>
                <a:gd name="connsiteY0" fmla="*/ 2129 h 222958"/>
                <a:gd name="connsiteX1" fmla="*/ 144526 w 173682"/>
                <a:gd name="connsiteY1" fmla="*/ 489 h 222958"/>
                <a:gd name="connsiteX2" fmla="*/ 144526 w 173682"/>
                <a:gd name="connsiteY2" fmla="*/ 489 h 222958"/>
                <a:gd name="connsiteX3" fmla="*/ 7183 w 173682"/>
                <a:gd name="connsiteY3" fmla="*/ 13607 h 222958"/>
                <a:gd name="connsiteX4" fmla="*/ 0 w 173682"/>
                <a:gd name="connsiteY4" fmla="*/ 119795 h 222958"/>
                <a:gd name="connsiteX5" fmla="*/ 2655 w 173682"/>
                <a:gd name="connsiteY5" fmla="*/ 146499 h 222958"/>
                <a:gd name="connsiteX6" fmla="*/ 117276 w 173682"/>
                <a:gd name="connsiteY6" fmla="*/ 221065 h 222958"/>
                <a:gd name="connsiteX7" fmla="*/ 173026 w 173682"/>
                <a:gd name="connsiteY7" fmla="*/ 86221 h 222958"/>
                <a:gd name="connsiteX8" fmla="*/ 171074 w 173682"/>
                <a:gd name="connsiteY8" fmla="*/ 2129 h 22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82" h="222958">
                  <a:moveTo>
                    <a:pt x="171074" y="2129"/>
                  </a:moveTo>
                  <a:cubicBezTo>
                    <a:pt x="162388" y="35"/>
                    <a:pt x="153403" y="-520"/>
                    <a:pt x="144526" y="489"/>
                  </a:cubicBezTo>
                  <a:lnTo>
                    <a:pt x="144526" y="489"/>
                  </a:lnTo>
                  <a:lnTo>
                    <a:pt x="7183" y="13607"/>
                  </a:lnTo>
                  <a:lnTo>
                    <a:pt x="0" y="119795"/>
                  </a:lnTo>
                  <a:lnTo>
                    <a:pt x="2655" y="146499"/>
                  </a:lnTo>
                  <a:cubicBezTo>
                    <a:pt x="25064" y="191082"/>
                    <a:pt x="89948" y="232387"/>
                    <a:pt x="117276" y="221065"/>
                  </a:cubicBezTo>
                  <a:cubicBezTo>
                    <a:pt x="159596" y="202951"/>
                    <a:pt x="167794" y="157274"/>
                    <a:pt x="173026" y="86221"/>
                  </a:cubicBezTo>
                  <a:cubicBezTo>
                    <a:pt x="174337" y="58179"/>
                    <a:pt x="173685" y="30080"/>
                    <a:pt x="171074" y="2129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0A3C4E86-B287-4B92-A343-5A6E914A376A}"/>
                </a:ext>
              </a:extLst>
            </p:cNvPr>
            <p:cNvSpPr/>
            <p:nvPr/>
          </p:nvSpPr>
          <p:spPr>
            <a:xfrm flipH="1">
              <a:off x="2533834" y="2502911"/>
              <a:ext cx="278499" cy="224440"/>
            </a:xfrm>
            <a:custGeom>
              <a:avLst/>
              <a:gdLst>
                <a:gd name="connsiteX0" fmla="*/ 69932 w 278499"/>
                <a:gd name="connsiteY0" fmla="*/ 215083 h 224440"/>
                <a:gd name="connsiteX1" fmla="*/ 86719 w 278499"/>
                <a:gd name="connsiteY1" fmla="*/ 213209 h 224440"/>
                <a:gd name="connsiteX2" fmla="*/ 107254 w 278499"/>
                <a:gd name="connsiteY2" fmla="*/ 171202 h 224440"/>
                <a:gd name="connsiteX3" fmla="*/ 274423 w 278499"/>
                <a:gd name="connsiteY3" fmla="*/ 116546 h 224440"/>
                <a:gd name="connsiteX4" fmla="*/ 33468 w 278499"/>
                <a:gd name="connsiteY4" fmla="*/ 25973 h 224440"/>
                <a:gd name="connsiteX5" fmla="*/ 42526 w 278499"/>
                <a:gd name="connsiteY5" fmla="*/ 202434 h 224440"/>
                <a:gd name="connsiteX6" fmla="*/ 69932 w 278499"/>
                <a:gd name="connsiteY6" fmla="*/ 215083 h 22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499" h="224440">
                  <a:moveTo>
                    <a:pt x="69932" y="215083"/>
                  </a:moveTo>
                  <a:cubicBezTo>
                    <a:pt x="69932" y="215083"/>
                    <a:pt x="85548" y="237336"/>
                    <a:pt x="86719" y="213209"/>
                  </a:cubicBezTo>
                  <a:cubicBezTo>
                    <a:pt x="87734" y="194080"/>
                    <a:pt x="89686" y="178073"/>
                    <a:pt x="107254" y="171202"/>
                  </a:cubicBezTo>
                  <a:cubicBezTo>
                    <a:pt x="111158" y="169719"/>
                    <a:pt x="237179" y="150042"/>
                    <a:pt x="274423" y="116546"/>
                  </a:cubicBezTo>
                  <a:cubicBezTo>
                    <a:pt x="306749" y="87656"/>
                    <a:pt x="139423" y="-58509"/>
                    <a:pt x="33468" y="25973"/>
                  </a:cubicBezTo>
                  <a:cubicBezTo>
                    <a:pt x="-46798" y="90077"/>
                    <a:pt x="42526" y="202434"/>
                    <a:pt x="42526" y="202434"/>
                  </a:cubicBezTo>
                  <a:cubicBezTo>
                    <a:pt x="42526" y="202434"/>
                    <a:pt x="55409" y="195641"/>
                    <a:pt x="69932" y="215083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1DE629B6-CCA3-4DF3-8103-E2B85212A9E4}"/>
                </a:ext>
              </a:extLst>
            </p:cNvPr>
            <p:cNvSpPr/>
            <p:nvPr/>
          </p:nvSpPr>
          <p:spPr>
            <a:xfrm flipH="1">
              <a:off x="2743886" y="2718726"/>
              <a:ext cx="20925" cy="26905"/>
            </a:xfrm>
            <a:custGeom>
              <a:avLst/>
              <a:gdLst>
                <a:gd name="connsiteX0" fmla="*/ 20925 w 20925"/>
                <a:gd name="connsiteY0" fmla="*/ 19490 h 26905"/>
                <a:gd name="connsiteX1" fmla="*/ 10463 w 20925"/>
                <a:gd name="connsiteY1" fmla="*/ 25503 h 26905"/>
                <a:gd name="connsiteX2" fmla="*/ 0 w 20925"/>
                <a:gd name="connsiteY2" fmla="*/ 7388 h 26905"/>
                <a:gd name="connsiteX3" fmla="*/ 10463 w 20925"/>
                <a:gd name="connsiteY3" fmla="*/ 1454 h 26905"/>
                <a:gd name="connsiteX4" fmla="*/ 20925 w 20925"/>
                <a:gd name="connsiteY4" fmla="*/ 19490 h 2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5" h="26905">
                  <a:moveTo>
                    <a:pt x="20925" y="19490"/>
                  </a:moveTo>
                  <a:cubicBezTo>
                    <a:pt x="20925" y="26127"/>
                    <a:pt x="16241" y="28782"/>
                    <a:pt x="10463" y="25503"/>
                  </a:cubicBezTo>
                  <a:cubicBezTo>
                    <a:pt x="4323" y="21443"/>
                    <a:pt x="448" y="14734"/>
                    <a:pt x="0" y="7388"/>
                  </a:cubicBezTo>
                  <a:cubicBezTo>
                    <a:pt x="0" y="751"/>
                    <a:pt x="4685" y="-1904"/>
                    <a:pt x="10463" y="1454"/>
                  </a:cubicBezTo>
                  <a:cubicBezTo>
                    <a:pt x="16582" y="5497"/>
                    <a:pt x="20454" y="12172"/>
                    <a:pt x="20925" y="19490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CA287A8E-744C-4A70-B58A-E15BAEAC90B0}"/>
                </a:ext>
              </a:extLst>
            </p:cNvPr>
            <p:cNvSpPr/>
            <p:nvPr/>
          </p:nvSpPr>
          <p:spPr>
            <a:xfrm flipH="1">
              <a:off x="2540989" y="2506748"/>
              <a:ext cx="250509" cy="144223"/>
            </a:xfrm>
            <a:custGeom>
              <a:avLst/>
              <a:gdLst>
                <a:gd name="connsiteX0" fmla="*/ 248122 w 250509"/>
                <a:gd name="connsiteY0" fmla="*/ 88114 h 144223"/>
                <a:gd name="connsiteX1" fmla="*/ 120071 w 250509"/>
                <a:gd name="connsiteY1" fmla="*/ 3241 h 144223"/>
                <a:gd name="connsiteX2" fmla="*/ 1779 w 250509"/>
                <a:gd name="connsiteY2" fmla="*/ 44155 h 144223"/>
                <a:gd name="connsiteX3" fmla="*/ 110623 w 250509"/>
                <a:gd name="connsiteY3" fmla="*/ 143707 h 144223"/>
                <a:gd name="connsiteX4" fmla="*/ 140450 w 250509"/>
                <a:gd name="connsiteY4" fmla="*/ 132541 h 144223"/>
                <a:gd name="connsiteX5" fmla="*/ 179490 w 250509"/>
                <a:gd name="connsiteY5" fmla="*/ 134493 h 144223"/>
                <a:gd name="connsiteX6" fmla="*/ 220482 w 250509"/>
                <a:gd name="connsiteY6" fmla="*/ 118018 h 144223"/>
                <a:gd name="connsiteX7" fmla="*/ 248122 w 250509"/>
                <a:gd name="connsiteY7" fmla="*/ 88114 h 14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509" h="144223">
                  <a:moveTo>
                    <a:pt x="248122" y="88114"/>
                  </a:moveTo>
                  <a:cubicBezTo>
                    <a:pt x="217743" y="44611"/>
                    <a:pt x="171971" y="14274"/>
                    <a:pt x="120071" y="3241"/>
                  </a:cubicBezTo>
                  <a:cubicBezTo>
                    <a:pt x="35276" y="-13156"/>
                    <a:pt x="5527" y="37674"/>
                    <a:pt x="1779" y="44155"/>
                  </a:cubicBezTo>
                  <a:cubicBezTo>
                    <a:pt x="-10792" y="65314"/>
                    <a:pt x="45114" y="151671"/>
                    <a:pt x="110623" y="143707"/>
                  </a:cubicBezTo>
                  <a:cubicBezTo>
                    <a:pt x="116245" y="143004"/>
                    <a:pt x="132798" y="131448"/>
                    <a:pt x="140450" y="132541"/>
                  </a:cubicBezTo>
                  <a:cubicBezTo>
                    <a:pt x="153332" y="134805"/>
                    <a:pt x="166446" y="135461"/>
                    <a:pt x="179490" y="134493"/>
                  </a:cubicBezTo>
                  <a:cubicBezTo>
                    <a:pt x="195106" y="132463"/>
                    <a:pt x="207520" y="121922"/>
                    <a:pt x="220482" y="118018"/>
                  </a:cubicBezTo>
                  <a:cubicBezTo>
                    <a:pt x="242500" y="111304"/>
                    <a:pt x="256320" y="101543"/>
                    <a:pt x="248122" y="88114"/>
                  </a:cubicBezTo>
                  <a:close/>
                </a:path>
              </a:pathLst>
            </a:custGeom>
            <a:solidFill>
              <a:srgbClr val="6B331F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A1692BE1-5AC0-437D-960F-A5F84C373809}"/>
                </a:ext>
              </a:extLst>
            </p:cNvPr>
            <p:cNvSpPr/>
            <p:nvPr/>
          </p:nvSpPr>
          <p:spPr>
            <a:xfrm flipH="1">
              <a:off x="2742119" y="2914990"/>
              <a:ext cx="73132" cy="152499"/>
            </a:xfrm>
            <a:custGeom>
              <a:avLst/>
              <a:gdLst>
                <a:gd name="connsiteX0" fmla="*/ 0 w 73132"/>
                <a:gd name="connsiteY0" fmla="*/ 0 h 152499"/>
                <a:gd name="connsiteX1" fmla="*/ 58482 w 73132"/>
                <a:gd name="connsiteY1" fmla="*/ 63479 h 152499"/>
                <a:gd name="connsiteX2" fmla="*/ 65822 w 73132"/>
                <a:gd name="connsiteY2" fmla="*/ 152412 h 152499"/>
                <a:gd name="connsiteX3" fmla="*/ 0 w 73132"/>
                <a:gd name="connsiteY3" fmla="*/ 0 h 1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32" h="152499">
                  <a:moveTo>
                    <a:pt x="0" y="0"/>
                  </a:moveTo>
                  <a:cubicBezTo>
                    <a:pt x="0" y="0"/>
                    <a:pt x="33809" y="10307"/>
                    <a:pt x="58482" y="63479"/>
                  </a:cubicBezTo>
                  <a:cubicBezTo>
                    <a:pt x="80266" y="110327"/>
                    <a:pt x="73317" y="149836"/>
                    <a:pt x="65822" y="152412"/>
                  </a:cubicBezTo>
                  <a:cubicBezTo>
                    <a:pt x="58326" y="154989"/>
                    <a:pt x="11322" y="100177"/>
                    <a:pt x="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7E1D3AE-CA31-4B6E-8169-1F84B8848CBF}"/>
                </a:ext>
              </a:extLst>
            </p:cNvPr>
            <p:cNvSpPr/>
            <p:nvPr/>
          </p:nvSpPr>
          <p:spPr>
            <a:xfrm flipH="1">
              <a:off x="2776758" y="2914990"/>
              <a:ext cx="197323" cy="203052"/>
            </a:xfrm>
            <a:custGeom>
              <a:avLst/>
              <a:gdLst>
                <a:gd name="connsiteX0" fmla="*/ 158830 w 197323"/>
                <a:gd name="connsiteY0" fmla="*/ 0 h 203052"/>
                <a:gd name="connsiteX1" fmla="*/ 113466 w 197323"/>
                <a:gd name="connsiteY1" fmla="*/ 48019 h 203052"/>
                <a:gd name="connsiteX2" fmla="*/ 2123 w 197323"/>
                <a:gd name="connsiteY2" fmla="*/ 196918 h 203052"/>
                <a:gd name="connsiteX3" fmla="*/ 150476 w 197323"/>
                <a:gd name="connsiteY3" fmla="*/ 126646 h 203052"/>
                <a:gd name="connsiteX4" fmla="*/ 197324 w 197323"/>
                <a:gd name="connsiteY4" fmla="*/ 97912 h 203052"/>
                <a:gd name="connsiteX5" fmla="*/ 158830 w 197323"/>
                <a:gd name="connsiteY5" fmla="*/ 0 h 2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323" h="203052">
                  <a:moveTo>
                    <a:pt x="158830" y="0"/>
                  </a:moveTo>
                  <a:cubicBezTo>
                    <a:pt x="146025" y="10853"/>
                    <a:pt x="137046" y="25376"/>
                    <a:pt x="113466" y="48019"/>
                  </a:cubicBezTo>
                  <a:cubicBezTo>
                    <a:pt x="61933" y="97444"/>
                    <a:pt x="-13649" y="170761"/>
                    <a:pt x="2123" y="196918"/>
                  </a:cubicBezTo>
                  <a:cubicBezTo>
                    <a:pt x="23361" y="217219"/>
                    <a:pt x="71459" y="185440"/>
                    <a:pt x="150476" y="126646"/>
                  </a:cubicBezTo>
                  <a:cubicBezTo>
                    <a:pt x="165034" y="115441"/>
                    <a:pt x="180737" y="105809"/>
                    <a:pt x="197324" y="97912"/>
                  </a:cubicBezTo>
                  <a:cubicBezTo>
                    <a:pt x="197324" y="97912"/>
                    <a:pt x="190218" y="17334"/>
                    <a:pt x="15883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825C2DD-C40F-4175-AC5F-7A4383B11766}"/>
                </a:ext>
              </a:extLst>
            </p:cNvPr>
            <p:cNvSpPr/>
            <p:nvPr/>
          </p:nvSpPr>
          <p:spPr>
            <a:xfrm flipH="1">
              <a:off x="2564301" y="2631091"/>
              <a:ext cx="163187" cy="63791"/>
            </a:xfrm>
            <a:custGeom>
              <a:avLst/>
              <a:gdLst>
                <a:gd name="connsiteX0" fmla="*/ 1484 w 163187"/>
                <a:gd name="connsiteY0" fmla="*/ 63791 h 63791"/>
                <a:gd name="connsiteX1" fmla="*/ 20379 w 163187"/>
                <a:gd name="connsiteY1" fmla="*/ 50830 h 63791"/>
                <a:gd name="connsiteX2" fmla="*/ 40289 w 163187"/>
                <a:gd name="connsiteY2" fmla="*/ 54968 h 63791"/>
                <a:gd name="connsiteX3" fmla="*/ 79798 w 163187"/>
                <a:gd name="connsiteY3" fmla="*/ 34433 h 63791"/>
                <a:gd name="connsiteX4" fmla="*/ 96195 w 163187"/>
                <a:gd name="connsiteY4" fmla="*/ 36151 h 63791"/>
                <a:gd name="connsiteX5" fmla="*/ 163187 w 163187"/>
                <a:gd name="connsiteY5" fmla="*/ 2186 h 63791"/>
                <a:gd name="connsiteX6" fmla="*/ 159908 w 163187"/>
                <a:gd name="connsiteY6" fmla="*/ 0 h 63791"/>
                <a:gd name="connsiteX7" fmla="*/ 46145 w 163187"/>
                <a:gd name="connsiteY7" fmla="*/ 25844 h 63791"/>
                <a:gd name="connsiteX8" fmla="*/ 0 w 163187"/>
                <a:gd name="connsiteY8" fmla="*/ 59341 h 63791"/>
                <a:gd name="connsiteX9" fmla="*/ 1484 w 163187"/>
                <a:gd name="connsiteY9" fmla="*/ 63791 h 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187" h="63791">
                  <a:moveTo>
                    <a:pt x="1484" y="63791"/>
                  </a:moveTo>
                  <a:cubicBezTo>
                    <a:pt x="4943" y="56346"/>
                    <a:pt x="12187" y="51377"/>
                    <a:pt x="20379" y="50830"/>
                  </a:cubicBezTo>
                  <a:cubicBezTo>
                    <a:pt x="26903" y="52705"/>
                    <a:pt x="33559" y="54088"/>
                    <a:pt x="40289" y="54968"/>
                  </a:cubicBezTo>
                  <a:cubicBezTo>
                    <a:pt x="59887" y="54968"/>
                    <a:pt x="76128" y="34433"/>
                    <a:pt x="79798" y="34433"/>
                  </a:cubicBezTo>
                  <a:cubicBezTo>
                    <a:pt x="85204" y="35473"/>
                    <a:pt x="90690" y="36048"/>
                    <a:pt x="96195" y="36151"/>
                  </a:cubicBezTo>
                  <a:cubicBezTo>
                    <a:pt x="130081" y="36151"/>
                    <a:pt x="163187" y="8120"/>
                    <a:pt x="163187" y="2186"/>
                  </a:cubicBezTo>
                  <a:cubicBezTo>
                    <a:pt x="163187" y="703"/>
                    <a:pt x="161314" y="0"/>
                    <a:pt x="159908" y="0"/>
                  </a:cubicBezTo>
                  <a:lnTo>
                    <a:pt x="46145" y="25844"/>
                  </a:lnTo>
                  <a:cubicBezTo>
                    <a:pt x="28265" y="31779"/>
                    <a:pt x="6637" y="39196"/>
                    <a:pt x="0" y="59341"/>
                  </a:cubicBezTo>
                  <a:cubicBezTo>
                    <a:pt x="0" y="60824"/>
                    <a:pt x="0" y="63011"/>
                    <a:pt x="1484" y="63791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4F90DBCF-3324-46D5-9B47-5FABBB7830CB}"/>
                </a:ext>
              </a:extLst>
            </p:cNvPr>
            <p:cNvSpPr/>
            <p:nvPr/>
          </p:nvSpPr>
          <p:spPr>
            <a:xfrm rot="15518677" flipH="1">
              <a:off x="2749611" y="3110163"/>
              <a:ext cx="264022" cy="247550"/>
            </a:xfrm>
            <a:custGeom>
              <a:avLst/>
              <a:gdLst>
                <a:gd name="connsiteX0" fmla="*/ 243565 w 264022"/>
                <a:gd name="connsiteY0" fmla="*/ 8548 h 247550"/>
                <a:gd name="connsiteX1" fmla="*/ 424 w 264022"/>
                <a:gd name="connsiteY1" fmla="*/ 237479 h 247550"/>
                <a:gd name="connsiteX2" fmla="*/ 5655 w 264022"/>
                <a:gd name="connsiteY2" fmla="*/ 244662 h 247550"/>
                <a:gd name="connsiteX3" fmla="*/ 264022 w 264022"/>
                <a:gd name="connsiteY3" fmla="*/ 18230 h 247550"/>
                <a:gd name="connsiteX4" fmla="*/ 260118 w 264022"/>
                <a:gd name="connsiteY4" fmla="*/ 662 h 247550"/>
                <a:gd name="connsiteX5" fmla="*/ 243565 w 264022"/>
                <a:gd name="connsiteY5" fmla="*/ 8548 h 2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22" h="247550">
                  <a:moveTo>
                    <a:pt x="243565" y="8548"/>
                  </a:moveTo>
                  <a:cubicBezTo>
                    <a:pt x="205150" y="33768"/>
                    <a:pt x="-10820" y="172672"/>
                    <a:pt x="424" y="237479"/>
                  </a:cubicBezTo>
                  <a:cubicBezTo>
                    <a:pt x="971" y="240550"/>
                    <a:pt x="2900" y="243199"/>
                    <a:pt x="5655" y="244662"/>
                  </a:cubicBezTo>
                  <a:cubicBezTo>
                    <a:pt x="64684" y="275894"/>
                    <a:pt x="211240" y="44153"/>
                    <a:pt x="264022" y="18230"/>
                  </a:cubicBezTo>
                  <a:lnTo>
                    <a:pt x="260118" y="662"/>
                  </a:lnTo>
                  <a:cubicBezTo>
                    <a:pt x="256839" y="-2461"/>
                    <a:pt x="247469" y="6362"/>
                    <a:pt x="243565" y="8548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914" name="Group 913">
              <a:extLst>
                <a:ext uri="{FF2B5EF4-FFF2-40B4-BE49-F238E27FC236}">
                  <a16:creationId xmlns:a16="http://schemas.microsoft.com/office/drawing/2014/main" id="{140976DD-E7AB-4E28-95A2-900D1BAF5072}"/>
                </a:ext>
              </a:extLst>
            </p:cNvPr>
            <p:cNvGrpSpPr/>
            <p:nvPr/>
          </p:nvGrpSpPr>
          <p:grpSpPr>
            <a:xfrm flipH="1">
              <a:off x="2722504" y="3325185"/>
              <a:ext cx="76804" cy="56386"/>
              <a:chOff x="6565385" y="2711075"/>
              <a:chExt cx="76804" cy="56386"/>
            </a:xfrm>
          </p:grpSpPr>
          <p:sp>
            <p:nvSpPr>
              <p:cNvPr id="916" name="Freeform: Shape 915">
                <a:extLst>
                  <a:ext uri="{FF2B5EF4-FFF2-40B4-BE49-F238E27FC236}">
                    <a16:creationId xmlns:a16="http://schemas.microsoft.com/office/drawing/2014/main" id="{DCA9F224-28DA-4C60-BC20-44DBD84C31C9}"/>
                  </a:ext>
                </a:extLst>
              </p:cNvPr>
              <p:cNvSpPr/>
              <p:nvPr/>
            </p:nvSpPr>
            <p:spPr>
              <a:xfrm>
                <a:off x="6565385" y="2711075"/>
                <a:ext cx="76804" cy="56386"/>
              </a:xfrm>
              <a:custGeom>
                <a:avLst/>
                <a:gdLst>
                  <a:gd name="connsiteX0" fmla="*/ 0 w 76804"/>
                  <a:gd name="connsiteY0" fmla="*/ 39040 h 56386"/>
                  <a:gd name="connsiteX1" fmla="*/ 43334 w 76804"/>
                  <a:gd name="connsiteY1" fmla="*/ 0 h 56386"/>
                  <a:gd name="connsiteX2" fmla="*/ 76128 w 76804"/>
                  <a:gd name="connsiteY2" fmla="*/ 10853 h 56386"/>
                  <a:gd name="connsiteX3" fmla="*/ 73395 w 76804"/>
                  <a:gd name="connsiteY3" fmla="*/ 23658 h 56386"/>
                  <a:gd name="connsiteX4" fmla="*/ 74723 w 76804"/>
                  <a:gd name="connsiteY4" fmla="*/ 32169 h 56386"/>
                  <a:gd name="connsiteX5" fmla="*/ 68945 w 76804"/>
                  <a:gd name="connsiteY5" fmla="*/ 34746 h 56386"/>
                  <a:gd name="connsiteX6" fmla="*/ 67071 w 76804"/>
                  <a:gd name="connsiteY6" fmla="*/ 39587 h 56386"/>
                  <a:gd name="connsiteX7" fmla="*/ 60746 w 76804"/>
                  <a:gd name="connsiteY7" fmla="*/ 40836 h 56386"/>
                  <a:gd name="connsiteX8" fmla="*/ 59029 w 76804"/>
                  <a:gd name="connsiteY8" fmla="*/ 45208 h 56386"/>
                  <a:gd name="connsiteX9" fmla="*/ 46770 w 76804"/>
                  <a:gd name="connsiteY9" fmla="*/ 47238 h 56386"/>
                  <a:gd name="connsiteX10" fmla="*/ 40367 w 76804"/>
                  <a:gd name="connsiteY10" fmla="*/ 41539 h 56386"/>
                  <a:gd name="connsiteX11" fmla="*/ 2655 w 76804"/>
                  <a:gd name="connsiteY11" fmla="*/ 56061 h 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804" h="56386">
                    <a:moveTo>
                      <a:pt x="0" y="39040"/>
                    </a:moveTo>
                    <a:cubicBezTo>
                      <a:pt x="0" y="39040"/>
                      <a:pt x="31232" y="1327"/>
                      <a:pt x="43334" y="0"/>
                    </a:cubicBezTo>
                    <a:cubicBezTo>
                      <a:pt x="54537" y="2737"/>
                      <a:pt x="65504" y="6367"/>
                      <a:pt x="76128" y="10853"/>
                    </a:cubicBezTo>
                    <a:cubicBezTo>
                      <a:pt x="78627" y="13586"/>
                      <a:pt x="73395" y="23658"/>
                      <a:pt x="73395" y="23658"/>
                    </a:cubicBezTo>
                    <a:cubicBezTo>
                      <a:pt x="73395" y="23658"/>
                      <a:pt x="77924" y="28655"/>
                      <a:pt x="74723" y="32169"/>
                    </a:cubicBezTo>
                    <a:cubicBezTo>
                      <a:pt x="73246" y="33805"/>
                      <a:pt x="71148" y="34740"/>
                      <a:pt x="68945" y="34746"/>
                    </a:cubicBezTo>
                    <a:cubicBezTo>
                      <a:pt x="68945" y="34746"/>
                      <a:pt x="70428" y="37244"/>
                      <a:pt x="67071" y="39587"/>
                    </a:cubicBezTo>
                    <a:cubicBezTo>
                      <a:pt x="65273" y="40967"/>
                      <a:pt x="62934" y="41429"/>
                      <a:pt x="60746" y="40836"/>
                    </a:cubicBezTo>
                    <a:cubicBezTo>
                      <a:pt x="61137" y="42508"/>
                      <a:pt x="60453" y="44249"/>
                      <a:pt x="59029" y="45208"/>
                    </a:cubicBezTo>
                    <a:cubicBezTo>
                      <a:pt x="55271" y="47197"/>
                      <a:pt x="50968" y="47909"/>
                      <a:pt x="46770" y="47238"/>
                    </a:cubicBezTo>
                    <a:cubicBezTo>
                      <a:pt x="44231" y="45849"/>
                      <a:pt x="42041" y="43900"/>
                      <a:pt x="40367" y="41539"/>
                    </a:cubicBezTo>
                    <a:cubicBezTo>
                      <a:pt x="26391" y="51533"/>
                      <a:pt x="9135" y="57935"/>
                      <a:pt x="2655" y="56061"/>
                    </a:cubicBezTo>
                    <a:close/>
                  </a:path>
                </a:pathLst>
              </a:custGeom>
              <a:solidFill>
                <a:srgbClr val="FFC37B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17" name="Freeform: Shape 916">
                <a:extLst>
                  <a:ext uri="{FF2B5EF4-FFF2-40B4-BE49-F238E27FC236}">
                    <a16:creationId xmlns:a16="http://schemas.microsoft.com/office/drawing/2014/main" id="{32E1C254-F031-4477-88B4-7218DBE84D68}"/>
                  </a:ext>
                </a:extLst>
              </p:cNvPr>
              <p:cNvSpPr/>
              <p:nvPr/>
            </p:nvSpPr>
            <p:spPr>
              <a:xfrm>
                <a:off x="6623164" y="2717478"/>
                <a:ext cx="15616" cy="17021"/>
              </a:xfrm>
              <a:custGeom>
                <a:avLst/>
                <a:gdLst>
                  <a:gd name="connsiteX0" fmla="*/ 15616 w 15616"/>
                  <a:gd name="connsiteY0" fmla="*/ 17021 h 17021"/>
                  <a:gd name="connsiteX1" fmla="*/ 0 w 15616"/>
                  <a:gd name="connsiteY1" fmla="*/ 0 h 17021"/>
                  <a:gd name="connsiteX2" fmla="*/ 4216 w 15616"/>
                  <a:gd name="connsiteY2" fmla="*/ 3826 h 17021"/>
                  <a:gd name="connsiteX3" fmla="*/ 10228 w 15616"/>
                  <a:gd name="connsiteY3" fmla="*/ 7027 h 17021"/>
                  <a:gd name="connsiteX4" fmla="*/ 12883 w 15616"/>
                  <a:gd name="connsiteY4" fmla="*/ 12727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16" h="17021">
                    <a:moveTo>
                      <a:pt x="15616" y="17021"/>
                    </a:moveTo>
                    <a:lnTo>
                      <a:pt x="0" y="0"/>
                    </a:lnTo>
                    <a:lnTo>
                      <a:pt x="4216" y="3826"/>
                    </a:lnTo>
                    <a:cubicBezTo>
                      <a:pt x="6391" y="4536"/>
                      <a:pt x="8426" y="5619"/>
                      <a:pt x="10228" y="7027"/>
                    </a:cubicBezTo>
                    <a:cubicBezTo>
                      <a:pt x="11423" y="8767"/>
                      <a:pt x="12320" y="10693"/>
                      <a:pt x="12883" y="12727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18" name="Freeform: Shape 917">
                <a:extLst>
                  <a:ext uri="{FF2B5EF4-FFF2-40B4-BE49-F238E27FC236}">
                    <a16:creationId xmlns:a16="http://schemas.microsoft.com/office/drawing/2014/main" id="{8812377B-DC3B-4183-9C3F-02D7FF05F3D0}"/>
                  </a:ext>
                </a:extLst>
              </p:cNvPr>
              <p:cNvSpPr/>
              <p:nvPr/>
            </p:nvSpPr>
            <p:spPr>
              <a:xfrm>
                <a:off x="6633783" y="2729034"/>
                <a:ext cx="546" cy="546"/>
              </a:xfrm>
              <a:custGeom>
                <a:avLst/>
                <a:gdLst>
                  <a:gd name="connsiteX0" fmla="*/ 547 w 546"/>
                  <a:gd name="connsiteY0" fmla="*/ 547 h 546"/>
                  <a:gd name="connsiteX1" fmla="*/ 0 w 546"/>
                  <a:gd name="connsiteY1" fmla="*/ 0 h 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" h="546">
                    <a:moveTo>
                      <a:pt x="547" y="54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19" name="Freeform: Shape 918">
                <a:extLst>
                  <a:ext uri="{FF2B5EF4-FFF2-40B4-BE49-F238E27FC236}">
                    <a16:creationId xmlns:a16="http://schemas.microsoft.com/office/drawing/2014/main" id="{874E7E47-BD66-4470-9F2B-DEA8AA5F0128}"/>
                  </a:ext>
                </a:extLst>
              </p:cNvPr>
              <p:cNvSpPr/>
              <p:nvPr/>
            </p:nvSpPr>
            <p:spPr>
              <a:xfrm>
                <a:off x="6597398" y="2728124"/>
                <a:ext cx="44010" cy="30122"/>
              </a:xfrm>
              <a:custGeom>
                <a:avLst/>
                <a:gdLst>
                  <a:gd name="connsiteX0" fmla="*/ 10229 w 44010"/>
                  <a:gd name="connsiteY0" fmla="*/ 19805 h 30122"/>
                  <a:gd name="connsiteX1" fmla="*/ 26860 w 44010"/>
                  <a:gd name="connsiteY1" fmla="*/ 25973 h 30122"/>
                  <a:gd name="connsiteX2" fmla="*/ 16475 w 44010"/>
                  <a:gd name="connsiteY2" fmla="*/ 7858 h 30122"/>
                  <a:gd name="connsiteX3" fmla="*/ 34668 w 44010"/>
                  <a:gd name="connsiteY3" fmla="*/ 21288 h 30122"/>
                  <a:gd name="connsiteX4" fmla="*/ 21862 w 44010"/>
                  <a:gd name="connsiteY4" fmla="*/ 50 h 30122"/>
                  <a:gd name="connsiteX5" fmla="*/ 42241 w 44010"/>
                  <a:gd name="connsiteY5" fmla="*/ 14417 h 30122"/>
                  <a:gd name="connsiteX6" fmla="*/ 36932 w 44010"/>
                  <a:gd name="connsiteY6" fmla="*/ 1690 h 30122"/>
                  <a:gd name="connsiteX7" fmla="*/ 41539 w 44010"/>
                  <a:gd name="connsiteY7" fmla="*/ 6297 h 30122"/>
                  <a:gd name="connsiteX8" fmla="*/ 41539 w 44010"/>
                  <a:gd name="connsiteY8" fmla="*/ 6297 h 30122"/>
                  <a:gd name="connsiteX9" fmla="*/ 42866 w 44010"/>
                  <a:gd name="connsiteY9" fmla="*/ 14808 h 30122"/>
                  <a:gd name="connsiteX10" fmla="*/ 37088 w 44010"/>
                  <a:gd name="connsiteY10" fmla="*/ 17384 h 30122"/>
                  <a:gd name="connsiteX11" fmla="*/ 35214 w 44010"/>
                  <a:gd name="connsiteY11" fmla="*/ 22225 h 30122"/>
                  <a:gd name="connsiteX12" fmla="*/ 28890 w 44010"/>
                  <a:gd name="connsiteY12" fmla="*/ 23474 h 30122"/>
                  <a:gd name="connsiteX13" fmla="*/ 27172 w 44010"/>
                  <a:gd name="connsiteY13" fmla="*/ 27847 h 30122"/>
                  <a:gd name="connsiteX14" fmla="*/ 14913 w 44010"/>
                  <a:gd name="connsiteY14" fmla="*/ 29877 h 30122"/>
                  <a:gd name="connsiteX15" fmla="*/ 8511 w 44010"/>
                  <a:gd name="connsiteY15" fmla="*/ 24177 h 30122"/>
                  <a:gd name="connsiteX16" fmla="*/ 0 w 44010"/>
                  <a:gd name="connsiteY16" fmla="*/ 29565 h 30122"/>
                  <a:gd name="connsiteX17" fmla="*/ 10229 w 44010"/>
                  <a:gd name="connsiteY17" fmla="*/ 19805 h 30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010" h="30122">
                    <a:moveTo>
                      <a:pt x="10229" y="19805"/>
                    </a:moveTo>
                    <a:cubicBezTo>
                      <a:pt x="11946" y="17306"/>
                      <a:pt x="23112" y="31204"/>
                      <a:pt x="26860" y="25973"/>
                    </a:cubicBezTo>
                    <a:cubicBezTo>
                      <a:pt x="30607" y="20742"/>
                      <a:pt x="14835" y="9576"/>
                      <a:pt x="16475" y="7858"/>
                    </a:cubicBezTo>
                    <a:cubicBezTo>
                      <a:pt x="18115" y="6141"/>
                      <a:pt x="28812" y="27378"/>
                      <a:pt x="34668" y="21288"/>
                    </a:cubicBezTo>
                    <a:cubicBezTo>
                      <a:pt x="40524" y="15198"/>
                      <a:pt x="21160" y="1222"/>
                      <a:pt x="21862" y="50"/>
                    </a:cubicBezTo>
                    <a:cubicBezTo>
                      <a:pt x="22565" y="-1121"/>
                      <a:pt x="37478" y="18555"/>
                      <a:pt x="42241" y="14417"/>
                    </a:cubicBezTo>
                    <a:cubicBezTo>
                      <a:pt x="46067" y="11294"/>
                      <a:pt x="39040" y="3876"/>
                      <a:pt x="36932" y="1690"/>
                    </a:cubicBezTo>
                    <a:lnTo>
                      <a:pt x="41539" y="6297"/>
                    </a:lnTo>
                    <a:lnTo>
                      <a:pt x="41539" y="6297"/>
                    </a:lnTo>
                    <a:cubicBezTo>
                      <a:pt x="41539" y="6297"/>
                      <a:pt x="46067" y="11294"/>
                      <a:pt x="42866" y="14808"/>
                    </a:cubicBezTo>
                    <a:cubicBezTo>
                      <a:pt x="41390" y="16443"/>
                      <a:pt x="39291" y="17379"/>
                      <a:pt x="37088" y="17384"/>
                    </a:cubicBezTo>
                    <a:cubicBezTo>
                      <a:pt x="37088" y="17384"/>
                      <a:pt x="38572" y="19883"/>
                      <a:pt x="35214" y="22225"/>
                    </a:cubicBezTo>
                    <a:cubicBezTo>
                      <a:pt x="33417" y="23606"/>
                      <a:pt x="31077" y="24068"/>
                      <a:pt x="28890" y="23474"/>
                    </a:cubicBezTo>
                    <a:cubicBezTo>
                      <a:pt x="29280" y="25147"/>
                      <a:pt x="28596" y="26887"/>
                      <a:pt x="27172" y="27847"/>
                    </a:cubicBezTo>
                    <a:cubicBezTo>
                      <a:pt x="23414" y="29836"/>
                      <a:pt x="19112" y="30548"/>
                      <a:pt x="14913" y="29877"/>
                    </a:cubicBezTo>
                    <a:cubicBezTo>
                      <a:pt x="12374" y="28488"/>
                      <a:pt x="10184" y="26539"/>
                      <a:pt x="8511" y="24177"/>
                    </a:cubicBezTo>
                    <a:cubicBezTo>
                      <a:pt x="6559" y="25583"/>
                      <a:pt x="2186" y="28003"/>
                      <a:pt x="0" y="29565"/>
                    </a:cubicBezTo>
                    <a:cubicBezTo>
                      <a:pt x="3672" y="26598"/>
                      <a:pt x="7093" y="23334"/>
                      <a:pt x="10229" y="19805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1E2AC775-2866-4C32-B10A-5C43EDA99641}"/>
                </a:ext>
              </a:extLst>
            </p:cNvPr>
            <p:cNvSpPr/>
            <p:nvPr/>
          </p:nvSpPr>
          <p:spPr>
            <a:xfrm flipH="1">
              <a:off x="2437440" y="3315697"/>
              <a:ext cx="23249" cy="38291"/>
            </a:xfrm>
            <a:custGeom>
              <a:avLst/>
              <a:gdLst>
                <a:gd name="connsiteX0" fmla="*/ 19286 w 23249"/>
                <a:gd name="connsiteY0" fmla="*/ 0 h 38291"/>
                <a:gd name="connsiteX1" fmla="*/ 6324 w 23249"/>
                <a:gd name="connsiteY1" fmla="*/ 24908 h 38291"/>
                <a:gd name="connsiteX2" fmla="*/ 0 w 23249"/>
                <a:gd name="connsiteY2" fmla="*/ 37478 h 38291"/>
                <a:gd name="connsiteX3" fmla="*/ 12493 w 23249"/>
                <a:gd name="connsiteY3" fmla="*/ 28031 h 38291"/>
                <a:gd name="connsiteX4" fmla="*/ 20301 w 23249"/>
                <a:gd name="connsiteY4" fmla="*/ 23893 h 38291"/>
                <a:gd name="connsiteX5" fmla="*/ 19286 w 23249"/>
                <a:gd name="connsiteY5" fmla="*/ 0 h 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9" h="38291">
                  <a:moveTo>
                    <a:pt x="19286" y="0"/>
                  </a:moveTo>
                  <a:cubicBezTo>
                    <a:pt x="13982" y="7753"/>
                    <a:pt x="9630" y="16116"/>
                    <a:pt x="6324" y="24908"/>
                  </a:cubicBezTo>
                  <a:lnTo>
                    <a:pt x="0" y="37478"/>
                  </a:lnTo>
                  <a:cubicBezTo>
                    <a:pt x="0" y="37478"/>
                    <a:pt x="4216" y="42397"/>
                    <a:pt x="12493" y="28031"/>
                  </a:cubicBezTo>
                  <a:cubicBezTo>
                    <a:pt x="12493" y="28031"/>
                    <a:pt x="15772" y="19442"/>
                    <a:pt x="20301" y="23893"/>
                  </a:cubicBezTo>
                  <a:cubicBezTo>
                    <a:pt x="27484" y="31154"/>
                    <a:pt x="19286" y="859"/>
                    <a:pt x="19286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756" name="black dress">
            <a:extLst>
              <a:ext uri="{FF2B5EF4-FFF2-40B4-BE49-F238E27FC236}">
                <a16:creationId xmlns:a16="http://schemas.microsoft.com/office/drawing/2014/main" id="{C766509D-E28A-42DD-A149-16AD6BB7E90A}"/>
              </a:ext>
            </a:extLst>
          </p:cNvPr>
          <p:cNvGrpSpPr/>
          <p:nvPr/>
        </p:nvGrpSpPr>
        <p:grpSpPr>
          <a:xfrm>
            <a:off x="5772483" y="2693980"/>
            <a:ext cx="734120" cy="1721577"/>
            <a:chOff x="2421923" y="2502911"/>
            <a:chExt cx="583474" cy="1368297"/>
          </a:xfrm>
        </p:grpSpPr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2EFF49AE-A7F2-4357-BA1F-AA2423202971}"/>
                </a:ext>
              </a:extLst>
            </p:cNvPr>
            <p:cNvSpPr/>
            <p:nvPr/>
          </p:nvSpPr>
          <p:spPr>
            <a:xfrm flipH="1">
              <a:off x="2430160" y="3341776"/>
              <a:ext cx="14073" cy="35838"/>
            </a:xfrm>
            <a:custGeom>
              <a:avLst/>
              <a:gdLst>
                <a:gd name="connsiteX0" fmla="*/ 7593 w 14073"/>
                <a:gd name="connsiteY0" fmla="*/ 0 h 35838"/>
                <a:gd name="connsiteX1" fmla="*/ 5954 w 14073"/>
                <a:gd name="connsiteY1" fmla="*/ 17021 h 35838"/>
                <a:gd name="connsiteX2" fmla="*/ 800 w 14073"/>
                <a:gd name="connsiteY2" fmla="*/ 35839 h 35838"/>
                <a:gd name="connsiteX3" fmla="*/ 12122 w 14073"/>
                <a:gd name="connsiteY3" fmla="*/ 17021 h 35838"/>
                <a:gd name="connsiteX4" fmla="*/ 14074 w 14073"/>
                <a:gd name="connsiteY4" fmla="*/ 1405 h 3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" h="35838">
                  <a:moveTo>
                    <a:pt x="7593" y="0"/>
                  </a:moveTo>
                  <a:cubicBezTo>
                    <a:pt x="7578" y="5715"/>
                    <a:pt x="7029" y="11407"/>
                    <a:pt x="5954" y="17021"/>
                  </a:cubicBezTo>
                  <a:cubicBezTo>
                    <a:pt x="2674" y="24127"/>
                    <a:pt x="-1854" y="34277"/>
                    <a:pt x="800" y="35839"/>
                  </a:cubicBezTo>
                  <a:cubicBezTo>
                    <a:pt x="5690" y="30311"/>
                    <a:pt x="9527" y="23931"/>
                    <a:pt x="12122" y="17021"/>
                  </a:cubicBezTo>
                  <a:cubicBezTo>
                    <a:pt x="13096" y="11860"/>
                    <a:pt x="13748" y="6645"/>
                    <a:pt x="14074" y="1405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0AC989BE-081B-4E69-98D5-0F294DAF8D2E}"/>
                </a:ext>
              </a:extLst>
            </p:cNvPr>
            <p:cNvSpPr/>
            <p:nvPr/>
          </p:nvSpPr>
          <p:spPr>
            <a:xfrm flipH="1">
              <a:off x="2421923" y="3344743"/>
              <a:ext cx="10969" cy="40601"/>
            </a:xfrm>
            <a:custGeom>
              <a:avLst/>
              <a:gdLst>
                <a:gd name="connsiteX0" fmla="*/ 0 w 10969"/>
                <a:gd name="connsiteY0" fmla="*/ 4294 h 40601"/>
                <a:gd name="connsiteX1" fmla="*/ 2889 w 10969"/>
                <a:gd name="connsiteY1" fmla="*/ 21160 h 40601"/>
                <a:gd name="connsiteX2" fmla="*/ 2889 w 10969"/>
                <a:gd name="connsiteY2" fmla="*/ 40602 h 40601"/>
                <a:gd name="connsiteX3" fmla="*/ 9838 w 10969"/>
                <a:gd name="connsiteY3" fmla="*/ 16319 h 40601"/>
                <a:gd name="connsiteX4" fmla="*/ 10853 w 10969"/>
                <a:gd name="connsiteY4" fmla="*/ 0 h 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9" h="40601">
                  <a:moveTo>
                    <a:pt x="0" y="4294"/>
                  </a:moveTo>
                  <a:cubicBezTo>
                    <a:pt x="1500" y="9815"/>
                    <a:pt x="2467" y="15460"/>
                    <a:pt x="2889" y="21160"/>
                  </a:cubicBezTo>
                  <a:cubicBezTo>
                    <a:pt x="1640" y="28968"/>
                    <a:pt x="312" y="40367"/>
                    <a:pt x="2889" y="40602"/>
                  </a:cubicBezTo>
                  <a:cubicBezTo>
                    <a:pt x="6130" y="32801"/>
                    <a:pt x="8462" y="24650"/>
                    <a:pt x="9838" y="16319"/>
                  </a:cubicBezTo>
                  <a:cubicBezTo>
                    <a:pt x="9838" y="12961"/>
                    <a:pt x="11400" y="4763"/>
                    <a:pt x="10853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1FC9F0FF-B2E8-4F00-B8DF-4F98A5C3FD1E}"/>
                </a:ext>
              </a:extLst>
            </p:cNvPr>
            <p:cNvSpPr/>
            <p:nvPr/>
          </p:nvSpPr>
          <p:spPr>
            <a:xfrm flipH="1">
              <a:off x="2421962" y="3308904"/>
              <a:ext cx="20895" cy="48635"/>
            </a:xfrm>
            <a:custGeom>
              <a:avLst/>
              <a:gdLst>
                <a:gd name="connsiteX0" fmla="*/ 13634 w 20895"/>
                <a:gd name="connsiteY0" fmla="*/ 0 h 48635"/>
                <a:gd name="connsiteX1" fmla="*/ 20896 w 20895"/>
                <a:gd name="connsiteY1" fmla="*/ 35839 h 48635"/>
                <a:gd name="connsiteX2" fmla="*/ 5280 w 20895"/>
                <a:gd name="connsiteY2" fmla="*/ 46380 h 48635"/>
                <a:gd name="connsiteX3" fmla="*/ 2313 w 20895"/>
                <a:gd name="connsiteY3" fmla="*/ 30763 h 48635"/>
                <a:gd name="connsiteX4" fmla="*/ 1376 w 20895"/>
                <a:gd name="connsiteY4" fmla="*/ 6871 h 48635"/>
                <a:gd name="connsiteX5" fmla="*/ 4343 w 20895"/>
                <a:gd name="connsiteY5" fmla="*/ 703 h 48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95" h="48635">
                  <a:moveTo>
                    <a:pt x="13634" y="0"/>
                  </a:moveTo>
                  <a:cubicBezTo>
                    <a:pt x="17211" y="11681"/>
                    <a:pt x="19643" y="23682"/>
                    <a:pt x="20896" y="35839"/>
                  </a:cubicBezTo>
                  <a:cubicBezTo>
                    <a:pt x="19959" y="43647"/>
                    <a:pt x="6529" y="53016"/>
                    <a:pt x="5280" y="46380"/>
                  </a:cubicBezTo>
                  <a:cubicBezTo>
                    <a:pt x="4655" y="43959"/>
                    <a:pt x="3718" y="36541"/>
                    <a:pt x="2313" y="30763"/>
                  </a:cubicBezTo>
                  <a:cubicBezTo>
                    <a:pt x="-410" y="23080"/>
                    <a:pt x="-737" y="14749"/>
                    <a:pt x="1376" y="6871"/>
                  </a:cubicBezTo>
                  <a:lnTo>
                    <a:pt x="4343" y="703"/>
                  </a:ln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6C6E6FAE-AD85-433F-99CF-CB61AC042AFD}"/>
                </a:ext>
              </a:extLst>
            </p:cNvPr>
            <p:cNvSpPr/>
            <p:nvPr/>
          </p:nvSpPr>
          <p:spPr>
            <a:xfrm flipH="1">
              <a:off x="2429934" y="3350911"/>
              <a:ext cx="8190" cy="36931"/>
            </a:xfrm>
            <a:custGeom>
              <a:avLst/>
              <a:gdLst>
                <a:gd name="connsiteX0" fmla="*/ 0 w 8190"/>
                <a:gd name="connsiteY0" fmla="*/ 0 h 36931"/>
                <a:gd name="connsiteX1" fmla="*/ 2108 w 8190"/>
                <a:gd name="connsiteY1" fmla="*/ 17021 h 36931"/>
                <a:gd name="connsiteX2" fmla="*/ 3123 w 8190"/>
                <a:gd name="connsiteY2" fmla="*/ 36932 h 36931"/>
                <a:gd name="connsiteX3" fmla="*/ 8120 w 8190"/>
                <a:gd name="connsiteY3" fmla="*/ 17021 h 36931"/>
                <a:gd name="connsiteX4" fmla="*/ 6637 w 8190"/>
                <a:gd name="connsiteY4" fmla="*/ 156 h 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0" h="36931">
                  <a:moveTo>
                    <a:pt x="0" y="0"/>
                  </a:moveTo>
                  <a:cubicBezTo>
                    <a:pt x="1244" y="5590"/>
                    <a:pt x="1950" y="11290"/>
                    <a:pt x="2108" y="17021"/>
                  </a:cubicBezTo>
                  <a:cubicBezTo>
                    <a:pt x="703" y="24829"/>
                    <a:pt x="859" y="36698"/>
                    <a:pt x="3123" y="36932"/>
                  </a:cubicBezTo>
                  <a:cubicBezTo>
                    <a:pt x="6661" y="30912"/>
                    <a:pt x="8396" y="24002"/>
                    <a:pt x="8120" y="17021"/>
                  </a:cubicBezTo>
                  <a:cubicBezTo>
                    <a:pt x="8389" y="11361"/>
                    <a:pt x="7890" y="5684"/>
                    <a:pt x="6637" y="156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EEE202CE-3E54-49B3-B5D7-C91E9A7266CA}"/>
                </a:ext>
              </a:extLst>
            </p:cNvPr>
            <p:cNvSpPr/>
            <p:nvPr/>
          </p:nvSpPr>
          <p:spPr>
            <a:xfrm flipH="1">
              <a:off x="2428263" y="2789906"/>
              <a:ext cx="176115" cy="530567"/>
            </a:xfrm>
            <a:custGeom>
              <a:avLst/>
              <a:gdLst>
                <a:gd name="connsiteX0" fmla="*/ 17824 w 176115"/>
                <a:gd name="connsiteY0" fmla="*/ 0 h 530567"/>
                <a:gd name="connsiteX1" fmla="*/ 150560 w 176115"/>
                <a:gd name="connsiteY1" fmla="*/ 289287 h 530567"/>
                <a:gd name="connsiteX2" fmla="*/ 176093 w 176115"/>
                <a:gd name="connsiteY2" fmla="*/ 524229 h 530567"/>
                <a:gd name="connsiteX3" fmla="*/ 162507 w 176115"/>
                <a:gd name="connsiteY3" fmla="*/ 530554 h 530567"/>
                <a:gd name="connsiteX4" fmla="*/ 106289 w 176115"/>
                <a:gd name="connsiteY4" fmla="*/ 303419 h 530567"/>
                <a:gd name="connsiteX5" fmla="*/ 23758 w 176115"/>
                <a:gd name="connsiteY5" fmla="*/ 140388 h 530567"/>
                <a:gd name="connsiteX6" fmla="*/ 17824 w 176115"/>
                <a:gd name="connsiteY6" fmla="*/ 0 h 53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115" h="530567">
                  <a:moveTo>
                    <a:pt x="17824" y="0"/>
                  </a:moveTo>
                  <a:cubicBezTo>
                    <a:pt x="17824" y="0"/>
                    <a:pt x="66390" y="46848"/>
                    <a:pt x="150560" y="289287"/>
                  </a:cubicBezTo>
                  <a:cubicBezTo>
                    <a:pt x="157509" y="308026"/>
                    <a:pt x="176873" y="368850"/>
                    <a:pt x="176093" y="524229"/>
                  </a:cubicBezTo>
                  <a:cubicBezTo>
                    <a:pt x="172857" y="528415"/>
                    <a:pt x="167793" y="530773"/>
                    <a:pt x="162507" y="530554"/>
                  </a:cubicBezTo>
                  <a:cubicBezTo>
                    <a:pt x="153684" y="468090"/>
                    <a:pt x="96841" y="374862"/>
                    <a:pt x="106289" y="303419"/>
                  </a:cubicBezTo>
                  <a:cubicBezTo>
                    <a:pt x="79351" y="263442"/>
                    <a:pt x="48744" y="198792"/>
                    <a:pt x="23758" y="140388"/>
                  </a:cubicBezTo>
                  <a:cubicBezTo>
                    <a:pt x="-1227" y="81984"/>
                    <a:pt x="-11456" y="20301"/>
                    <a:pt x="17824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08A7165F-48CF-48FF-8D58-4AC7493BE20C}"/>
                </a:ext>
              </a:extLst>
            </p:cNvPr>
            <p:cNvSpPr/>
            <p:nvPr/>
          </p:nvSpPr>
          <p:spPr>
            <a:xfrm flipH="1">
              <a:off x="2564853" y="3506681"/>
              <a:ext cx="135073" cy="318357"/>
            </a:xfrm>
            <a:custGeom>
              <a:avLst/>
              <a:gdLst>
                <a:gd name="connsiteX0" fmla="*/ 0 w 135073"/>
                <a:gd name="connsiteY0" fmla="*/ 0 h 318357"/>
                <a:gd name="connsiteX1" fmla="*/ 59732 w 135073"/>
                <a:gd name="connsiteY1" fmla="*/ 171386 h 318357"/>
                <a:gd name="connsiteX2" fmla="*/ 6654 w 135073"/>
                <a:gd name="connsiteY2" fmla="*/ 291200 h 318357"/>
                <a:gd name="connsiteX3" fmla="*/ 1556 w 135073"/>
                <a:gd name="connsiteY3" fmla="*/ 318357 h 318357"/>
                <a:gd name="connsiteX4" fmla="*/ 97145 w 135073"/>
                <a:gd name="connsiteY4" fmla="*/ 260635 h 318357"/>
                <a:gd name="connsiteX5" fmla="*/ 99855 w 135073"/>
                <a:gd name="connsiteY5" fmla="*/ 241219 h 318357"/>
                <a:gd name="connsiteX6" fmla="*/ 127427 w 135073"/>
                <a:gd name="connsiteY6" fmla="*/ 167950 h 318357"/>
                <a:gd name="connsiteX7" fmla="*/ 130941 w 135073"/>
                <a:gd name="connsiteY7" fmla="*/ 63557 h 31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73" h="318357">
                  <a:moveTo>
                    <a:pt x="0" y="0"/>
                  </a:moveTo>
                  <a:cubicBezTo>
                    <a:pt x="0" y="0"/>
                    <a:pt x="63557" y="146400"/>
                    <a:pt x="59732" y="171386"/>
                  </a:cubicBezTo>
                  <a:cubicBezTo>
                    <a:pt x="48605" y="202716"/>
                    <a:pt x="20394" y="248363"/>
                    <a:pt x="6654" y="291200"/>
                  </a:cubicBezTo>
                  <a:lnTo>
                    <a:pt x="1556" y="318357"/>
                  </a:lnTo>
                  <a:lnTo>
                    <a:pt x="97145" y="260635"/>
                  </a:lnTo>
                  <a:lnTo>
                    <a:pt x="99855" y="241219"/>
                  </a:lnTo>
                  <a:cubicBezTo>
                    <a:pt x="109566" y="189949"/>
                    <a:pt x="121103" y="188798"/>
                    <a:pt x="127427" y="167950"/>
                  </a:cubicBezTo>
                  <a:cubicBezTo>
                    <a:pt x="142262" y="118994"/>
                    <a:pt x="130941" y="63557"/>
                    <a:pt x="130941" y="63557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5C97EA8-CD75-424E-AE22-7CBF7A266250}"/>
                </a:ext>
              </a:extLst>
            </p:cNvPr>
            <p:cNvSpPr/>
            <p:nvPr/>
          </p:nvSpPr>
          <p:spPr>
            <a:xfrm flipH="1">
              <a:off x="2645657" y="3555403"/>
              <a:ext cx="138049" cy="315805"/>
            </a:xfrm>
            <a:custGeom>
              <a:avLst/>
              <a:gdLst>
                <a:gd name="connsiteX0" fmla="*/ 0 w 138049"/>
                <a:gd name="connsiteY0" fmla="*/ 0 h 315805"/>
                <a:gd name="connsiteX1" fmla="*/ 59731 w 138049"/>
                <a:gd name="connsiteY1" fmla="*/ 171386 h 315805"/>
                <a:gd name="connsiteX2" fmla="*/ 12883 w 138049"/>
                <a:gd name="connsiteY2" fmla="*/ 262115 h 315805"/>
                <a:gd name="connsiteX3" fmla="*/ 8500 w 138049"/>
                <a:gd name="connsiteY3" fmla="*/ 304161 h 315805"/>
                <a:gd name="connsiteX4" fmla="*/ 8876 w 138049"/>
                <a:gd name="connsiteY4" fmla="*/ 315805 h 315805"/>
                <a:gd name="connsiteX5" fmla="*/ 119782 w 138049"/>
                <a:gd name="connsiteY5" fmla="*/ 248835 h 315805"/>
                <a:gd name="connsiteX6" fmla="*/ 123420 w 138049"/>
                <a:gd name="connsiteY6" fmla="*/ 234057 h 315805"/>
                <a:gd name="connsiteX7" fmla="*/ 137577 w 138049"/>
                <a:gd name="connsiteY7" fmla="*/ 161235 h 315805"/>
                <a:gd name="connsiteX8" fmla="*/ 130628 w 138049"/>
                <a:gd name="connsiteY8" fmla="*/ 63557 h 31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049" h="315805">
                  <a:moveTo>
                    <a:pt x="0" y="0"/>
                  </a:moveTo>
                  <a:cubicBezTo>
                    <a:pt x="0" y="0"/>
                    <a:pt x="63557" y="146400"/>
                    <a:pt x="59731" y="171386"/>
                  </a:cubicBezTo>
                  <a:cubicBezTo>
                    <a:pt x="46302" y="195278"/>
                    <a:pt x="25766" y="234865"/>
                    <a:pt x="12883" y="262115"/>
                  </a:cubicBezTo>
                  <a:cubicBezTo>
                    <a:pt x="9662" y="268928"/>
                    <a:pt x="8379" y="283265"/>
                    <a:pt x="8500" y="304161"/>
                  </a:cubicBezTo>
                  <a:lnTo>
                    <a:pt x="8876" y="315805"/>
                  </a:lnTo>
                  <a:lnTo>
                    <a:pt x="119782" y="248835"/>
                  </a:lnTo>
                  <a:lnTo>
                    <a:pt x="123420" y="234057"/>
                  </a:lnTo>
                  <a:cubicBezTo>
                    <a:pt x="130921" y="202930"/>
                    <a:pt x="136308" y="178022"/>
                    <a:pt x="137577" y="161235"/>
                  </a:cubicBezTo>
                  <a:cubicBezTo>
                    <a:pt x="139143" y="128512"/>
                    <a:pt x="136811" y="95726"/>
                    <a:pt x="130628" y="63557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F10541F1-9FF5-4FA3-8949-21F7BF0425E5}"/>
                </a:ext>
              </a:extLst>
            </p:cNvPr>
            <p:cNvSpPr/>
            <p:nvPr/>
          </p:nvSpPr>
          <p:spPr>
            <a:xfrm flipH="1">
              <a:off x="2532356" y="2789203"/>
              <a:ext cx="292639" cy="930548"/>
            </a:xfrm>
            <a:custGeom>
              <a:avLst/>
              <a:gdLst>
                <a:gd name="connsiteX0" fmla="*/ 292316 w 292639"/>
                <a:gd name="connsiteY0" fmla="*/ 573342 h 930548"/>
                <a:gd name="connsiteX1" fmla="*/ 270297 w 292639"/>
                <a:gd name="connsiteY1" fmla="*/ 442636 h 930548"/>
                <a:gd name="connsiteX2" fmla="*/ 229227 w 292639"/>
                <a:gd name="connsiteY2" fmla="*/ 351360 h 930548"/>
                <a:gd name="connsiteX3" fmla="*/ 292316 w 292639"/>
                <a:gd name="connsiteY3" fmla="*/ 195200 h 930548"/>
                <a:gd name="connsiteX4" fmla="*/ 238441 w 292639"/>
                <a:gd name="connsiteY4" fmla="*/ 0 h 930548"/>
                <a:gd name="connsiteX5" fmla="*/ 9744 w 292639"/>
                <a:gd name="connsiteY5" fmla="*/ 124928 h 930548"/>
                <a:gd name="connsiteX6" fmla="*/ 132798 w 292639"/>
                <a:gd name="connsiteY6" fmla="*/ 373379 h 930548"/>
                <a:gd name="connsiteX7" fmla="*/ 4903 w 292639"/>
                <a:gd name="connsiteY7" fmla="*/ 539221 h 930548"/>
                <a:gd name="connsiteX8" fmla="*/ 3966 w 292639"/>
                <a:gd name="connsiteY8" fmla="*/ 542188 h 930548"/>
                <a:gd name="connsiteX9" fmla="*/ 2170 w 292639"/>
                <a:gd name="connsiteY9" fmla="*/ 549996 h 930548"/>
                <a:gd name="connsiteX10" fmla="*/ 76034 w 292639"/>
                <a:gd name="connsiteY10" fmla="*/ 883476 h 930548"/>
                <a:gd name="connsiteX11" fmla="*/ 102581 w 292639"/>
                <a:gd name="connsiteY11" fmla="*/ 914708 h 930548"/>
                <a:gd name="connsiteX12" fmla="*/ 234146 w 292639"/>
                <a:gd name="connsiteY12" fmla="*/ 914708 h 930548"/>
                <a:gd name="connsiteX13" fmla="*/ 260928 w 292639"/>
                <a:gd name="connsiteY13" fmla="*/ 880353 h 930548"/>
                <a:gd name="connsiteX14" fmla="*/ 260928 w 292639"/>
                <a:gd name="connsiteY14" fmla="*/ 880353 h 930548"/>
                <a:gd name="connsiteX15" fmla="*/ 292316 w 292639"/>
                <a:gd name="connsiteY15" fmla="*/ 573342 h 93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2639" h="930548">
                  <a:moveTo>
                    <a:pt x="292316" y="573342"/>
                  </a:moveTo>
                  <a:cubicBezTo>
                    <a:pt x="291535" y="528922"/>
                    <a:pt x="284113" y="484863"/>
                    <a:pt x="270297" y="442636"/>
                  </a:cubicBezTo>
                  <a:cubicBezTo>
                    <a:pt x="270297" y="442636"/>
                    <a:pt x="260303" y="416401"/>
                    <a:pt x="229227" y="351360"/>
                  </a:cubicBezTo>
                  <a:cubicBezTo>
                    <a:pt x="235396" y="296001"/>
                    <a:pt x="292316" y="195200"/>
                    <a:pt x="292316" y="195200"/>
                  </a:cubicBezTo>
                  <a:cubicBezTo>
                    <a:pt x="245468" y="126490"/>
                    <a:pt x="238441" y="0"/>
                    <a:pt x="238441" y="0"/>
                  </a:cubicBezTo>
                  <a:cubicBezTo>
                    <a:pt x="109687" y="31779"/>
                    <a:pt x="9744" y="124928"/>
                    <a:pt x="9744" y="124928"/>
                  </a:cubicBezTo>
                  <a:cubicBezTo>
                    <a:pt x="10212" y="222997"/>
                    <a:pt x="119056" y="357060"/>
                    <a:pt x="132798" y="373379"/>
                  </a:cubicBezTo>
                  <a:cubicBezTo>
                    <a:pt x="123741" y="382358"/>
                    <a:pt x="24189" y="482691"/>
                    <a:pt x="4903" y="539221"/>
                  </a:cubicBezTo>
                  <a:cubicBezTo>
                    <a:pt x="4903" y="540158"/>
                    <a:pt x="4278" y="541173"/>
                    <a:pt x="3966" y="542188"/>
                  </a:cubicBezTo>
                  <a:cubicBezTo>
                    <a:pt x="3188" y="544749"/>
                    <a:pt x="2587" y="547357"/>
                    <a:pt x="2170" y="549996"/>
                  </a:cubicBezTo>
                  <a:cubicBezTo>
                    <a:pt x="296" y="556789"/>
                    <a:pt x="-15398" y="628622"/>
                    <a:pt x="76034" y="883476"/>
                  </a:cubicBezTo>
                  <a:cubicBezTo>
                    <a:pt x="80158" y="897124"/>
                    <a:pt x="89777" y="908438"/>
                    <a:pt x="102581" y="914708"/>
                  </a:cubicBezTo>
                  <a:cubicBezTo>
                    <a:pt x="139045" y="935789"/>
                    <a:pt x="197917" y="935867"/>
                    <a:pt x="234146" y="914708"/>
                  </a:cubicBezTo>
                  <a:cubicBezTo>
                    <a:pt x="250699" y="905182"/>
                    <a:pt x="259600" y="892845"/>
                    <a:pt x="260928" y="880353"/>
                  </a:cubicBezTo>
                  <a:lnTo>
                    <a:pt x="260928" y="880353"/>
                  </a:lnTo>
                  <a:cubicBezTo>
                    <a:pt x="260928" y="880353"/>
                    <a:pt x="296376" y="725364"/>
                    <a:pt x="292316" y="573342"/>
                  </a:cubicBezTo>
                  <a:close/>
                </a:path>
              </a:pathLst>
            </a:custGeom>
            <a:solidFill>
              <a:schemeClr val="tx1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C4D1F3C5-E2DF-48E8-BB7F-F746A379D113}"/>
                </a:ext>
              </a:extLst>
            </p:cNvPr>
            <p:cNvSpPr/>
            <p:nvPr/>
          </p:nvSpPr>
          <p:spPr>
            <a:xfrm flipH="1">
              <a:off x="2595117" y="2805288"/>
              <a:ext cx="189136" cy="157595"/>
            </a:xfrm>
            <a:custGeom>
              <a:avLst/>
              <a:gdLst>
                <a:gd name="connsiteX0" fmla="*/ 0 w 189136"/>
                <a:gd name="connsiteY0" fmla="*/ 84092 h 157595"/>
                <a:gd name="connsiteX1" fmla="*/ 156160 w 189136"/>
                <a:gd name="connsiteY1" fmla="*/ 153818 h 157595"/>
                <a:gd name="connsiteX2" fmla="*/ 161079 w 189136"/>
                <a:gd name="connsiteY2" fmla="*/ 0 h 157595"/>
                <a:gd name="connsiteX3" fmla="*/ 0 w 189136"/>
                <a:gd name="connsiteY3" fmla="*/ 84092 h 15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136" h="157595">
                  <a:moveTo>
                    <a:pt x="0" y="84092"/>
                  </a:moveTo>
                  <a:cubicBezTo>
                    <a:pt x="0" y="84092"/>
                    <a:pt x="84951" y="177242"/>
                    <a:pt x="156160" y="153818"/>
                  </a:cubicBezTo>
                  <a:cubicBezTo>
                    <a:pt x="227369" y="130394"/>
                    <a:pt x="161079" y="0"/>
                    <a:pt x="161079" y="0"/>
                  </a:cubicBezTo>
                  <a:cubicBezTo>
                    <a:pt x="101934" y="16044"/>
                    <a:pt x="46975" y="44735"/>
                    <a:pt x="0" y="84092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26073381-DDCF-4995-9E38-F3C32164FCDF}"/>
                </a:ext>
              </a:extLst>
            </p:cNvPr>
            <p:cNvSpPr/>
            <p:nvPr/>
          </p:nvSpPr>
          <p:spPr>
            <a:xfrm flipH="1">
              <a:off x="2532352" y="2872436"/>
              <a:ext cx="255492" cy="847861"/>
            </a:xfrm>
            <a:custGeom>
              <a:avLst/>
              <a:gdLst>
                <a:gd name="connsiteX0" fmla="*/ 255166 w 255492"/>
                <a:gd name="connsiteY0" fmla="*/ 490108 h 847861"/>
                <a:gd name="connsiteX1" fmla="*/ 233147 w 255492"/>
                <a:gd name="connsiteY1" fmla="*/ 359402 h 847861"/>
                <a:gd name="connsiteX2" fmla="*/ 192077 w 255492"/>
                <a:gd name="connsiteY2" fmla="*/ 268127 h 847861"/>
                <a:gd name="connsiteX3" fmla="*/ 255166 w 255492"/>
                <a:gd name="connsiteY3" fmla="*/ 111967 h 847861"/>
                <a:gd name="connsiteX4" fmla="*/ 236270 w 255492"/>
                <a:gd name="connsiteY4" fmla="*/ 77143 h 847861"/>
                <a:gd name="connsiteX5" fmla="*/ 212846 w 255492"/>
                <a:gd name="connsiteY5" fmla="*/ 0 h 847861"/>
                <a:gd name="connsiteX6" fmla="*/ 126958 w 255492"/>
                <a:gd name="connsiteY6" fmla="*/ 177632 h 847861"/>
                <a:gd name="connsiteX7" fmla="*/ 30685 w 255492"/>
                <a:gd name="connsiteY7" fmla="*/ 126021 h 847861"/>
                <a:gd name="connsiteX8" fmla="*/ 0 w 255492"/>
                <a:gd name="connsiteY8" fmla="*/ 142652 h 847861"/>
                <a:gd name="connsiteX9" fmla="*/ 95804 w 255492"/>
                <a:gd name="connsiteY9" fmla="*/ 291004 h 847861"/>
                <a:gd name="connsiteX10" fmla="*/ 64572 w 255492"/>
                <a:gd name="connsiteY10" fmla="*/ 323720 h 847861"/>
                <a:gd name="connsiteX11" fmla="*/ 89402 w 255492"/>
                <a:gd name="connsiteY11" fmla="*/ 365571 h 847861"/>
                <a:gd name="connsiteX12" fmla="*/ 10775 w 255492"/>
                <a:gd name="connsiteY12" fmla="*/ 716931 h 847861"/>
                <a:gd name="connsiteX13" fmla="*/ 39196 w 255492"/>
                <a:gd name="connsiteY13" fmla="*/ 800789 h 847861"/>
                <a:gd name="connsiteX14" fmla="*/ 65743 w 255492"/>
                <a:gd name="connsiteY14" fmla="*/ 832021 h 847861"/>
                <a:gd name="connsiteX15" fmla="*/ 197308 w 255492"/>
                <a:gd name="connsiteY15" fmla="*/ 832021 h 847861"/>
                <a:gd name="connsiteX16" fmla="*/ 224090 w 255492"/>
                <a:gd name="connsiteY16" fmla="*/ 797666 h 847861"/>
                <a:gd name="connsiteX17" fmla="*/ 224090 w 255492"/>
                <a:gd name="connsiteY17" fmla="*/ 797666 h 847861"/>
                <a:gd name="connsiteX18" fmla="*/ 255166 w 255492"/>
                <a:gd name="connsiteY18" fmla="*/ 490108 h 847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492" h="847861">
                  <a:moveTo>
                    <a:pt x="255166" y="490108"/>
                  </a:moveTo>
                  <a:cubicBezTo>
                    <a:pt x="254385" y="445689"/>
                    <a:pt x="246963" y="401630"/>
                    <a:pt x="233147" y="359402"/>
                  </a:cubicBezTo>
                  <a:cubicBezTo>
                    <a:pt x="233147" y="359402"/>
                    <a:pt x="223153" y="333168"/>
                    <a:pt x="192077" y="268127"/>
                  </a:cubicBezTo>
                  <a:cubicBezTo>
                    <a:pt x="196840" y="225027"/>
                    <a:pt x="239706" y="141403"/>
                    <a:pt x="255166" y="111967"/>
                  </a:cubicBezTo>
                  <a:lnTo>
                    <a:pt x="236270" y="77143"/>
                  </a:lnTo>
                  <a:cubicBezTo>
                    <a:pt x="225983" y="52248"/>
                    <a:pt x="218139" y="26412"/>
                    <a:pt x="212846" y="0"/>
                  </a:cubicBezTo>
                  <a:cubicBezTo>
                    <a:pt x="203711" y="37166"/>
                    <a:pt x="202306" y="165764"/>
                    <a:pt x="126958" y="177632"/>
                  </a:cubicBezTo>
                  <a:cubicBezTo>
                    <a:pt x="77455" y="185440"/>
                    <a:pt x="30685" y="126021"/>
                    <a:pt x="30685" y="126021"/>
                  </a:cubicBezTo>
                  <a:cubicBezTo>
                    <a:pt x="30685" y="126021"/>
                    <a:pt x="13117" y="134454"/>
                    <a:pt x="0" y="142652"/>
                  </a:cubicBezTo>
                  <a:cubicBezTo>
                    <a:pt x="26108" y="195631"/>
                    <a:pt x="58256" y="245413"/>
                    <a:pt x="95804" y="291004"/>
                  </a:cubicBezTo>
                  <a:cubicBezTo>
                    <a:pt x="92837" y="293893"/>
                    <a:pt x="80188" y="306620"/>
                    <a:pt x="64572" y="323720"/>
                  </a:cubicBezTo>
                  <a:cubicBezTo>
                    <a:pt x="64572" y="323720"/>
                    <a:pt x="84483" y="347690"/>
                    <a:pt x="89402" y="365571"/>
                  </a:cubicBezTo>
                  <a:cubicBezTo>
                    <a:pt x="94321" y="383451"/>
                    <a:pt x="71287" y="654467"/>
                    <a:pt x="10775" y="716931"/>
                  </a:cubicBezTo>
                  <a:cubicBezTo>
                    <a:pt x="18583" y="742385"/>
                    <a:pt x="28265" y="770260"/>
                    <a:pt x="39196" y="800789"/>
                  </a:cubicBezTo>
                  <a:cubicBezTo>
                    <a:pt x="43355" y="814422"/>
                    <a:pt x="52963" y="825720"/>
                    <a:pt x="65743" y="832021"/>
                  </a:cubicBezTo>
                  <a:cubicBezTo>
                    <a:pt x="102207" y="853103"/>
                    <a:pt x="161079" y="853181"/>
                    <a:pt x="197308" y="832021"/>
                  </a:cubicBezTo>
                  <a:cubicBezTo>
                    <a:pt x="213861" y="822495"/>
                    <a:pt x="222763" y="810159"/>
                    <a:pt x="224090" y="797666"/>
                  </a:cubicBezTo>
                  <a:lnTo>
                    <a:pt x="224090" y="797666"/>
                  </a:lnTo>
                  <a:cubicBezTo>
                    <a:pt x="224090" y="797666"/>
                    <a:pt x="259226" y="642130"/>
                    <a:pt x="255166" y="490108"/>
                  </a:cubicBezTo>
                  <a:close/>
                </a:path>
              </a:pathLst>
            </a:custGeom>
            <a:solidFill>
              <a:schemeClr val="tx1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E51C720D-6E7C-40F9-8939-DC5148A509E5}"/>
                </a:ext>
              </a:extLst>
            </p:cNvPr>
            <p:cNvSpPr/>
            <p:nvPr/>
          </p:nvSpPr>
          <p:spPr>
            <a:xfrm flipH="1">
              <a:off x="2612417" y="2808567"/>
              <a:ext cx="137324" cy="89047"/>
            </a:xfrm>
            <a:custGeom>
              <a:avLst/>
              <a:gdLst>
                <a:gd name="connsiteX0" fmla="*/ 0 w 137324"/>
                <a:gd name="connsiteY0" fmla="*/ 54656 h 89047"/>
                <a:gd name="connsiteX1" fmla="*/ 117511 w 137324"/>
                <a:gd name="connsiteY1" fmla="*/ 0 h 89047"/>
                <a:gd name="connsiteX2" fmla="*/ 126412 w 137324"/>
                <a:gd name="connsiteY2" fmla="*/ 85341 h 89047"/>
                <a:gd name="connsiteX3" fmla="*/ 0 w 137324"/>
                <a:gd name="connsiteY3" fmla="*/ 54656 h 8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24" h="89047">
                  <a:moveTo>
                    <a:pt x="0" y="54656"/>
                  </a:moveTo>
                  <a:cubicBezTo>
                    <a:pt x="0" y="54656"/>
                    <a:pt x="40055" y="19520"/>
                    <a:pt x="117511" y="0"/>
                  </a:cubicBezTo>
                  <a:cubicBezTo>
                    <a:pt x="117511" y="0"/>
                    <a:pt x="155379" y="67461"/>
                    <a:pt x="126412" y="85341"/>
                  </a:cubicBezTo>
                  <a:cubicBezTo>
                    <a:pt x="110561" y="94867"/>
                    <a:pt x="63948" y="86513"/>
                    <a:pt x="0" y="54656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05744320-EC7D-4D63-AC69-15D7D97FED95}"/>
                </a:ext>
              </a:extLst>
            </p:cNvPr>
            <p:cNvSpPr/>
            <p:nvPr/>
          </p:nvSpPr>
          <p:spPr>
            <a:xfrm flipH="1">
              <a:off x="2644957" y="2748523"/>
              <a:ext cx="99787" cy="104522"/>
            </a:xfrm>
            <a:custGeom>
              <a:avLst/>
              <a:gdLst>
                <a:gd name="connsiteX0" fmla="*/ 0 w 99787"/>
                <a:gd name="connsiteY0" fmla="*/ 8589 h 104522"/>
                <a:gd name="connsiteX1" fmla="*/ 32403 w 99787"/>
                <a:gd name="connsiteY1" fmla="*/ 103925 h 104522"/>
                <a:gd name="connsiteX2" fmla="*/ 99786 w 99787"/>
                <a:gd name="connsiteY2" fmla="*/ 97756 h 104522"/>
                <a:gd name="connsiteX3" fmla="*/ 99786 w 99787"/>
                <a:gd name="connsiteY3" fmla="*/ 0 h 10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7" h="104522">
                  <a:moveTo>
                    <a:pt x="0" y="8589"/>
                  </a:moveTo>
                  <a:cubicBezTo>
                    <a:pt x="13188" y="39505"/>
                    <a:pt x="24021" y="71375"/>
                    <a:pt x="32403" y="103925"/>
                  </a:cubicBezTo>
                  <a:cubicBezTo>
                    <a:pt x="32403" y="103925"/>
                    <a:pt x="100099" y="107360"/>
                    <a:pt x="99786" y="97756"/>
                  </a:cubicBezTo>
                  <a:lnTo>
                    <a:pt x="99786" y="0"/>
                  </a:ln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4F8AF554-54A9-425D-8B01-7C805D923B92}"/>
                </a:ext>
              </a:extLst>
            </p:cNvPr>
            <p:cNvSpPr/>
            <p:nvPr/>
          </p:nvSpPr>
          <p:spPr>
            <a:xfrm flipH="1">
              <a:off x="2562029" y="2623986"/>
              <a:ext cx="18044" cy="78080"/>
            </a:xfrm>
            <a:custGeom>
              <a:avLst/>
              <a:gdLst>
                <a:gd name="connsiteX0" fmla="*/ 17646 w 18044"/>
                <a:gd name="connsiteY0" fmla="*/ 0 h 78080"/>
                <a:gd name="connsiteX1" fmla="*/ 4919 w 18044"/>
                <a:gd name="connsiteY1" fmla="*/ 78080 h 78080"/>
                <a:gd name="connsiteX2" fmla="*/ 0 w 18044"/>
                <a:gd name="connsiteY2" fmla="*/ 8667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" h="78080">
                  <a:moveTo>
                    <a:pt x="17646" y="0"/>
                  </a:moveTo>
                  <a:cubicBezTo>
                    <a:pt x="17646" y="0"/>
                    <a:pt x="21550" y="55671"/>
                    <a:pt x="4919" y="78080"/>
                  </a:cubicBezTo>
                  <a:lnTo>
                    <a:pt x="0" y="8667"/>
                  </a:ln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93E37BCE-129F-4B57-8A7B-7876466879A6}"/>
                </a:ext>
              </a:extLst>
            </p:cNvPr>
            <p:cNvSpPr/>
            <p:nvPr/>
          </p:nvSpPr>
          <p:spPr>
            <a:xfrm flipH="1">
              <a:off x="2647582" y="2577222"/>
              <a:ext cx="186720" cy="419127"/>
            </a:xfrm>
            <a:custGeom>
              <a:avLst/>
              <a:gdLst>
                <a:gd name="connsiteX0" fmla="*/ 23424 w 186720"/>
                <a:gd name="connsiteY0" fmla="*/ 8192 h 419127"/>
                <a:gd name="connsiteX1" fmla="*/ 0 w 186720"/>
                <a:gd name="connsiteY1" fmla="*/ 82525 h 419127"/>
                <a:gd name="connsiteX2" fmla="*/ 14991 w 186720"/>
                <a:gd name="connsiteY2" fmla="*/ 139289 h 419127"/>
                <a:gd name="connsiteX3" fmla="*/ 312 w 186720"/>
                <a:gd name="connsiteY3" fmla="*/ 186839 h 419127"/>
                <a:gd name="connsiteX4" fmla="*/ 26547 w 186720"/>
                <a:gd name="connsiteY4" fmla="*/ 235874 h 419127"/>
                <a:gd name="connsiteX5" fmla="*/ 15226 w 186720"/>
                <a:gd name="connsiteY5" fmla="*/ 274289 h 419127"/>
                <a:gd name="connsiteX6" fmla="*/ 71131 w 186720"/>
                <a:gd name="connsiteY6" fmla="*/ 332537 h 419127"/>
                <a:gd name="connsiteX7" fmla="*/ 94555 w 186720"/>
                <a:gd name="connsiteY7" fmla="*/ 377433 h 419127"/>
                <a:gd name="connsiteX8" fmla="*/ 182707 w 186720"/>
                <a:gd name="connsiteY8" fmla="*/ 419128 h 419127"/>
                <a:gd name="connsiteX9" fmla="*/ 165608 w 186720"/>
                <a:gd name="connsiteY9" fmla="*/ 355805 h 419127"/>
                <a:gd name="connsiteX10" fmla="*/ 141559 w 186720"/>
                <a:gd name="connsiteY10" fmla="*/ 293341 h 419127"/>
                <a:gd name="connsiteX11" fmla="*/ 120243 w 186720"/>
                <a:gd name="connsiteY11" fmla="*/ 268745 h 419127"/>
                <a:gd name="connsiteX12" fmla="*/ 122195 w 186720"/>
                <a:gd name="connsiteY12" fmla="*/ 234781 h 419127"/>
                <a:gd name="connsiteX13" fmla="*/ 102207 w 186720"/>
                <a:gd name="connsiteY13" fmla="*/ 183560 h 419127"/>
                <a:gd name="connsiteX14" fmla="*/ 102753 w 186720"/>
                <a:gd name="connsiteY14" fmla="*/ 137259 h 419127"/>
                <a:gd name="connsiteX15" fmla="*/ 23424 w 186720"/>
                <a:gd name="connsiteY15" fmla="*/ 8192 h 41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720" h="419127">
                  <a:moveTo>
                    <a:pt x="23424" y="8192"/>
                  </a:moveTo>
                  <a:cubicBezTo>
                    <a:pt x="18193" y="47232"/>
                    <a:pt x="0" y="54181"/>
                    <a:pt x="0" y="82525"/>
                  </a:cubicBezTo>
                  <a:cubicBezTo>
                    <a:pt x="0" y="110868"/>
                    <a:pt x="14991" y="111883"/>
                    <a:pt x="14991" y="139289"/>
                  </a:cubicBezTo>
                  <a:cubicBezTo>
                    <a:pt x="14991" y="162713"/>
                    <a:pt x="-1796" y="166773"/>
                    <a:pt x="312" y="186839"/>
                  </a:cubicBezTo>
                  <a:cubicBezTo>
                    <a:pt x="2420" y="206906"/>
                    <a:pt x="26547" y="210263"/>
                    <a:pt x="26547" y="235874"/>
                  </a:cubicBezTo>
                  <a:cubicBezTo>
                    <a:pt x="26547" y="251490"/>
                    <a:pt x="15226" y="261406"/>
                    <a:pt x="15226" y="274289"/>
                  </a:cubicBezTo>
                  <a:cubicBezTo>
                    <a:pt x="15226" y="312626"/>
                    <a:pt x="39899" y="301773"/>
                    <a:pt x="71131" y="332537"/>
                  </a:cubicBezTo>
                  <a:cubicBezTo>
                    <a:pt x="86747" y="349402"/>
                    <a:pt x="73083" y="365409"/>
                    <a:pt x="94555" y="377433"/>
                  </a:cubicBezTo>
                  <a:cubicBezTo>
                    <a:pt x="116027" y="389457"/>
                    <a:pt x="160064" y="373841"/>
                    <a:pt x="182707" y="419128"/>
                  </a:cubicBezTo>
                  <a:cubicBezTo>
                    <a:pt x="182707" y="398046"/>
                    <a:pt x="199104" y="369937"/>
                    <a:pt x="165608" y="355805"/>
                  </a:cubicBezTo>
                  <a:cubicBezTo>
                    <a:pt x="136562" y="335270"/>
                    <a:pt x="148430" y="316765"/>
                    <a:pt x="141559" y="293341"/>
                  </a:cubicBezTo>
                  <a:cubicBezTo>
                    <a:pt x="135469" y="272181"/>
                    <a:pt x="124772" y="281238"/>
                    <a:pt x="120243" y="268745"/>
                  </a:cubicBezTo>
                  <a:cubicBezTo>
                    <a:pt x="115715" y="256253"/>
                    <a:pt x="125162" y="252192"/>
                    <a:pt x="122195" y="234781"/>
                  </a:cubicBezTo>
                  <a:cubicBezTo>
                    <a:pt x="116808" y="203549"/>
                    <a:pt x="101816" y="203080"/>
                    <a:pt x="102207" y="183560"/>
                  </a:cubicBezTo>
                  <a:cubicBezTo>
                    <a:pt x="102207" y="169115"/>
                    <a:pt x="102753" y="153265"/>
                    <a:pt x="102753" y="137259"/>
                  </a:cubicBezTo>
                  <a:cubicBezTo>
                    <a:pt x="102753" y="76903"/>
                    <a:pt x="28655" y="-30457"/>
                    <a:pt x="23424" y="8192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0256A48C-2C1D-4AEB-8527-9A3506C05282}"/>
                </a:ext>
              </a:extLst>
            </p:cNvPr>
            <p:cNvSpPr/>
            <p:nvPr/>
          </p:nvSpPr>
          <p:spPr>
            <a:xfrm flipH="1">
              <a:off x="2732018" y="2704112"/>
              <a:ext cx="43802" cy="56307"/>
            </a:xfrm>
            <a:custGeom>
              <a:avLst/>
              <a:gdLst>
                <a:gd name="connsiteX0" fmla="*/ 43803 w 43802"/>
                <a:gd name="connsiteY0" fmla="*/ 40820 h 56307"/>
                <a:gd name="connsiteX1" fmla="*/ 21862 w 43802"/>
                <a:gd name="connsiteY1" fmla="*/ 53313 h 56307"/>
                <a:gd name="connsiteX2" fmla="*/ 0 w 43802"/>
                <a:gd name="connsiteY2" fmla="*/ 15522 h 56307"/>
                <a:gd name="connsiteX3" fmla="*/ 21862 w 43802"/>
                <a:gd name="connsiteY3" fmla="*/ 3029 h 56307"/>
                <a:gd name="connsiteX4" fmla="*/ 43803 w 43802"/>
                <a:gd name="connsiteY4" fmla="*/ 40820 h 56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307">
                  <a:moveTo>
                    <a:pt x="43803" y="40820"/>
                  </a:moveTo>
                  <a:cubicBezTo>
                    <a:pt x="43803" y="54718"/>
                    <a:pt x="33965" y="60262"/>
                    <a:pt x="21862" y="53313"/>
                  </a:cubicBezTo>
                  <a:cubicBezTo>
                    <a:pt x="8967" y="44921"/>
                    <a:pt x="846" y="30884"/>
                    <a:pt x="0" y="15522"/>
                  </a:cubicBezTo>
                  <a:cubicBezTo>
                    <a:pt x="0" y="1624"/>
                    <a:pt x="9760" y="-3998"/>
                    <a:pt x="21862" y="3029"/>
                  </a:cubicBezTo>
                  <a:cubicBezTo>
                    <a:pt x="34788" y="11403"/>
                    <a:pt x="42939" y="25444"/>
                    <a:pt x="43803" y="40820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D8173B85-6CF7-4C48-AD79-5EA8630C40E0}"/>
                </a:ext>
              </a:extLst>
            </p:cNvPr>
            <p:cNvSpPr/>
            <p:nvPr/>
          </p:nvSpPr>
          <p:spPr>
            <a:xfrm flipH="1">
              <a:off x="2569579" y="2610067"/>
              <a:ext cx="173682" cy="222958"/>
            </a:xfrm>
            <a:custGeom>
              <a:avLst/>
              <a:gdLst>
                <a:gd name="connsiteX0" fmla="*/ 171074 w 173682"/>
                <a:gd name="connsiteY0" fmla="*/ 2129 h 222958"/>
                <a:gd name="connsiteX1" fmla="*/ 144526 w 173682"/>
                <a:gd name="connsiteY1" fmla="*/ 489 h 222958"/>
                <a:gd name="connsiteX2" fmla="*/ 144526 w 173682"/>
                <a:gd name="connsiteY2" fmla="*/ 489 h 222958"/>
                <a:gd name="connsiteX3" fmla="*/ 7183 w 173682"/>
                <a:gd name="connsiteY3" fmla="*/ 13607 h 222958"/>
                <a:gd name="connsiteX4" fmla="*/ 0 w 173682"/>
                <a:gd name="connsiteY4" fmla="*/ 119795 h 222958"/>
                <a:gd name="connsiteX5" fmla="*/ 2655 w 173682"/>
                <a:gd name="connsiteY5" fmla="*/ 146499 h 222958"/>
                <a:gd name="connsiteX6" fmla="*/ 117276 w 173682"/>
                <a:gd name="connsiteY6" fmla="*/ 221065 h 222958"/>
                <a:gd name="connsiteX7" fmla="*/ 173026 w 173682"/>
                <a:gd name="connsiteY7" fmla="*/ 86221 h 222958"/>
                <a:gd name="connsiteX8" fmla="*/ 171074 w 173682"/>
                <a:gd name="connsiteY8" fmla="*/ 2129 h 22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82" h="222958">
                  <a:moveTo>
                    <a:pt x="171074" y="2129"/>
                  </a:moveTo>
                  <a:cubicBezTo>
                    <a:pt x="162388" y="35"/>
                    <a:pt x="153403" y="-520"/>
                    <a:pt x="144526" y="489"/>
                  </a:cubicBezTo>
                  <a:lnTo>
                    <a:pt x="144526" y="489"/>
                  </a:lnTo>
                  <a:lnTo>
                    <a:pt x="7183" y="13607"/>
                  </a:lnTo>
                  <a:lnTo>
                    <a:pt x="0" y="119795"/>
                  </a:lnTo>
                  <a:lnTo>
                    <a:pt x="2655" y="146499"/>
                  </a:lnTo>
                  <a:cubicBezTo>
                    <a:pt x="25064" y="191082"/>
                    <a:pt x="89948" y="232387"/>
                    <a:pt x="117276" y="221065"/>
                  </a:cubicBezTo>
                  <a:cubicBezTo>
                    <a:pt x="159596" y="202951"/>
                    <a:pt x="167794" y="157274"/>
                    <a:pt x="173026" y="86221"/>
                  </a:cubicBezTo>
                  <a:cubicBezTo>
                    <a:pt x="174337" y="58179"/>
                    <a:pt x="173685" y="30080"/>
                    <a:pt x="171074" y="2129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ED113FB8-F5F0-415D-A648-7A5D15ADB5DC}"/>
                </a:ext>
              </a:extLst>
            </p:cNvPr>
            <p:cNvSpPr/>
            <p:nvPr/>
          </p:nvSpPr>
          <p:spPr>
            <a:xfrm flipH="1">
              <a:off x="2533834" y="2502911"/>
              <a:ext cx="278499" cy="224440"/>
            </a:xfrm>
            <a:custGeom>
              <a:avLst/>
              <a:gdLst>
                <a:gd name="connsiteX0" fmla="*/ 69932 w 278499"/>
                <a:gd name="connsiteY0" fmla="*/ 215083 h 224440"/>
                <a:gd name="connsiteX1" fmla="*/ 86719 w 278499"/>
                <a:gd name="connsiteY1" fmla="*/ 213209 h 224440"/>
                <a:gd name="connsiteX2" fmla="*/ 107254 w 278499"/>
                <a:gd name="connsiteY2" fmla="*/ 171202 h 224440"/>
                <a:gd name="connsiteX3" fmla="*/ 274423 w 278499"/>
                <a:gd name="connsiteY3" fmla="*/ 116546 h 224440"/>
                <a:gd name="connsiteX4" fmla="*/ 33468 w 278499"/>
                <a:gd name="connsiteY4" fmla="*/ 25973 h 224440"/>
                <a:gd name="connsiteX5" fmla="*/ 42526 w 278499"/>
                <a:gd name="connsiteY5" fmla="*/ 202434 h 224440"/>
                <a:gd name="connsiteX6" fmla="*/ 69932 w 278499"/>
                <a:gd name="connsiteY6" fmla="*/ 215083 h 22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499" h="224440">
                  <a:moveTo>
                    <a:pt x="69932" y="215083"/>
                  </a:moveTo>
                  <a:cubicBezTo>
                    <a:pt x="69932" y="215083"/>
                    <a:pt x="85548" y="237336"/>
                    <a:pt x="86719" y="213209"/>
                  </a:cubicBezTo>
                  <a:cubicBezTo>
                    <a:pt x="87734" y="194080"/>
                    <a:pt x="89686" y="178073"/>
                    <a:pt x="107254" y="171202"/>
                  </a:cubicBezTo>
                  <a:cubicBezTo>
                    <a:pt x="111158" y="169719"/>
                    <a:pt x="237179" y="150042"/>
                    <a:pt x="274423" y="116546"/>
                  </a:cubicBezTo>
                  <a:cubicBezTo>
                    <a:pt x="306749" y="87656"/>
                    <a:pt x="139423" y="-58509"/>
                    <a:pt x="33468" y="25973"/>
                  </a:cubicBezTo>
                  <a:cubicBezTo>
                    <a:pt x="-46798" y="90077"/>
                    <a:pt x="42526" y="202434"/>
                    <a:pt x="42526" y="202434"/>
                  </a:cubicBezTo>
                  <a:cubicBezTo>
                    <a:pt x="42526" y="202434"/>
                    <a:pt x="55409" y="195641"/>
                    <a:pt x="69932" y="215083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C6FD0BDB-D7F0-41E6-98D7-5884659549F5}"/>
                </a:ext>
              </a:extLst>
            </p:cNvPr>
            <p:cNvSpPr/>
            <p:nvPr/>
          </p:nvSpPr>
          <p:spPr>
            <a:xfrm flipH="1">
              <a:off x="2743886" y="2718726"/>
              <a:ext cx="20925" cy="26905"/>
            </a:xfrm>
            <a:custGeom>
              <a:avLst/>
              <a:gdLst>
                <a:gd name="connsiteX0" fmla="*/ 20925 w 20925"/>
                <a:gd name="connsiteY0" fmla="*/ 19490 h 26905"/>
                <a:gd name="connsiteX1" fmla="*/ 10463 w 20925"/>
                <a:gd name="connsiteY1" fmla="*/ 25503 h 26905"/>
                <a:gd name="connsiteX2" fmla="*/ 0 w 20925"/>
                <a:gd name="connsiteY2" fmla="*/ 7388 h 26905"/>
                <a:gd name="connsiteX3" fmla="*/ 10463 w 20925"/>
                <a:gd name="connsiteY3" fmla="*/ 1454 h 26905"/>
                <a:gd name="connsiteX4" fmla="*/ 20925 w 20925"/>
                <a:gd name="connsiteY4" fmla="*/ 19490 h 2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5" h="26905">
                  <a:moveTo>
                    <a:pt x="20925" y="19490"/>
                  </a:moveTo>
                  <a:cubicBezTo>
                    <a:pt x="20925" y="26127"/>
                    <a:pt x="16241" y="28782"/>
                    <a:pt x="10463" y="25503"/>
                  </a:cubicBezTo>
                  <a:cubicBezTo>
                    <a:pt x="4323" y="21443"/>
                    <a:pt x="448" y="14734"/>
                    <a:pt x="0" y="7388"/>
                  </a:cubicBezTo>
                  <a:cubicBezTo>
                    <a:pt x="0" y="751"/>
                    <a:pt x="4685" y="-1904"/>
                    <a:pt x="10463" y="1454"/>
                  </a:cubicBezTo>
                  <a:cubicBezTo>
                    <a:pt x="16582" y="5497"/>
                    <a:pt x="20454" y="12172"/>
                    <a:pt x="20925" y="19490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9CA08EC4-669C-4BE4-9465-7EF10673577E}"/>
                </a:ext>
              </a:extLst>
            </p:cNvPr>
            <p:cNvSpPr/>
            <p:nvPr/>
          </p:nvSpPr>
          <p:spPr>
            <a:xfrm flipH="1">
              <a:off x="2540989" y="2506748"/>
              <a:ext cx="250509" cy="144223"/>
            </a:xfrm>
            <a:custGeom>
              <a:avLst/>
              <a:gdLst>
                <a:gd name="connsiteX0" fmla="*/ 248122 w 250509"/>
                <a:gd name="connsiteY0" fmla="*/ 88114 h 144223"/>
                <a:gd name="connsiteX1" fmla="*/ 120071 w 250509"/>
                <a:gd name="connsiteY1" fmla="*/ 3241 h 144223"/>
                <a:gd name="connsiteX2" fmla="*/ 1779 w 250509"/>
                <a:gd name="connsiteY2" fmla="*/ 44155 h 144223"/>
                <a:gd name="connsiteX3" fmla="*/ 110623 w 250509"/>
                <a:gd name="connsiteY3" fmla="*/ 143707 h 144223"/>
                <a:gd name="connsiteX4" fmla="*/ 140450 w 250509"/>
                <a:gd name="connsiteY4" fmla="*/ 132541 h 144223"/>
                <a:gd name="connsiteX5" fmla="*/ 179490 w 250509"/>
                <a:gd name="connsiteY5" fmla="*/ 134493 h 144223"/>
                <a:gd name="connsiteX6" fmla="*/ 220482 w 250509"/>
                <a:gd name="connsiteY6" fmla="*/ 118018 h 144223"/>
                <a:gd name="connsiteX7" fmla="*/ 248122 w 250509"/>
                <a:gd name="connsiteY7" fmla="*/ 88114 h 14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509" h="144223">
                  <a:moveTo>
                    <a:pt x="248122" y="88114"/>
                  </a:moveTo>
                  <a:cubicBezTo>
                    <a:pt x="217743" y="44611"/>
                    <a:pt x="171971" y="14274"/>
                    <a:pt x="120071" y="3241"/>
                  </a:cubicBezTo>
                  <a:cubicBezTo>
                    <a:pt x="35276" y="-13156"/>
                    <a:pt x="5527" y="37674"/>
                    <a:pt x="1779" y="44155"/>
                  </a:cubicBezTo>
                  <a:cubicBezTo>
                    <a:pt x="-10792" y="65314"/>
                    <a:pt x="45114" y="151671"/>
                    <a:pt x="110623" y="143707"/>
                  </a:cubicBezTo>
                  <a:cubicBezTo>
                    <a:pt x="116245" y="143004"/>
                    <a:pt x="132798" y="131448"/>
                    <a:pt x="140450" y="132541"/>
                  </a:cubicBezTo>
                  <a:cubicBezTo>
                    <a:pt x="153332" y="134805"/>
                    <a:pt x="166446" y="135461"/>
                    <a:pt x="179490" y="134493"/>
                  </a:cubicBezTo>
                  <a:cubicBezTo>
                    <a:pt x="195106" y="132463"/>
                    <a:pt x="207520" y="121922"/>
                    <a:pt x="220482" y="118018"/>
                  </a:cubicBezTo>
                  <a:cubicBezTo>
                    <a:pt x="242500" y="111304"/>
                    <a:pt x="256320" y="101543"/>
                    <a:pt x="248122" y="88114"/>
                  </a:cubicBezTo>
                  <a:close/>
                </a:path>
              </a:pathLst>
            </a:custGeom>
            <a:solidFill>
              <a:srgbClr val="6B331F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22613154-F80E-4A70-9295-AE93D1DE3A95}"/>
                </a:ext>
              </a:extLst>
            </p:cNvPr>
            <p:cNvSpPr/>
            <p:nvPr/>
          </p:nvSpPr>
          <p:spPr>
            <a:xfrm flipH="1">
              <a:off x="2742119" y="2914990"/>
              <a:ext cx="73132" cy="152499"/>
            </a:xfrm>
            <a:custGeom>
              <a:avLst/>
              <a:gdLst>
                <a:gd name="connsiteX0" fmla="*/ 0 w 73132"/>
                <a:gd name="connsiteY0" fmla="*/ 0 h 152499"/>
                <a:gd name="connsiteX1" fmla="*/ 58482 w 73132"/>
                <a:gd name="connsiteY1" fmla="*/ 63479 h 152499"/>
                <a:gd name="connsiteX2" fmla="*/ 65822 w 73132"/>
                <a:gd name="connsiteY2" fmla="*/ 152412 h 152499"/>
                <a:gd name="connsiteX3" fmla="*/ 0 w 73132"/>
                <a:gd name="connsiteY3" fmla="*/ 0 h 1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32" h="152499">
                  <a:moveTo>
                    <a:pt x="0" y="0"/>
                  </a:moveTo>
                  <a:cubicBezTo>
                    <a:pt x="0" y="0"/>
                    <a:pt x="33809" y="10307"/>
                    <a:pt x="58482" y="63479"/>
                  </a:cubicBezTo>
                  <a:cubicBezTo>
                    <a:pt x="80266" y="110327"/>
                    <a:pt x="73317" y="149836"/>
                    <a:pt x="65822" y="152412"/>
                  </a:cubicBezTo>
                  <a:cubicBezTo>
                    <a:pt x="58326" y="154989"/>
                    <a:pt x="11322" y="100177"/>
                    <a:pt x="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AB8BB13B-2A5C-424E-B8CB-F0AF448AE000}"/>
                </a:ext>
              </a:extLst>
            </p:cNvPr>
            <p:cNvSpPr/>
            <p:nvPr/>
          </p:nvSpPr>
          <p:spPr>
            <a:xfrm flipH="1">
              <a:off x="2776758" y="2914990"/>
              <a:ext cx="197323" cy="203052"/>
            </a:xfrm>
            <a:custGeom>
              <a:avLst/>
              <a:gdLst>
                <a:gd name="connsiteX0" fmla="*/ 158830 w 197323"/>
                <a:gd name="connsiteY0" fmla="*/ 0 h 203052"/>
                <a:gd name="connsiteX1" fmla="*/ 113466 w 197323"/>
                <a:gd name="connsiteY1" fmla="*/ 48019 h 203052"/>
                <a:gd name="connsiteX2" fmla="*/ 2123 w 197323"/>
                <a:gd name="connsiteY2" fmla="*/ 196918 h 203052"/>
                <a:gd name="connsiteX3" fmla="*/ 150476 w 197323"/>
                <a:gd name="connsiteY3" fmla="*/ 126646 h 203052"/>
                <a:gd name="connsiteX4" fmla="*/ 197324 w 197323"/>
                <a:gd name="connsiteY4" fmla="*/ 97912 h 203052"/>
                <a:gd name="connsiteX5" fmla="*/ 158830 w 197323"/>
                <a:gd name="connsiteY5" fmla="*/ 0 h 2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323" h="203052">
                  <a:moveTo>
                    <a:pt x="158830" y="0"/>
                  </a:moveTo>
                  <a:cubicBezTo>
                    <a:pt x="146025" y="10853"/>
                    <a:pt x="137046" y="25376"/>
                    <a:pt x="113466" y="48019"/>
                  </a:cubicBezTo>
                  <a:cubicBezTo>
                    <a:pt x="61933" y="97444"/>
                    <a:pt x="-13649" y="170761"/>
                    <a:pt x="2123" y="196918"/>
                  </a:cubicBezTo>
                  <a:cubicBezTo>
                    <a:pt x="23361" y="217219"/>
                    <a:pt x="71459" y="185440"/>
                    <a:pt x="150476" y="126646"/>
                  </a:cubicBezTo>
                  <a:cubicBezTo>
                    <a:pt x="165034" y="115441"/>
                    <a:pt x="180737" y="105809"/>
                    <a:pt x="197324" y="97912"/>
                  </a:cubicBezTo>
                  <a:cubicBezTo>
                    <a:pt x="197324" y="97912"/>
                    <a:pt x="190218" y="17334"/>
                    <a:pt x="15883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7524AF59-9EC1-4210-941A-FD03F5BC66EE}"/>
                </a:ext>
              </a:extLst>
            </p:cNvPr>
            <p:cNvSpPr/>
            <p:nvPr/>
          </p:nvSpPr>
          <p:spPr>
            <a:xfrm flipH="1">
              <a:off x="2564301" y="2631091"/>
              <a:ext cx="163187" cy="63791"/>
            </a:xfrm>
            <a:custGeom>
              <a:avLst/>
              <a:gdLst>
                <a:gd name="connsiteX0" fmla="*/ 1484 w 163187"/>
                <a:gd name="connsiteY0" fmla="*/ 63791 h 63791"/>
                <a:gd name="connsiteX1" fmla="*/ 20379 w 163187"/>
                <a:gd name="connsiteY1" fmla="*/ 50830 h 63791"/>
                <a:gd name="connsiteX2" fmla="*/ 40289 w 163187"/>
                <a:gd name="connsiteY2" fmla="*/ 54968 h 63791"/>
                <a:gd name="connsiteX3" fmla="*/ 79798 w 163187"/>
                <a:gd name="connsiteY3" fmla="*/ 34433 h 63791"/>
                <a:gd name="connsiteX4" fmla="*/ 96195 w 163187"/>
                <a:gd name="connsiteY4" fmla="*/ 36151 h 63791"/>
                <a:gd name="connsiteX5" fmla="*/ 163187 w 163187"/>
                <a:gd name="connsiteY5" fmla="*/ 2186 h 63791"/>
                <a:gd name="connsiteX6" fmla="*/ 159908 w 163187"/>
                <a:gd name="connsiteY6" fmla="*/ 0 h 63791"/>
                <a:gd name="connsiteX7" fmla="*/ 46145 w 163187"/>
                <a:gd name="connsiteY7" fmla="*/ 25844 h 63791"/>
                <a:gd name="connsiteX8" fmla="*/ 0 w 163187"/>
                <a:gd name="connsiteY8" fmla="*/ 59341 h 63791"/>
                <a:gd name="connsiteX9" fmla="*/ 1484 w 163187"/>
                <a:gd name="connsiteY9" fmla="*/ 63791 h 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187" h="63791">
                  <a:moveTo>
                    <a:pt x="1484" y="63791"/>
                  </a:moveTo>
                  <a:cubicBezTo>
                    <a:pt x="4943" y="56346"/>
                    <a:pt x="12187" y="51377"/>
                    <a:pt x="20379" y="50830"/>
                  </a:cubicBezTo>
                  <a:cubicBezTo>
                    <a:pt x="26903" y="52705"/>
                    <a:pt x="33559" y="54088"/>
                    <a:pt x="40289" y="54968"/>
                  </a:cubicBezTo>
                  <a:cubicBezTo>
                    <a:pt x="59887" y="54968"/>
                    <a:pt x="76128" y="34433"/>
                    <a:pt x="79798" y="34433"/>
                  </a:cubicBezTo>
                  <a:cubicBezTo>
                    <a:pt x="85204" y="35473"/>
                    <a:pt x="90690" y="36048"/>
                    <a:pt x="96195" y="36151"/>
                  </a:cubicBezTo>
                  <a:cubicBezTo>
                    <a:pt x="130081" y="36151"/>
                    <a:pt x="163187" y="8120"/>
                    <a:pt x="163187" y="2186"/>
                  </a:cubicBezTo>
                  <a:cubicBezTo>
                    <a:pt x="163187" y="703"/>
                    <a:pt x="161314" y="0"/>
                    <a:pt x="159908" y="0"/>
                  </a:cubicBezTo>
                  <a:lnTo>
                    <a:pt x="46145" y="25844"/>
                  </a:lnTo>
                  <a:cubicBezTo>
                    <a:pt x="28265" y="31779"/>
                    <a:pt x="6637" y="39196"/>
                    <a:pt x="0" y="59341"/>
                  </a:cubicBezTo>
                  <a:cubicBezTo>
                    <a:pt x="0" y="60824"/>
                    <a:pt x="0" y="63011"/>
                    <a:pt x="1484" y="63791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FA3973C3-A823-4EC9-96F8-294D2046AC32}"/>
                </a:ext>
              </a:extLst>
            </p:cNvPr>
            <p:cNvSpPr/>
            <p:nvPr/>
          </p:nvSpPr>
          <p:spPr>
            <a:xfrm rot="15518677" flipH="1">
              <a:off x="2749611" y="3110163"/>
              <a:ext cx="264022" cy="247550"/>
            </a:xfrm>
            <a:custGeom>
              <a:avLst/>
              <a:gdLst>
                <a:gd name="connsiteX0" fmla="*/ 243565 w 264022"/>
                <a:gd name="connsiteY0" fmla="*/ 8548 h 247550"/>
                <a:gd name="connsiteX1" fmla="*/ 424 w 264022"/>
                <a:gd name="connsiteY1" fmla="*/ 237479 h 247550"/>
                <a:gd name="connsiteX2" fmla="*/ 5655 w 264022"/>
                <a:gd name="connsiteY2" fmla="*/ 244662 h 247550"/>
                <a:gd name="connsiteX3" fmla="*/ 264022 w 264022"/>
                <a:gd name="connsiteY3" fmla="*/ 18230 h 247550"/>
                <a:gd name="connsiteX4" fmla="*/ 260118 w 264022"/>
                <a:gd name="connsiteY4" fmla="*/ 662 h 247550"/>
                <a:gd name="connsiteX5" fmla="*/ 243565 w 264022"/>
                <a:gd name="connsiteY5" fmla="*/ 8548 h 2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22" h="247550">
                  <a:moveTo>
                    <a:pt x="243565" y="8548"/>
                  </a:moveTo>
                  <a:cubicBezTo>
                    <a:pt x="205150" y="33768"/>
                    <a:pt x="-10820" y="172672"/>
                    <a:pt x="424" y="237479"/>
                  </a:cubicBezTo>
                  <a:cubicBezTo>
                    <a:pt x="971" y="240550"/>
                    <a:pt x="2900" y="243199"/>
                    <a:pt x="5655" y="244662"/>
                  </a:cubicBezTo>
                  <a:cubicBezTo>
                    <a:pt x="64684" y="275894"/>
                    <a:pt x="211240" y="44153"/>
                    <a:pt x="264022" y="18230"/>
                  </a:cubicBezTo>
                  <a:lnTo>
                    <a:pt x="260118" y="662"/>
                  </a:lnTo>
                  <a:cubicBezTo>
                    <a:pt x="256839" y="-2461"/>
                    <a:pt x="247469" y="6362"/>
                    <a:pt x="243565" y="8548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C3291DE1-6D45-4D54-B407-1724146BCEF6}"/>
                </a:ext>
              </a:extLst>
            </p:cNvPr>
            <p:cNvSpPr/>
            <p:nvPr/>
          </p:nvSpPr>
          <p:spPr>
            <a:xfrm rot="20176943" flipH="1">
              <a:off x="2603044" y="3078820"/>
              <a:ext cx="72127" cy="117749"/>
            </a:xfrm>
            <a:custGeom>
              <a:avLst/>
              <a:gdLst>
                <a:gd name="connsiteX0" fmla="*/ 141403 w 152958"/>
                <a:gd name="connsiteY0" fmla="*/ 22721 h 133516"/>
                <a:gd name="connsiteX1" fmla="*/ 145541 w 152958"/>
                <a:gd name="connsiteY1" fmla="*/ 0 h 133516"/>
                <a:gd name="connsiteX2" fmla="*/ 0 w 152958"/>
                <a:gd name="connsiteY2" fmla="*/ 84092 h 133516"/>
                <a:gd name="connsiteX3" fmla="*/ 5466 w 152958"/>
                <a:gd name="connsiteY3" fmla="*/ 104081 h 133516"/>
                <a:gd name="connsiteX4" fmla="*/ 5466 w 152958"/>
                <a:gd name="connsiteY4" fmla="*/ 133517 h 133516"/>
                <a:gd name="connsiteX5" fmla="*/ 152959 w 152958"/>
                <a:gd name="connsiteY5" fmla="*/ 48332 h 133516"/>
                <a:gd name="connsiteX6" fmla="*/ 141403 w 152958"/>
                <a:gd name="connsiteY6" fmla="*/ 22721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958" h="133516">
                  <a:moveTo>
                    <a:pt x="141403" y="22721"/>
                  </a:moveTo>
                  <a:lnTo>
                    <a:pt x="145541" y="0"/>
                  </a:lnTo>
                  <a:lnTo>
                    <a:pt x="0" y="84092"/>
                  </a:lnTo>
                  <a:lnTo>
                    <a:pt x="5466" y="104081"/>
                  </a:lnTo>
                  <a:lnTo>
                    <a:pt x="5466" y="133517"/>
                  </a:lnTo>
                  <a:lnTo>
                    <a:pt x="152959" y="48332"/>
                  </a:lnTo>
                  <a:cubicBezTo>
                    <a:pt x="149289" y="39899"/>
                    <a:pt x="145151" y="31466"/>
                    <a:pt x="141403" y="22721"/>
                  </a:cubicBezTo>
                  <a:close/>
                </a:path>
              </a:pathLst>
            </a:custGeom>
            <a:solidFill>
              <a:srgbClr val="C00000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782" name="Group 781">
              <a:extLst>
                <a:ext uri="{FF2B5EF4-FFF2-40B4-BE49-F238E27FC236}">
                  <a16:creationId xmlns:a16="http://schemas.microsoft.com/office/drawing/2014/main" id="{D9C3E09D-2D3B-4861-B8B1-52B096BAAF91}"/>
                </a:ext>
              </a:extLst>
            </p:cNvPr>
            <p:cNvGrpSpPr/>
            <p:nvPr/>
          </p:nvGrpSpPr>
          <p:grpSpPr>
            <a:xfrm flipH="1">
              <a:off x="2722504" y="3325185"/>
              <a:ext cx="76804" cy="56386"/>
              <a:chOff x="6565385" y="2711075"/>
              <a:chExt cx="76804" cy="56386"/>
            </a:xfrm>
          </p:grpSpPr>
          <p:sp>
            <p:nvSpPr>
              <p:cNvPr id="784" name="Freeform: Shape 783">
                <a:extLst>
                  <a:ext uri="{FF2B5EF4-FFF2-40B4-BE49-F238E27FC236}">
                    <a16:creationId xmlns:a16="http://schemas.microsoft.com/office/drawing/2014/main" id="{8AC58394-EC9D-449E-A504-E6327F9EF54C}"/>
                  </a:ext>
                </a:extLst>
              </p:cNvPr>
              <p:cNvSpPr/>
              <p:nvPr/>
            </p:nvSpPr>
            <p:spPr>
              <a:xfrm>
                <a:off x="6565385" y="2711075"/>
                <a:ext cx="76804" cy="56386"/>
              </a:xfrm>
              <a:custGeom>
                <a:avLst/>
                <a:gdLst>
                  <a:gd name="connsiteX0" fmla="*/ 0 w 76804"/>
                  <a:gd name="connsiteY0" fmla="*/ 39040 h 56386"/>
                  <a:gd name="connsiteX1" fmla="*/ 43334 w 76804"/>
                  <a:gd name="connsiteY1" fmla="*/ 0 h 56386"/>
                  <a:gd name="connsiteX2" fmla="*/ 76128 w 76804"/>
                  <a:gd name="connsiteY2" fmla="*/ 10853 h 56386"/>
                  <a:gd name="connsiteX3" fmla="*/ 73395 w 76804"/>
                  <a:gd name="connsiteY3" fmla="*/ 23658 h 56386"/>
                  <a:gd name="connsiteX4" fmla="*/ 74723 w 76804"/>
                  <a:gd name="connsiteY4" fmla="*/ 32169 h 56386"/>
                  <a:gd name="connsiteX5" fmla="*/ 68945 w 76804"/>
                  <a:gd name="connsiteY5" fmla="*/ 34746 h 56386"/>
                  <a:gd name="connsiteX6" fmla="*/ 67071 w 76804"/>
                  <a:gd name="connsiteY6" fmla="*/ 39587 h 56386"/>
                  <a:gd name="connsiteX7" fmla="*/ 60746 w 76804"/>
                  <a:gd name="connsiteY7" fmla="*/ 40836 h 56386"/>
                  <a:gd name="connsiteX8" fmla="*/ 59029 w 76804"/>
                  <a:gd name="connsiteY8" fmla="*/ 45208 h 56386"/>
                  <a:gd name="connsiteX9" fmla="*/ 46770 w 76804"/>
                  <a:gd name="connsiteY9" fmla="*/ 47238 h 56386"/>
                  <a:gd name="connsiteX10" fmla="*/ 40367 w 76804"/>
                  <a:gd name="connsiteY10" fmla="*/ 41539 h 56386"/>
                  <a:gd name="connsiteX11" fmla="*/ 2655 w 76804"/>
                  <a:gd name="connsiteY11" fmla="*/ 56061 h 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804" h="56386">
                    <a:moveTo>
                      <a:pt x="0" y="39040"/>
                    </a:moveTo>
                    <a:cubicBezTo>
                      <a:pt x="0" y="39040"/>
                      <a:pt x="31232" y="1327"/>
                      <a:pt x="43334" y="0"/>
                    </a:cubicBezTo>
                    <a:cubicBezTo>
                      <a:pt x="54537" y="2737"/>
                      <a:pt x="65504" y="6367"/>
                      <a:pt x="76128" y="10853"/>
                    </a:cubicBezTo>
                    <a:cubicBezTo>
                      <a:pt x="78627" y="13586"/>
                      <a:pt x="73395" y="23658"/>
                      <a:pt x="73395" y="23658"/>
                    </a:cubicBezTo>
                    <a:cubicBezTo>
                      <a:pt x="73395" y="23658"/>
                      <a:pt x="77924" y="28655"/>
                      <a:pt x="74723" y="32169"/>
                    </a:cubicBezTo>
                    <a:cubicBezTo>
                      <a:pt x="73246" y="33805"/>
                      <a:pt x="71148" y="34740"/>
                      <a:pt x="68945" y="34746"/>
                    </a:cubicBezTo>
                    <a:cubicBezTo>
                      <a:pt x="68945" y="34746"/>
                      <a:pt x="70428" y="37244"/>
                      <a:pt x="67071" y="39587"/>
                    </a:cubicBezTo>
                    <a:cubicBezTo>
                      <a:pt x="65273" y="40967"/>
                      <a:pt x="62934" y="41429"/>
                      <a:pt x="60746" y="40836"/>
                    </a:cubicBezTo>
                    <a:cubicBezTo>
                      <a:pt x="61137" y="42508"/>
                      <a:pt x="60453" y="44249"/>
                      <a:pt x="59029" y="45208"/>
                    </a:cubicBezTo>
                    <a:cubicBezTo>
                      <a:pt x="55271" y="47197"/>
                      <a:pt x="50968" y="47909"/>
                      <a:pt x="46770" y="47238"/>
                    </a:cubicBezTo>
                    <a:cubicBezTo>
                      <a:pt x="44231" y="45849"/>
                      <a:pt x="42041" y="43900"/>
                      <a:pt x="40367" y="41539"/>
                    </a:cubicBezTo>
                    <a:cubicBezTo>
                      <a:pt x="26391" y="51533"/>
                      <a:pt x="9135" y="57935"/>
                      <a:pt x="2655" y="56061"/>
                    </a:cubicBezTo>
                    <a:close/>
                  </a:path>
                </a:pathLst>
              </a:custGeom>
              <a:solidFill>
                <a:srgbClr val="FFC37B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85" name="Freeform: Shape 784">
                <a:extLst>
                  <a:ext uri="{FF2B5EF4-FFF2-40B4-BE49-F238E27FC236}">
                    <a16:creationId xmlns:a16="http://schemas.microsoft.com/office/drawing/2014/main" id="{B7BFA905-1BA5-4899-95AA-E6B61E58B206}"/>
                  </a:ext>
                </a:extLst>
              </p:cNvPr>
              <p:cNvSpPr/>
              <p:nvPr/>
            </p:nvSpPr>
            <p:spPr>
              <a:xfrm>
                <a:off x="6623164" y="2717478"/>
                <a:ext cx="15616" cy="17021"/>
              </a:xfrm>
              <a:custGeom>
                <a:avLst/>
                <a:gdLst>
                  <a:gd name="connsiteX0" fmla="*/ 15616 w 15616"/>
                  <a:gd name="connsiteY0" fmla="*/ 17021 h 17021"/>
                  <a:gd name="connsiteX1" fmla="*/ 0 w 15616"/>
                  <a:gd name="connsiteY1" fmla="*/ 0 h 17021"/>
                  <a:gd name="connsiteX2" fmla="*/ 4216 w 15616"/>
                  <a:gd name="connsiteY2" fmla="*/ 3826 h 17021"/>
                  <a:gd name="connsiteX3" fmla="*/ 10228 w 15616"/>
                  <a:gd name="connsiteY3" fmla="*/ 7027 h 17021"/>
                  <a:gd name="connsiteX4" fmla="*/ 12883 w 15616"/>
                  <a:gd name="connsiteY4" fmla="*/ 12727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16" h="17021">
                    <a:moveTo>
                      <a:pt x="15616" y="17021"/>
                    </a:moveTo>
                    <a:lnTo>
                      <a:pt x="0" y="0"/>
                    </a:lnTo>
                    <a:lnTo>
                      <a:pt x="4216" y="3826"/>
                    </a:lnTo>
                    <a:cubicBezTo>
                      <a:pt x="6391" y="4536"/>
                      <a:pt x="8426" y="5619"/>
                      <a:pt x="10228" y="7027"/>
                    </a:cubicBezTo>
                    <a:cubicBezTo>
                      <a:pt x="11423" y="8767"/>
                      <a:pt x="12320" y="10693"/>
                      <a:pt x="12883" y="12727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86" name="Freeform: Shape 785">
                <a:extLst>
                  <a:ext uri="{FF2B5EF4-FFF2-40B4-BE49-F238E27FC236}">
                    <a16:creationId xmlns:a16="http://schemas.microsoft.com/office/drawing/2014/main" id="{A6DE4842-E71C-4C70-94C7-F29C8D789C47}"/>
                  </a:ext>
                </a:extLst>
              </p:cNvPr>
              <p:cNvSpPr/>
              <p:nvPr/>
            </p:nvSpPr>
            <p:spPr>
              <a:xfrm>
                <a:off x="6633783" y="2729034"/>
                <a:ext cx="546" cy="546"/>
              </a:xfrm>
              <a:custGeom>
                <a:avLst/>
                <a:gdLst>
                  <a:gd name="connsiteX0" fmla="*/ 547 w 546"/>
                  <a:gd name="connsiteY0" fmla="*/ 547 h 546"/>
                  <a:gd name="connsiteX1" fmla="*/ 0 w 546"/>
                  <a:gd name="connsiteY1" fmla="*/ 0 h 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" h="546">
                    <a:moveTo>
                      <a:pt x="547" y="54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87" name="Freeform: Shape 786">
                <a:extLst>
                  <a:ext uri="{FF2B5EF4-FFF2-40B4-BE49-F238E27FC236}">
                    <a16:creationId xmlns:a16="http://schemas.microsoft.com/office/drawing/2014/main" id="{73B2FFC1-AD0D-45E4-8D65-D8BB16F68476}"/>
                  </a:ext>
                </a:extLst>
              </p:cNvPr>
              <p:cNvSpPr/>
              <p:nvPr/>
            </p:nvSpPr>
            <p:spPr>
              <a:xfrm>
                <a:off x="6597398" y="2728124"/>
                <a:ext cx="44010" cy="30122"/>
              </a:xfrm>
              <a:custGeom>
                <a:avLst/>
                <a:gdLst>
                  <a:gd name="connsiteX0" fmla="*/ 10229 w 44010"/>
                  <a:gd name="connsiteY0" fmla="*/ 19805 h 30122"/>
                  <a:gd name="connsiteX1" fmla="*/ 26860 w 44010"/>
                  <a:gd name="connsiteY1" fmla="*/ 25973 h 30122"/>
                  <a:gd name="connsiteX2" fmla="*/ 16475 w 44010"/>
                  <a:gd name="connsiteY2" fmla="*/ 7858 h 30122"/>
                  <a:gd name="connsiteX3" fmla="*/ 34668 w 44010"/>
                  <a:gd name="connsiteY3" fmla="*/ 21288 h 30122"/>
                  <a:gd name="connsiteX4" fmla="*/ 21862 w 44010"/>
                  <a:gd name="connsiteY4" fmla="*/ 50 h 30122"/>
                  <a:gd name="connsiteX5" fmla="*/ 42241 w 44010"/>
                  <a:gd name="connsiteY5" fmla="*/ 14417 h 30122"/>
                  <a:gd name="connsiteX6" fmla="*/ 36932 w 44010"/>
                  <a:gd name="connsiteY6" fmla="*/ 1690 h 30122"/>
                  <a:gd name="connsiteX7" fmla="*/ 41539 w 44010"/>
                  <a:gd name="connsiteY7" fmla="*/ 6297 h 30122"/>
                  <a:gd name="connsiteX8" fmla="*/ 41539 w 44010"/>
                  <a:gd name="connsiteY8" fmla="*/ 6297 h 30122"/>
                  <a:gd name="connsiteX9" fmla="*/ 42866 w 44010"/>
                  <a:gd name="connsiteY9" fmla="*/ 14808 h 30122"/>
                  <a:gd name="connsiteX10" fmla="*/ 37088 w 44010"/>
                  <a:gd name="connsiteY10" fmla="*/ 17384 h 30122"/>
                  <a:gd name="connsiteX11" fmla="*/ 35214 w 44010"/>
                  <a:gd name="connsiteY11" fmla="*/ 22225 h 30122"/>
                  <a:gd name="connsiteX12" fmla="*/ 28890 w 44010"/>
                  <a:gd name="connsiteY12" fmla="*/ 23474 h 30122"/>
                  <a:gd name="connsiteX13" fmla="*/ 27172 w 44010"/>
                  <a:gd name="connsiteY13" fmla="*/ 27847 h 30122"/>
                  <a:gd name="connsiteX14" fmla="*/ 14913 w 44010"/>
                  <a:gd name="connsiteY14" fmla="*/ 29877 h 30122"/>
                  <a:gd name="connsiteX15" fmla="*/ 8511 w 44010"/>
                  <a:gd name="connsiteY15" fmla="*/ 24177 h 30122"/>
                  <a:gd name="connsiteX16" fmla="*/ 0 w 44010"/>
                  <a:gd name="connsiteY16" fmla="*/ 29565 h 30122"/>
                  <a:gd name="connsiteX17" fmla="*/ 10229 w 44010"/>
                  <a:gd name="connsiteY17" fmla="*/ 19805 h 30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010" h="30122">
                    <a:moveTo>
                      <a:pt x="10229" y="19805"/>
                    </a:moveTo>
                    <a:cubicBezTo>
                      <a:pt x="11946" y="17306"/>
                      <a:pt x="23112" y="31204"/>
                      <a:pt x="26860" y="25973"/>
                    </a:cubicBezTo>
                    <a:cubicBezTo>
                      <a:pt x="30607" y="20742"/>
                      <a:pt x="14835" y="9576"/>
                      <a:pt x="16475" y="7858"/>
                    </a:cubicBezTo>
                    <a:cubicBezTo>
                      <a:pt x="18115" y="6141"/>
                      <a:pt x="28812" y="27378"/>
                      <a:pt x="34668" y="21288"/>
                    </a:cubicBezTo>
                    <a:cubicBezTo>
                      <a:pt x="40524" y="15198"/>
                      <a:pt x="21160" y="1222"/>
                      <a:pt x="21862" y="50"/>
                    </a:cubicBezTo>
                    <a:cubicBezTo>
                      <a:pt x="22565" y="-1121"/>
                      <a:pt x="37478" y="18555"/>
                      <a:pt x="42241" y="14417"/>
                    </a:cubicBezTo>
                    <a:cubicBezTo>
                      <a:pt x="46067" y="11294"/>
                      <a:pt x="39040" y="3876"/>
                      <a:pt x="36932" y="1690"/>
                    </a:cubicBezTo>
                    <a:lnTo>
                      <a:pt x="41539" y="6297"/>
                    </a:lnTo>
                    <a:lnTo>
                      <a:pt x="41539" y="6297"/>
                    </a:lnTo>
                    <a:cubicBezTo>
                      <a:pt x="41539" y="6297"/>
                      <a:pt x="46067" y="11294"/>
                      <a:pt x="42866" y="14808"/>
                    </a:cubicBezTo>
                    <a:cubicBezTo>
                      <a:pt x="41390" y="16443"/>
                      <a:pt x="39291" y="17379"/>
                      <a:pt x="37088" y="17384"/>
                    </a:cubicBezTo>
                    <a:cubicBezTo>
                      <a:pt x="37088" y="17384"/>
                      <a:pt x="38572" y="19883"/>
                      <a:pt x="35214" y="22225"/>
                    </a:cubicBezTo>
                    <a:cubicBezTo>
                      <a:pt x="33417" y="23606"/>
                      <a:pt x="31077" y="24068"/>
                      <a:pt x="28890" y="23474"/>
                    </a:cubicBezTo>
                    <a:cubicBezTo>
                      <a:pt x="29280" y="25147"/>
                      <a:pt x="28596" y="26887"/>
                      <a:pt x="27172" y="27847"/>
                    </a:cubicBezTo>
                    <a:cubicBezTo>
                      <a:pt x="23414" y="29836"/>
                      <a:pt x="19112" y="30548"/>
                      <a:pt x="14913" y="29877"/>
                    </a:cubicBezTo>
                    <a:cubicBezTo>
                      <a:pt x="12374" y="28488"/>
                      <a:pt x="10184" y="26539"/>
                      <a:pt x="8511" y="24177"/>
                    </a:cubicBezTo>
                    <a:cubicBezTo>
                      <a:pt x="6559" y="25583"/>
                      <a:pt x="2186" y="28003"/>
                      <a:pt x="0" y="29565"/>
                    </a:cubicBezTo>
                    <a:cubicBezTo>
                      <a:pt x="3672" y="26598"/>
                      <a:pt x="7093" y="23334"/>
                      <a:pt x="10229" y="19805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4B37C935-E9C1-4F90-8BCF-74C15C299F43}"/>
                </a:ext>
              </a:extLst>
            </p:cNvPr>
            <p:cNvSpPr/>
            <p:nvPr/>
          </p:nvSpPr>
          <p:spPr>
            <a:xfrm flipH="1">
              <a:off x="2437440" y="3315697"/>
              <a:ext cx="23249" cy="38291"/>
            </a:xfrm>
            <a:custGeom>
              <a:avLst/>
              <a:gdLst>
                <a:gd name="connsiteX0" fmla="*/ 19286 w 23249"/>
                <a:gd name="connsiteY0" fmla="*/ 0 h 38291"/>
                <a:gd name="connsiteX1" fmla="*/ 6324 w 23249"/>
                <a:gd name="connsiteY1" fmla="*/ 24908 h 38291"/>
                <a:gd name="connsiteX2" fmla="*/ 0 w 23249"/>
                <a:gd name="connsiteY2" fmla="*/ 37478 h 38291"/>
                <a:gd name="connsiteX3" fmla="*/ 12493 w 23249"/>
                <a:gd name="connsiteY3" fmla="*/ 28031 h 38291"/>
                <a:gd name="connsiteX4" fmla="*/ 20301 w 23249"/>
                <a:gd name="connsiteY4" fmla="*/ 23893 h 38291"/>
                <a:gd name="connsiteX5" fmla="*/ 19286 w 23249"/>
                <a:gd name="connsiteY5" fmla="*/ 0 h 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9" h="38291">
                  <a:moveTo>
                    <a:pt x="19286" y="0"/>
                  </a:moveTo>
                  <a:cubicBezTo>
                    <a:pt x="13982" y="7753"/>
                    <a:pt x="9630" y="16116"/>
                    <a:pt x="6324" y="24908"/>
                  </a:cubicBezTo>
                  <a:lnTo>
                    <a:pt x="0" y="37478"/>
                  </a:lnTo>
                  <a:cubicBezTo>
                    <a:pt x="0" y="37478"/>
                    <a:pt x="4216" y="42397"/>
                    <a:pt x="12493" y="28031"/>
                  </a:cubicBezTo>
                  <a:cubicBezTo>
                    <a:pt x="12493" y="28031"/>
                    <a:pt x="15772" y="19442"/>
                    <a:pt x="20301" y="23893"/>
                  </a:cubicBezTo>
                  <a:cubicBezTo>
                    <a:pt x="27484" y="31154"/>
                    <a:pt x="19286" y="859"/>
                    <a:pt x="19286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724" name="blue dress">
            <a:extLst>
              <a:ext uri="{FF2B5EF4-FFF2-40B4-BE49-F238E27FC236}">
                <a16:creationId xmlns:a16="http://schemas.microsoft.com/office/drawing/2014/main" id="{CBFAC209-8CAF-4049-9798-E464B2A731B1}"/>
              </a:ext>
            </a:extLst>
          </p:cNvPr>
          <p:cNvGrpSpPr/>
          <p:nvPr/>
        </p:nvGrpSpPr>
        <p:grpSpPr>
          <a:xfrm>
            <a:off x="5772483" y="2693440"/>
            <a:ext cx="734120" cy="1721577"/>
            <a:chOff x="2421923" y="2502911"/>
            <a:chExt cx="583474" cy="1368297"/>
          </a:xfrm>
        </p:grpSpPr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8317DE68-682D-4390-8ADB-41393C8F5FCF}"/>
                </a:ext>
              </a:extLst>
            </p:cNvPr>
            <p:cNvSpPr/>
            <p:nvPr/>
          </p:nvSpPr>
          <p:spPr>
            <a:xfrm flipH="1">
              <a:off x="2430160" y="3341776"/>
              <a:ext cx="14073" cy="35838"/>
            </a:xfrm>
            <a:custGeom>
              <a:avLst/>
              <a:gdLst>
                <a:gd name="connsiteX0" fmla="*/ 7593 w 14073"/>
                <a:gd name="connsiteY0" fmla="*/ 0 h 35838"/>
                <a:gd name="connsiteX1" fmla="*/ 5954 w 14073"/>
                <a:gd name="connsiteY1" fmla="*/ 17021 h 35838"/>
                <a:gd name="connsiteX2" fmla="*/ 800 w 14073"/>
                <a:gd name="connsiteY2" fmla="*/ 35839 h 35838"/>
                <a:gd name="connsiteX3" fmla="*/ 12122 w 14073"/>
                <a:gd name="connsiteY3" fmla="*/ 17021 h 35838"/>
                <a:gd name="connsiteX4" fmla="*/ 14074 w 14073"/>
                <a:gd name="connsiteY4" fmla="*/ 1405 h 3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" h="35838">
                  <a:moveTo>
                    <a:pt x="7593" y="0"/>
                  </a:moveTo>
                  <a:cubicBezTo>
                    <a:pt x="7578" y="5715"/>
                    <a:pt x="7029" y="11407"/>
                    <a:pt x="5954" y="17021"/>
                  </a:cubicBezTo>
                  <a:cubicBezTo>
                    <a:pt x="2674" y="24127"/>
                    <a:pt x="-1854" y="34277"/>
                    <a:pt x="800" y="35839"/>
                  </a:cubicBezTo>
                  <a:cubicBezTo>
                    <a:pt x="5690" y="30311"/>
                    <a:pt x="9527" y="23931"/>
                    <a:pt x="12122" y="17021"/>
                  </a:cubicBezTo>
                  <a:cubicBezTo>
                    <a:pt x="13096" y="11860"/>
                    <a:pt x="13748" y="6645"/>
                    <a:pt x="14074" y="1405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E6633560-0C5F-41A1-BAE9-907E1279B54E}"/>
                </a:ext>
              </a:extLst>
            </p:cNvPr>
            <p:cNvSpPr/>
            <p:nvPr/>
          </p:nvSpPr>
          <p:spPr>
            <a:xfrm flipH="1">
              <a:off x="2421923" y="3344743"/>
              <a:ext cx="10969" cy="40601"/>
            </a:xfrm>
            <a:custGeom>
              <a:avLst/>
              <a:gdLst>
                <a:gd name="connsiteX0" fmla="*/ 0 w 10969"/>
                <a:gd name="connsiteY0" fmla="*/ 4294 h 40601"/>
                <a:gd name="connsiteX1" fmla="*/ 2889 w 10969"/>
                <a:gd name="connsiteY1" fmla="*/ 21160 h 40601"/>
                <a:gd name="connsiteX2" fmla="*/ 2889 w 10969"/>
                <a:gd name="connsiteY2" fmla="*/ 40602 h 40601"/>
                <a:gd name="connsiteX3" fmla="*/ 9838 w 10969"/>
                <a:gd name="connsiteY3" fmla="*/ 16319 h 40601"/>
                <a:gd name="connsiteX4" fmla="*/ 10853 w 10969"/>
                <a:gd name="connsiteY4" fmla="*/ 0 h 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9" h="40601">
                  <a:moveTo>
                    <a:pt x="0" y="4294"/>
                  </a:moveTo>
                  <a:cubicBezTo>
                    <a:pt x="1500" y="9815"/>
                    <a:pt x="2467" y="15460"/>
                    <a:pt x="2889" y="21160"/>
                  </a:cubicBezTo>
                  <a:cubicBezTo>
                    <a:pt x="1640" y="28968"/>
                    <a:pt x="312" y="40367"/>
                    <a:pt x="2889" y="40602"/>
                  </a:cubicBezTo>
                  <a:cubicBezTo>
                    <a:pt x="6130" y="32801"/>
                    <a:pt x="8462" y="24650"/>
                    <a:pt x="9838" y="16319"/>
                  </a:cubicBezTo>
                  <a:cubicBezTo>
                    <a:pt x="9838" y="12961"/>
                    <a:pt x="11400" y="4763"/>
                    <a:pt x="10853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BF71C940-AA73-4626-BC6E-2EA95A74381C}"/>
                </a:ext>
              </a:extLst>
            </p:cNvPr>
            <p:cNvSpPr/>
            <p:nvPr/>
          </p:nvSpPr>
          <p:spPr>
            <a:xfrm flipH="1">
              <a:off x="2421962" y="3308904"/>
              <a:ext cx="20895" cy="48635"/>
            </a:xfrm>
            <a:custGeom>
              <a:avLst/>
              <a:gdLst>
                <a:gd name="connsiteX0" fmla="*/ 13634 w 20895"/>
                <a:gd name="connsiteY0" fmla="*/ 0 h 48635"/>
                <a:gd name="connsiteX1" fmla="*/ 20896 w 20895"/>
                <a:gd name="connsiteY1" fmla="*/ 35839 h 48635"/>
                <a:gd name="connsiteX2" fmla="*/ 5280 w 20895"/>
                <a:gd name="connsiteY2" fmla="*/ 46380 h 48635"/>
                <a:gd name="connsiteX3" fmla="*/ 2313 w 20895"/>
                <a:gd name="connsiteY3" fmla="*/ 30763 h 48635"/>
                <a:gd name="connsiteX4" fmla="*/ 1376 w 20895"/>
                <a:gd name="connsiteY4" fmla="*/ 6871 h 48635"/>
                <a:gd name="connsiteX5" fmla="*/ 4343 w 20895"/>
                <a:gd name="connsiteY5" fmla="*/ 703 h 48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95" h="48635">
                  <a:moveTo>
                    <a:pt x="13634" y="0"/>
                  </a:moveTo>
                  <a:cubicBezTo>
                    <a:pt x="17211" y="11681"/>
                    <a:pt x="19643" y="23682"/>
                    <a:pt x="20896" y="35839"/>
                  </a:cubicBezTo>
                  <a:cubicBezTo>
                    <a:pt x="19959" y="43647"/>
                    <a:pt x="6529" y="53016"/>
                    <a:pt x="5280" y="46380"/>
                  </a:cubicBezTo>
                  <a:cubicBezTo>
                    <a:pt x="4655" y="43959"/>
                    <a:pt x="3718" y="36541"/>
                    <a:pt x="2313" y="30763"/>
                  </a:cubicBezTo>
                  <a:cubicBezTo>
                    <a:pt x="-410" y="23080"/>
                    <a:pt x="-737" y="14749"/>
                    <a:pt x="1376" y="6871"/>
                  </a:cubicBezTo>
                  <a:lnTo>
                    <a:pt x="4343" y="703"/>
                  </a:ln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E3A555AF-0A9D-429D-A98F-6BB30996E400}"/>
                </a:ext>
              </a:extLst>
            </p:cNvPr>
            <p:cNvSpPr/>
            <p:nvPr/>
          </p:nvSpPr>
          <p:spPr>
            <a:xfrm flipH="1">
              <a:off x="2429934" y="3350911"/>
              <a:ext cx="8190" cy="36931"/>
            </a:xfrm>
            <a:custGeom>
              <a:avLst/>
              <a:gdLst>
                <a:gd name="connsiteX0" fmla="*/ 0 w 8190"/>
                <a:gd name="connsiteY0" fmla="*/ 0 h 36931"/>
                <a:gd name="connsiteX1" fmla="*/ 2108 w 8190"/>
                <a:gd name="connsiteY1" fmla="*/ 17021 h 36931"/>
                <a:gd name="connsiteX2" fmla="*/ 3123 w 8190"/>
                <a:gd name="connsiteY2" fmla="*/ 36932 h 36931"/>
                <a:gd name="connsiteX3" fmla="*/ 8120 w 8190"/>
                <a:gd name="connsiteY3" fmla="*/ 17021 h 36931"/>
                <a:gd name="connsiteX4" fmla="*/ 6637 w 8190"/>
                <a:gd name="connsiteY4" fmla="*/ 156 h 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0" h="36931">
                  <a:moveTo>
                    <a:pt x="0" y="0"/>
                  </a:moveTo>
                  <a:cubicBezTo>
                    <a:pt x="1244" y="5590"/>
                    <a:pt x="1950" y="11290"/>
                    <a:pt x="2108" y="17021"/>
                  </a:cubicBezTo>
                  <a:cubicBezTo>
                    <a:pt x="703" y="24829"/>
                    <a:pt x="859" y="36698"/>
                    <a:pt x="3123" y="36932"/>
                  </a:cubicBezTo>
                  <a:cubicBezTo>
                    <a:pt x="6661" y="30912"/>
                    <a:pt x="8396" y="24002"/>
                    <a:pt x="8120" y="17021"/>
                  </a:cubicBezTo>
                  <a:cubicBezTo>
                    <a:pt x="8389" y="11361"/>
                    <a:pt x="7890" y="5684"/>
                    <a:pt x="6637" y="156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69F0BABE-208A-4521-A40B-1E836196D9AE}"/>
                </a:ext>
              </a:extLst>
            </p:cNvPr>
            <p:cNvSpPr/>
            <p:nvPr/>
          </p:nvSpPr>
          <p:spPr>
            <a:xfrm flipH="1">
              <a:off x="2428263" y="2789906"/>
              <a:ext cx="176115" cy="530567"/>
            </a:xfrm>
            <a:custGeom>
              <a:avLst/>
              <a:gdLst>
                <a:gd name="connsiteX0" fmla="*/ 17824 w 176115"/>
                <a:gd name="connsiteY0" fmla="*/ 0 h 530567"/>
                <a:gd name="connsiteX1" fmla="*/ 150560 w 176115"/>
                <a:gd name="connsiteY1" fmla="*/ 289287 h 530567"/>
                <a:gd name="connsiteX2" fmla="*/ 176093 w 176115"/>
                <a:gd name="connsiteY2" fmla="*/ 524229 h 530567"/>
                <a:gd name="connsiteX3" fmla="*/ 162507 w 176115"/>
                <a:gd name="connsiteY3" fmla="*/ 530554 h 530567"/>
                <a:gd name="connsiteX4" fmla="*/ 106289 w 176115"/>
                <a:gd name="connsiteY4" fmla="*/ 303419 h 530567"/>
                <a:gd name="connsiteX5" fmla="*/ 23758 w 176115"/>
                <a:gd name="connsiteY5" fmla="*/ 140388 h 530567"/>
                <a:gd name="connsiteX6" fmla="*/ 17824 w 176115"/>
                <a:gd name="connsiteY6" fmla="*/ 0 h 53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115" h="530567">
                  <a:moveTo>
                    <a:pt x="17824" y="0"/>
                  </a:moveTo>
                  <a:cubicBezTo>
                    <a:pt x="17824" y="0"/>
                    <a:pt x="66390" y="46848"/>
                    <a:pt x="150560" y="289287"/>
                  </a:cubicBezTo>
                  <a:cubicBezTo>
                    <a:pt x="157509" y="308026"/>
                    <a:pt x="176873" y="368850"/>
                    <a:pt x="176093" y="524229"/>
                  </a:cubicBezTo>
                  <a:cubicBezTo>
                    <a:pt x="172857" y="528415"/>
                    <a:pt x="167793" y="530773"/>
                    <a:pt x="162507" y="530554"/>
                  </a:cubicBezTo>
                  <a:cubicBezTo>
                    <a:pt x="153684" y="468090"/>
                    <a:pt x="96841" y="374862"/>
                    <a:pt x="106289" y="303419"/>
                  </a:cubicBezTo>
                  <a:cubicBezTo>
                    <a:pt x="79351" y="263442"/>
                    <a:pt x="48744" y="198792"/>
                    <a:pt x="23758" y="140388"/>
                  </a:cubicBezTo>
                  <a:cubicBezTo>
                    <a:pt x="-1227" y="81984"/>
                    <a:pt x="-11456" y="20301"/>
                    <a:pt x="17824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30F1B4B2-0DCC-48AD-AE56-3757A1096E9E}"/>
                </a:ext>
              </a:extLst>
            </p:cNvPr>
            <p:cNvSpPr/>
            <p:nvPr/>
          </p:nvSpPr>
          <p:spPr>
            <a:xfrm flipH="1">
              <a:off x="2564853" y="3506681"/>
              <a:ext cx="135073" cy="318357"/>
            </a:xfrm>
            <a:custGeom>
              <a:avLst/>
              <a:gdLst>
                <a:gd name="connsiteX0" fmla="*/ 0 w 135073"/>
                <a:gd name="connsiteY0" fmla="*/ 0 h 318357"/>
                <a:gd name="connsiteX1" fmla="*/ 59732 w 135073"/>
                <a:gd name="connsiteY1" fmla="*/ 171386 h 318357"/>
                <a:gd name="connsiteX2" fmla="*/ 6654 w 135073"/>
                <a:gd name="connsiteY2" fmla="*/ 291200 h 318357"/>
                <a:gd name="connsiteX3" fmla="*/ 1556 w 135073"/>
                <a:gd name="connsiteY3" fmla="*/ 318357 h 318357"/>
                <a:gd name="connsiteX4" fmla="*/ 97145 w 135073"/>
                <a:gd name="connsiteY4" fmla="*/ 260635 h 318357"/>
                <a:gd name="connsiteX5" fmla="*/ 99855 w 135073"/>
                <a:gd name="connsiteY5" fmla="*/ 241219 h 318357"/>
                <a:gd name="connsiteX6" fmla="*/ 127427 w 135073"/>
                <a:gd name="connsiteY6" fmla="*/ 167950 h 318357"/>
                <a:gd name="connsiteX7" fmla="*/ 130941 w 135073"/>
                <a:gd name="connsiteY7" fmla="*/ 63557 h 31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73" h="318357">
                  <a:moveTo>
                    <a:pt x="0" y="0"/>
                  </a:moveTo>
                  <a:cubicBezTo>
                    <a:pt x="0" y="0"/>
                    <a:pt x="63557" y="146400"/>
                    <a:pt x="59732" y="171386"/>
                  </a:cubicBezTo>
                  <a:cubicBezTo>
                    <a:pt x="48605" y="202716"/>
                    <a:pt x="20394" y="248363"/>
                    <a:pt x="6654" y="291200"/>
                  </a:cubicBezTo>
                  <a:lnTo>
                    <a:pt x="1556" y="318357"/>
                  </a:lnTo>
                  <a:lnTo>
                    <a:pt x="97145" y="260635"/>
                  </a:lnTo>
                  <a:lnTo>
                    <a:pt x="99855" y="241219"/>
                  </a:lnTo>
                  <a:cubicBezTo>
                    <a:pt x="109566" y="189949"/>
                    <a:pt x="121103" y="188798"/>
                    <a:pt x="127427" y="167950"/>
                  </a:cubicBezTo>
                  <a:cubicBezTo>
                    <a:pt x="142262" y="118994"/>
                    <a:pt x="130941" y="63557"/>
                    <a:pt x="130941" y="63557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CBC021BA-84C9-4659-951E-226C25664A75}"/>
                </a:ext>
              </a:extLst>
            </p:cNvPr>
            <p:cNvSpPr/>
            <p:nvPr/>
          </p:nvSpPr>
          <p:spPr>
            <a:xfrm flipH="1">
              <a:off x="2645657" y="3555403"/>
              <a:ext cx="138049" cy="315805"/>
            </a:xfrm>
            <a:custGeom>
              <a:avLst/>
              <a:gdLst>
                <a:gd name="connsiteX0" fmla="*/ 0 w 138049"/>
                <a:gd name="connsiteY0" fmla="*/ 0 h 315805"/>
                <a:gd name="connsiteX1" fmla="*/ 59731 w 138049"/>
                <a:gd name="connsiteY1" fmla="*/ 171386 h 315805"/>
                <a:gd name="connsiteX2" fmla="*/ 12883 w 138049"/>
                <a:gd name="connsiteY2" fmla="*/ 262115 h 315805"/>
                <a:gd name="connsiteX3" fmla="*/ 8500 w 138049"/>
                <a:gd name="connsiteY3" fmla="*/ 304161 h 315805"/>
                <a:gd name="connsiteX4" fmla="*/ 8876 w 138049"/>
                <a:gd name="connsiteY4" fmla="*/ 315805 h 315805"/>
                <a:gd name="connsiteX5" fmla="*/ 119782 w 138049"/>
                <a:gd name="connsiteY5" fmla="*/ 248835 h 315805"/>
                <a:gd name="connsiteX6" fmla="*/ 123420 w 138049"/>
                <a:gd name="connsiteY6" fmla="*/ 234057 h 315805"/>
                <a:gd name="connsiteX7" fmla="*/ 137577 w 138049"/>
                <a:gd name="connsiteY7" fmla="*/ 161235 h 315805"/>
                <a:gd name="connsiteX8" fmla="*/ 130628 w 138049"/>
                <a:gd name="connsiteY8" fmla="*/ 63557 h 31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049" h="315805">
                  <a:moveTo>
                    <a:pt x="0" y="0"/>
                  </a:moveTo>
                  <a:cubicBezTo>
                    <a:pt x="0" y="0"/>
                    <a:pt x="63557" y="146400"/>
                    <a:pt x="59731" y="171386"/>
                  </a:cubicBezTo>
                  <a:cubicBezTo>
                    <a:pt x="46302" y="195278"/>
                    <a:pt x="25766" y="234865"/>
                    <a:pt x="12883" y="262115"/>
                  </a:cubicBezTo>
                  <a:cubicBezTo>
                    <a:pt x="9662" y="268928"/>
                    <a:pt x="8379" y="283265"/>
                    <a:pt x="8500" y="304161"/>
                  </a:cubicBezTo>
                  <a:lnTo>
                    <a:pt x="8876" y="315805"/>
                  </a:lnTo>
                  <a:lnTo>
                    <a:pt x="119782" y="248835"/>
                  </a:lnTo>
                  <a:lnTo>
                    <a:pt x="123420" y="234057"/>
                  </a:lnTo>
                  <a:cubicBezTo>
                    <a:pt x="130921" y="202930"/>
                    <a:pt x="136308" y="178022"/>
                    <a:pt x="137577" y="161235"/>
                  </a:cubicBezTo>
                  <a:cubicBezTo>
                    <a:pt x="139143" y="128512"/>
                    <a:pt x="136811" y="95726"/>
                    <a:pt x="130628" y="63557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BC43EC03-B259-4005-803A-8D752C4368CD}"/>
                </a:ext>
              </a:extLst>
            </p:cNvPr>
            <p:cNvSpPr/>
            <p:nvPr/>
          </p:nvSpPr>
          <p:spPr>
            <a:xfrm flipH="1">
              <a:off x="2532356" y="2789203"/>
              <a:ext cx="292639" cy="930548"/>
            </a:xfrm>
            <a:custGeom>
              <a:avLst/>
              <a:gdLst>
                <a:gd name="connsiteX0" fmla="*/ 292316 w 292639"/>
                <a:gd name="connsiteY0" fmla="*/ 573342 h 930548"/>
                <a:gd name="connsiteX1" fmla="*/ 270297 w 292639"/>
                <a:gd name="connsiteY1" fmla="*/ 442636 h 930548"/>
                <a:gd name="connsiteX2" fmla="*/ 229227 w 292639"/>
                <a:gd name="connsiteY2" fmla="*/ 351360 h 930548"/>
                <a:gd name="connsiteX3" fmla="*/ 292316 w 292639"/>
                <a:gd name="connsiteY3" fmla="*/ 195200 h 930548"/>
                <a:gd name="connsiteX4" fmla="*/ 238441 w 292639"/>
                <a:gd name="connsiteY4" fmla="*/ 0 h 930548"/>
                <a:gd name="connsiteX5" fmla="*/ 9744 w 292639"/>
                <a:gd name="connsiteY5" fmla="*/ 124928 h 930548"/>
                <a:gd name="connsiteX6" fmla="*/ 132798 w 292639"/>
                <a:gd name="connsiteY6" fmla="*/ 373379 h 930548"/>
                <a:gd name="connsiteX7" fmla="*/ 4903 w 292639"/>
                <a:gd name="connsiteY7" fmla="*/ 539221 h 930548"/>
                <a:gd name="connsiteX8" fmla="*/ 3966 w 292639"/>
                <a:gd name="connsiteY8" fmla="*/ 542188 h 930548"/>
                <a:gd name="connsiteX9" fmla="*/ 2170 w 292639"/>
                <a:gd name="connsiteY9" fmla="*/ 549996 h 930548"/>
                <a:gd name="connsiteX10" fmla="*/ 76034 w 292639"/>
                <a:gd name="connsiteY10" fmla="*/ 883476 h 930548"/>
                <a:gd name="connsiteX11" fmla="*/ 102581 w 292639"/>
                <a:gd name="connsiteY11" fmla="*/ 914708 h 930548"/>
                <a:gd name="connsiteX12" fmla="*/ 234146 w 292639"/>
                <a:gd name="connsiteY12" fmla="*/ 914708 h 930548"/>
                <a:gd name="connsiteX13" fmla="*/ 260928 w 292639"/>
                <a:gd name="connsiteY13" fmla="*/ 880353 h 930548"/>
                <a:gd name="connsiteX14" fmla="*/ 260928 w 292639"/>
                <a:gd name="connsiteY14" fmla="*/ 880353 h 930548"/>
                <a:gd name="connsiteX15" fmla="*/ 292316 w 292639"/>
                <a:gd name="connsiteY15" fmla="*/ 573342 h 93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2639" h="930548">
                  <a:moveTo>
                    <a:pt x="292316" y="573342"/>
                  </a:moveTo>
                  <a:cubicBezTo>
                    <a:pt x="291535" y="528922"/>
                    <a:pt x="284113" y="484863"/>
                    <a:pt x="270297" y="442636"/>
                  </a:cubicBezTo>
                  <a:cubicBezTo>
                    <a:pt x="270297" y="442636"/>
                    <a:pt x="260303" y="416401"/>
                    <a:pt x="229227" y="351360"/>
                  </a:cubicBezTo>
                  <a:cubicBezTo>
                    <a:pt x="235396" y="296001"/>
                    <a:pt x="292316" y="195200"/>
                    <a:pt x="292316" y="195200"/>
                  </a:cubicBezTo>
                  <a:cubicBezTo>
                    <a:pt x="245468" y="126490"/>
                    <a:pt x="238441" y="0"/>
                    <a:pt x="238441" y="0"/>
                  </a:cubicBezTo>
                  <a:cubicBezTo>
                    <a:pt x="109687" y="31779"/>
                    <a:pt x="9744" y="124928"/>
                    <a:pt x="9744" y="124928"/>
                  </a:cubicBezTo>
                  <a:cubicBezTo>
                    <a:pt x="10212" y="222997"/>
                    <a:pt x="119056" y="357060"/>
                    <a:pt x="132798" y="373379"/>
                  </a:cubicBezTo>
                  <a:cubicBezTo>
                    <a:pt x="123741" y="382358"/>
                    <a:pt x="24189" y="482691"/>
                    <a:pt x="4903" y="539221"/>
                  </a:cubicBezTo>
                  <a:cubicBezTo>
                    <a:pt x="4903" y="540158"/>
                    <a:pt x="4278" y="541173"/>
                    <a:pt x="3966" y="542188"/>
                  </a:cubicBezTo>
                  <a:cubicBezTo>
                    <a:pt x="3188" y="544749"/>
                    <a:pt x="2587" y="547357"/>
                    <a:pt x="2170" y="549996"/>
                  </a:cubicBezTo>
                  <a:cubicBezTo>
                    <a:pt x="296" y="556789"/>
                    <a:pt x="-15398" y="628622"/>
                    <a:pt x="76034" y="883476"/>
                  </a:cubicBezTo>
                  <a:cubicBezTo>
                    <a:pt x="80158" y="897124"/>
                    <a:pt x="89777" y="908438"/>
                    <a:pt x="102581" y="914708"/>
                  </a:cubicBezTo>
                  <a:cubicBezTo>
                    <a:pt x="139045" y="935789"/>
                    <a:pt x="197917" y="935867"/>
                    <a:pt x="234146" y="914708"/>
                  </a:cubicBezTo>
                  <a:cubicBezTo>
                    <a:pt x="250699" y="905182"/>
                    <a:pt x="259600" y="892845"/>
                    <a:pt x="260928" y="880353"/>
                  </a:cubicBezTo>
                  <a:lnTo>
                    <a:pt x="260928" y="880353"/>
                  </a:lnTo>
                  <a:cubicBezTo>
                    <a:pt x="260928" y="880353"/>
                    <a:pt x="296376" y="725364"/>
                    <a:pt x="292316" y="573342"/>
                  </a:cubicBezTo>
                  <a:close/>
                </a:path>
              </a:pathLst>
            </a:custGeom>
            <a:solidFill>
              <a:schemeClr val="accent4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05C52E97-9B10-49AF-A4AA-040FAB94D74E}"/>
                </a:ext>
              </a:extLst>
            </p:cNvPr>
            <p:cNvSpPr/>
            <p:nvPr/>
          </p:nvSpPr>
          <p:spPr>
            <a:xfrm flipH="1">
              <a:off x="2595117" y="2805288"/>
              <a:ext cx="189136" cy="157595"/>
            </a:xfrm>
            <a:custGeom>
              <a:avLst/>
              <a:gdLst>
                <a:gd name="connsiteX0" fmla="*/ 0 w 189136"/>
                <a:gd name="connsiteY0" fmla="*/ 84092 h 157595"/>
                <a:gd name="connsiteX1" fmla="*/ 156160 w 189136"/>
                <a:gd name="connsiteY1" fmla="*/ 153818 h 157595"/>
                <a:gd name="connsiteX2" fmla="*/ 161079 w 189136"/>
                <a:gd name="connsiteY2" fmla="*/ 0 h 157595"/>
                <a:gd name="connsiteX3" fmla="*/ 0 w 189136"/>
                <a:gd name="connsiteY3" fmla="*/ 84092 h 15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136" h="157595">
                  <a:moveTo>
                    <a:pt x="0" y="84092"/>
                  </a:moveTo>
                  <a:cubicBezTo>
                    <a:pt x="0" y="84092"/>
                    <a:pt x="84951" y="177242"/>
                    <a:pt x="156160" y="153818"/>
                  </a:cubicBezTo>
                  <a:cubicBezTo>
                    <a:pt x="227369" y="130394"/>
                    <a:pt x="161079" y="0"/>
                    <a:pt x="161079" y="0"/>
                  </a:cubicBezTo>
                  <a:cubicBezTo>
                    <a:pt x="101934" y="16044"/>
                    <a:pt x="46975" y="44735"/>
                    <a:pt x="0" y="84092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80F57A2E-ABAB-416B-A0AE-D2ADE47FECA3}"/>
                </a:ext>
              </a:extLst>
            </p:cNvPr>
            <p:cNvSpPr/>
            <p:nvPr/>
          </p:nvSpPr>
          <p:spPr>
            <a:xfrm flipH="1">
              <a:off x="2532352" y="2872436"/>
              <a:ext cx="255492" cy="847861"/>
            </a:xfrm>
            <a:custGeom>
              <a:avLst/>
              <a:gdLst>
                <a:gd name="connsiteX0" fmla="*/ 255166 w 255492"/>
                <a:gd name="connsiteY0" fmla="*/ 490108 h 847861"/>
                <a:gd name="connsiteX1" fmla="*/ 233147 w 255492"/>
                <a:gd name="connsiteY1" fmla="*/ 359402 h 847861"/>
                <a:gd name="connsiteX2" fmla="*/ 192077 w 255492"/>
                <a:gd name="connsiteY2" fmla="*/ 268127 h 847861"/>
                <a:gd name="connsiteX3" fmla="*/ 255166 w 255492"/>
                <a:gd name="connsiteY3" fmla="*/ 111967 h 847861"/>
                <a:gd name="connsiteX4" fmla="*/ 236270 w 255492"/>
                <a:gd name="connsiteY4" fmla="*/ 77143 h 847861"/>
                <a:gd name="connsiteX5" fmla="*/ 212846 w 255492"/>
                <a:gd name="connsiteY5" fmla="*/ 0 h 847861"/>
                <a:gd name="connsiteX6" fmla="*/ 126958 w 255492"/>
                <a:gd name="connsiteY6" fmla="*/ 177632 h 847861"/>
                <a:gd name="connsiteX7" fmla="*/ 30685 w 255492"/>
                <a:gd name="connsiteY7" fmla="*/ 126021 h 847861"/>
                <a:gd name="connsiteX8" fmla="*/ 0 w 255492"/>
                <a:gd name="connsiteY8" fmla="*/ 142652 h 847861"/>
                <a:gd name="connsiteX9" fmla="*/ 95804 w 255492"/>
                <a:gd name="connsiteY9" fmla="*/ 291004 h 847861"/>
                <a:gd name="connsiteX10" fmla="*/ 64572 w 255492"/>
                <a:gd name="connsiteY10" fmla="*/ 323720 h 847861"/>
                <a:gd name="connsiteX11" fmla="*/ 89402 w 255492"/>
                <a:gd name="connsiteY11" fmla="*/ 365571 h 847861"/>
                <a:gd name="connsiteX12" fmla="*/ 10775 w 255492"/>
                <a:gd name="connsiteY12" fmla="*/ 716931 h 847861"/>
                <a:gd name="connsiteX13" fmla="*/ 39196 w 255492"/>
                <a:gd name="connsiteY13" fmla="*/ 800789 h 847861"/>
                <a:gd name="connsiteX14" fmla="*/ 65743 w 255492"/>
                <a:gd name="connsiteY14" fmla="*/ 832021 h 847861"/>
                <a:gd name="connsiteX15" fmla="*/ 197308 w 255492"/>
                <a:gd name="connsiteY15" fmla="*/ 832021 h 847861"/>
                <a:gd name="connsiteX16" fmla="*/ 224090 w 255492"/>
                <a:gd name="connsiteY16" fmla="*/ 797666 h 847861"/>
                <a:gd name="connsiteX17" fmla="*/ 224090 w 255492"/>
                <a:gd name="connsiteY17" fmla="*/ 797666 h 847861"/>
                <a:gd name="connsiteX18" fmla="*/ 255166 w 255492"/>
                <a:gd name="connsiteY18" fmla="*/ 490108 h 847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492" h="847861">
                  <a:moveTo>
                    <a:pt x="255166" y="490108"/>
                  </a:moveTo>
                  <a:cubicBezTo>
                    <a:pt x="254385" y="445689"/>
                    <a:pt x="246963" y="401630"/>
                    <a:pt x="233147" y="359402"/>
                  </a:cubicBezTo>
                  <a:cubicBezTo>
                    <a:pt x="233147" y="359402"/>
                    <a:pt x="223153" y="333168"/>
                    <a:pt x="192077" y="268127"/>
                  </a:cubicBezTo>
                  <a:cubicBezTo>
                    <a:pt x="196840" y="225027"/>
                    <a:pt x="239706" y="141403"/>
                    <a:pt x="255166" y="111967"/>
                  </a:cubicBezTo>
                  <a:lnTo>
                    <a:pt x="236270" y="77143"/>
                  </a:lnTo>
                  <a:cubicBezTo>
                    <a:pt x="225983" y="52248"/>
                    <a:pt x="218139" y="26412"/>
                    <a:pt x="212846" y="0"/>
                  </a:cubicBezTo>
                  <a:cubicBezTo>
                    <a:pt x="203711" y="37166"/>
                    <a:pt x="202306" y="165764"/>
                    <a:pt x="126958" y="177632"/>
                  </a:cubicBezTo>
                  <a:cubicBezTo>
                    <a:pt x="77455" y="185440"/>
                    <a:pt x="30685" y="126021"/>
                    <a:pt x="30685" y="126021"/>
                  </a:cubicBezTo>
                  <a:cubicBezTo>
                    <a:pt x="30685" y="126021"/>
                    <a:pt x="13117" y="134454"/>
                    <a:pt x="0" y="142652"/>
                  </a:cubicBezTo>
                  <a:cubicBezTo>
                    <a:pt x="26108" y="195631"/>
                    <a:pt x="58256" y="245413"/>
                    <a:pt x="95804" y="291004"/>
                  </a:cubicBezTo>
                  <a:cubicBezTo>
                    <a:pt x="92837" y="293893"/>
                    <a:pt x="80188" y="306620"/>
                    <a:pt x="64572" y="323720"/>
                  </a:cubicBezTo>
                  <a:cubicBezTo>
                    <a:pt x="64572" y="323720"/>
                    <a:pt x="84483" y="347690"/>
                    <a:pt x="89402" y="365571"/>
                  </a:cubicBezTo>
                  <a:cubicBezTo>
                    <a:pt x="94321" y="383451"/>
                    <a:pt x="71287" y="654467"/>
                    <a:pt x="10775" y="716931"/>
                  </a:cubicBezTo>
                  <a:cubicBezTo>
                    <a:pt x="18583" y="742385"/>
                    <a:pt x="28265" y="770260"/>
                    <a:pt x="39196" y="800789"/>
                  </a:cubicBezTo>
                  <a:cubicBezTo>
                    <a:pt x="43355" y="814422"/>
                    <a:pt x="52963" y="825720"/>
                    <a:pt x="65743" y="832021"/>
                  </a:cubicBezTo>
                  <a:cubicBezTo>
                    <a:pt x="102207" y="853103"/>
                    <a:pt x="161079" y="853181"/>
                    <a:pt x="197308" y="832021"/>
                  </a:cubicBezTo>
                  <a:cubicBezTo>
                    <a:pt x="213861" y="822495"/>
                    <a:pt x="222763" y="810159"/>
                    <a:pt x="224090" y="797666"/>
                  </a:cubicBezTo>
                  <a:lnTo>
                    <a:pt x="224090" y="797666"/>
                  </a:lnTo>
                  <a:cubicBezTo>
                    <a:pt x="224090" y="797666"/>
                    <a:pt x="259226" y="642130"/>
                    <a:pt x="255166" y="490108"/>
                  </a:cubicBezTo>
                  <a:close/>
                </a:path>
              </a:pathLst>
            </a:custGeom>
            <a:solidFill>
              <a:schemeClr val="accent4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6B2A38DF-0F8C-4CF1-871D-F48FA6774E5F}"/>
                </a:ext>
              </a:extLst>
            </p:cNvPr>
            <p:cNvSpPr/>
            <p:nvPr/>
          </p:nvSpPr>
          <p:spPr>
            <a:xfrm flipH="1">
              <a:off x="2612417" y="2808567"/>
              <a:ext cx="137324" cy="89047"/>
            </a:xfrm>
            <a:custGeom>
              <a:avLst/>
              <a:gdLst>
                <a:gd name="connsiteX0" fmla="*/ 0 w 137324"/>
                <a:gd name="connsiteY0" fmla="*/ 54656 h 89047"/>
                <a:gd name="connsiteX1" fmla="*/ 117511 w 137324"/>
                <a:gd name="connsiteY1" fmla="*/ 0 h 89047"/>
                <a:gd name="connsiteX2" fmla="*/ 126412 w 137324"/>
                <a:gd name="connsiteY2" fmla="*/ 85341 h 89047"/>
                <a:gd name="connsiteX3" fmla="*/ 0 w 137324"/>
                <a:gd name="connsiteY3" fmla="*/ 54656 h 8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24" h="89047">
                  <a:moveTo>
                    <a:pt x="0" y="54656"/>
                  </a:moveTo>
                  <a:cubicBezTo>
                    <a:pt x="0" y="54656"/>
                    <a:pt x="40055" y="19520"/>
                    <a:pt x="117511" y="0"/>
                  </a:cubicBezTo>
                  <a:cubicBezTo>
                    <a:pt x="117511" y="0"/>
                    <a:pt x="155379" y="67461"/>
                    <a:pt x="126412" y="85341"/>
                  </a:cubicBezTo>
                  <a:cubicBezTo>
                    <a:pt x="110561" y="94867"/>
                    <a:pt x="63948" y="86513"/>
                    <a:pt x="0" y="54656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AF329DD0-0E98-416B-8443-D7414DA8B18D}"/>
                </a:ext>
              </a:extLst>
            </p:cNvPr>
            <p:cNvSpPr/>
            <p:nvPr/>
          </p:nvSpPr>
          <p:spPr>
            <a:xfrm flipH="1">
              <a:off x="2644957" y="2748523"/>
              <a:ext cx="99787" cy="104522"/>
            </a:xfrm>
            <a:custGeom>
              <a:avLst/>
              <a:gdLst>
                <a:gd name="connsiteX0" fmla="*/ 0 w 99787"/>
                <a:gd name="connsiteY0" fmla="*/ 8589 h 104522"/>
                <a:gd name="connsiteX1" fmla="*/ 32403 w 99787"/>
                <a:gd name="connsiteY1" fmla="*/ 103925 h 104522"/>
                <a:gd name="connsiteX2" fmla="*/ 99786 w 99787"/>
                <a:gd name="connsiteY2" fmla="*/ 97756 h 104522"/>
                <a:gd name="connsiteX3" fmla="*/ 99786 w 99787"/>
                <a:gd name="connsiteY3" fmla="*/ 0 h 10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7" h="104522">
                  <a:moveTo>
                    <a:pt x="0" y="8589"/>
                  </a:moveTo>
                  <a:cubicBezTo>
                    <a:pt x="13188" y="39505"/>
                    <a:pt x="24021" y="71375"/>
                    <a:pt x="32403" y="103925"/>
                  </a:cubicBezTo>
                  <a:cubicBezTo>
                    <a:pt x="32403" y="103925"/>
                    <a:pt x="100099" y="107360"/>
                    <a:pt x="99786" y="97756"/>
                  </a:cubicBezTo>
                  <a:lnTo>
                    <a:pt x="99786" y="0"/>
                  </a:ln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F626C5F4-9D66-48F2-8B61-EF6919F4E66B}"/>
                </a:ext>
              </a:extLst>
            </p:cNvPr>
            <p:cNvSpPr/>
            <p:nvPr/>
          </p:nvSpPr>
          <p:spPr>
            <a:xfrm flipH="1">
              <a:off x="2562029" y="2623986"/>
              <a:ext cx="18044" cy="78080"/>
            </a:xfrm>
            <a:custGeom>
              <a:avLst/>
              <a:gdLst>
                <a:gd name="connsiteX0" fmla="*/ 17646 w 18044"/>
                <a:gd name="connsiteY0" fmla="*/ 0 h 78080"/>
                <a:gd name="connsiteX1" fmla="*/ 4919 w 18044"/>
                <a:gd name="connsiteY1" fmla="*/ 78080 h 78080"/>
                <a:gd name="connsiteX2" fmla="*/ 0 w 18044"/>
                <a:gd name="connsiteY2" fmla="*/ 8667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" h="78080">
                  <a:moveTo>
                    <a:pt x="17646" y="0"/>
                  </a:moveTo>
                  <a:cubicBezTo>
                    <a:pt x="17646" y="0"/>
                    <a:pt x="21550" y="55671"/>
                    <a:pt x="4919" y="78080"/>
                  </a:cubicBezTo>
                  <a:lnTo>
                    <a:pt x="0" y="8667"/>
                  </a:ln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9BC3E878-9866-4627-A5AB-96FA5FE12AFD}"/>
                </a:ext>
              </a:extLst>
            </p:cNvPr>
            <p:cNvSpPr/>
            <p:nvPr/>
          </p:nvSpPr>
          <p:spPr>
            <a:xfrm flipH="1">
              <a:off x="2647582" y="2577222"/>
              <a:ext cx="186720" cy="419127"/>
            </a:xfrm>
            <a:custGeom>
              <a:avLst/>
              <a:gdLst>
                <a:gd name="connsiteX0" fmla="*/ 23424 w 186720"/>
                <a:gd name="connsiteY0" fmla="*/ 8192 h 419127"/>
                <a:gd name="connsiteX1" fmla="*/ 0 w 186720"/>
                <a:gd name="connsiteY1" fmla="*/ 82525 h 419127"/>
                <a:gd name="connsiteX2" fmla="*/ 14991 w 186720"/>
                <a:gd name="connsiteY2" fmla="*/ 139289 h 419127"/>
                <a:gd name="connsiteX3" fmla="*/ 312 w 186720"/>
                <a:gd name="connsiteY3" fmla="*/ 186839 h 419127"/>
                <a:gd name="connsiteX4" fmla="*/ 26547 w 186720"/>
                <a:gd name="connsiteY4" fmla="*/ 235874 h 419127"/>
                <a:gd name="connsiteX5" fmla="*/ 15226 w 186720"/>
                <a:gd name="connsiteY5" fmla="*/ 274289 h 419127"/>
                <a:gd name="connsiteX6" fmla="*/ 71131 w 186720"/>
                <a:gd name="connsiteY6" fmla="*/ 332537 h 419127"/>
                <a:gd name="connsiteX7" fmla="*/ 94555 w 186720"/>
                <a:gd name="connsiteY7" fmla="*/ 377433 h 419127"/>
                <a:gd name="connsiteX8" fmla="*/ 182707 w 186720"/>
                <a:gd name="connsiteY8" fmla="*/ 419128 h 419127"/>
                <a:gd name="connsiteX9" fmla="*/ 165608 w 186720"/>
                <a:gd name="connsiteY9" fmla="*/ 355805 h 419127"/>
                <a:gd name="connsiteX10" fmla="*/ 141559 w 186720"/>
                <a:gd name="connsiteY10" fmla="*/ 293341 h 419127"/>
                <a:gd name="connsiteX11" fmla="*/ 120243 w 186720"/>
                <a:gd name="connsiteY11" fmla="*/ 268745 h 419127"/>
                <a:gd name="connsiteX12" fmla="*/ 122195 w 186720"/>
                <a:gd name="connsiteY12" fmla="*/ 234781 h 419127"/>
                <a:gd name="connsiteX13" fmla="*/ 102207 w 186720"/>
                <a:gd name="connsiteY13" fmla="*/ 183560 h 419127"/>
                <a:gd name="connsiteX14" fmla="*/ 102753 w 186720"/>
                <a:gd name="connsiteY14" fmla="*/ 137259 h 419127"/>
                <a:gd name="connsiteX15" fmla="*/ 23424 w 186720"/>
                <a:gd name="connsiteY15" fmla="*/ 8192 h 41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720" h="419127">
                  <a:moveTo>
                    <a:pt x="23424" y="8192"/>
                  </a:moveTo>
                  <a:cubicBezTo>
                    <a:pt x="18193" y="47232"/>
                    <a:pt x="0" y="54181"/>
                    <a:pt x="0" y="82525"/>
                  </a:cubicBezTo>
                  <a:cubicBezTo>
                    <a:pt x="0" y="110868"/>
                    <a:pt x="14991" y="111883"/>
                    <a:pt x="14991" y="139289"/>
                  </a:cubicBezTo>
                  <a:cubicBezTo>
                    <a:pt x="14991" y="162713"/>
                    <a:pt x="-1796" y="166773"/>
                    <a:pt x="312" y="186839"/>
                  </a:cubicBezTo>
                  <a:cubicBezTo>
                    <a:pt x="2420" y="206906"/>
                    <a:pt x="26547" y="210263"/>
                    <a:pt x="26547" y="235874"/>
                  </a:cubicBezTo>
                  <a:cubicBezTo>
                    <a:pt x="26547" y="251490"/>
                    <a:pt x="15226" y="261406"/>
                    <a:pt x="15226" y="274289"/>
                  </a:cubicBezTo>
                  <a:cubicBezTo>
                    <a:pt x="15226" y="312626"/>
                    <a:pt x="39899" y="301773"/>
                    <a:pt x="71131" y="332537"/>
                  </a:cubicBezTo>
                  <a:cubicBezTo>
                    <a:pt x="86747" y="349402"/>
                    <a:pt x="73083" y="365409"/>
                    <a:pt x="94555" y="377433"/>
                  </a:cubicBezTo>
                  <a:cubicBezTo>
                    <a:pt x="116027" y="389457"/>
                    <a:pt x="160064" y="373841"/>
                    <a:pt x="182707" y="419128"/>
                  </a:cubicBezTo>
                  <a:cubicBezTo>
                    <a:pt x="182707" y="398046"/>
                    <a:pt x="199104" y="369937"/>
                    <a:pt x="165608" y="355805"/>
                  </a:cubicBezTo>
                  <a:cubicBezTo>
                    <a:pt x="136562" y="335270"/>
                    <a:pt x="148430" y="316765"/>
                    <a:pt x="141559" y="293341"/>
                  </a:cubicBezTo>
                  <a:cubicBezTo>
                    <a:pt x="135469" y="272181"/>
                    <a:pt x="124772" y="281238"/>
                    <a:pt x="120243" y="268745"/>
                  </a:cubicBezTo>
                  <a:cubicBezTo>
                    <a:pt x="115715" y="256253"/>
                    <a:pt x="125162" y="252192"/>
                    <a:pt x="122195" y="234781"/>
                  </a:cubicBezTo>
                  <a:cubicBezTo>
                    <a:pt x="116808" y="203549"/>
                    <a:pt x="101816" y="203080"/>
                    <a:pt x="102207" y="183560"/>
                  </a:cubicBezTo>
                  <a:cubicBezTo>
                    <a:pt x="102207" y="169115"/>
                    <a:pt x="102753" y="153265"/>
                    <a:pt x="102753" y="137259"/>
                  </a:cubicBezTo>
                  <a:cubicBezTo>
                    <a:pt x="102753" y="76903"/>
                    <a:pt x="28655" y="-30457"/>
                    <a:pt x="23424" y="8192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6CC61E3C-7E53-4545-80AE-7A278627FDC7}"/>
                </a:ext>
              </a:extLst>
            </p:cNvPr>
            <p:cNvSpPr/>
            <p:nvPr/>
          </p:nvSpPr>
          <p:spPr>
            <a:xfrm flipH="1">
              <a:off x="2732018" y="2704112"/>
              <a:ext cx="43802" cy="56307"/>
            </a:xfrm>
            <a:custGeom>
              <a:avLst/>
              <a:gdLst>
                <a:gd name="connsiteX0" fmla="*/ 43803 w 43802"/>
                <a:gd name="connsiteY0" fmla="*/ 40820 h 56307"/>
                <a:gd name="connsiteX1" fmla="*/ 21862 w 43802"/>
                <a:gd name="connsiteY1" fmla="*/ 53313 h 56307"/>
                <a:gd name="connsiteX2" fmla="*/ 0 w 43802"/>
                <a:gd name="connsiteY2" fmla="*/ 15522 h 56307"/>
                <a:gd name="connsiteX3" fmla="*/ 21862 w 43802"/>
                <a:gd name="connsiteY3" fmla="*/ 3029 h 56307"/>
                <a:gd name="connsiteX4" fmla="*/ 43803 w 43802"/>
                <a:gd name="connsiteY4" fmla="*/ 40820 h 56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307">
                  <a:moveTo>
                    <a:pt x="43803" y="40820"/>
                  </a:moveTo>
                  <a:cubicBezTo>
                    <a:pt x="43803" y="54718"/>
                    <a:pt x="33965" y="60262"/>
                    <a:pt x="21862" y="53313"/>
                  </a:cubicBezTo>
                  <a:cubicBezTo>
                    <a:pt x="8967" y="44921"/>
                    <a:pt x="846" y="30884"/>
                    <a:pt x="0" y="15522"/>
                  </a:cubicBezTo>
                  <a:cubicBezTo>
                    <a:pt x="0" y="1624"/>
                    <a:pt x="9760" y="-3998"/>
                    <a:pt x="21862" y="3029"/>
                  </a:cubicBezTo>
                  <a:cubicBezTo>
                    <a:pt x="34788" y="11403"/>
                    <a:pt x="42939" y="25444"/>
                    <a:pt x="43803" y="40820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B7291239-E963-43E0-8912-54017700AD00}"/>
                </a:ext>
              </a:extLst>
            </p:cNvPr>
            <p:cNvSpPr/>
            <p:nvPr/>
          </p:nvSpPr>
          <p:spPr>
            <a:xfrm flipH="1">
              <a:off x="2569579" y="2610067"/>
              <a:ext cx="173682" cy="222958"/>
            </a:xfrm>
            <a:custGeom>
              <a:avLst/>
              <a:gdLst>
                <a:gd name="connsiteX0" fmla="*/ 171074 w 173682"/>
                <a:gd name="connsiteY0" fmla="*/ 2129 h 222958"/>
                <a:gd name="connsiteX1" fmla="*/ 144526 w 173682"/>
                <a:gd name="connsiteY1" fmla="*/ 489 h 222958"/>
                <a:gd name="connsiteX2" fmla="*/ 144526 w 173682"/>
                <a:gd name="connsiteY2" fmla="*/ 489 h 222958"/>
                <a:gd name="connsiteX3" fmla="*/ 7183 w 173682"/>
                <a:gd name="connsiteY3" fmla="*/ 13607 h 222958"/>
                <a:gd name="connsiteX4" fmla="*/ 0 w 173682"/>
                <a:gd name="connsiteY4" fmla="*/ 119795 h 222958"/>
                <a:gd name="connsiteX5" fmla="*/ 2655 w 173682"/>
                <a:gd name="connsiteY5" fmla="*/ 146499 h 222958"/>
                <a:gd name="connsiteX6" fmla="*/ 117276 w 173682"/>
                <a:gd name="connsiteY6" fmla="*/ 221065 h 222958"/>
                <a:gd name="connsiteX7" fmla="*/ 173026 w 173682"/>
                <a:gd name="connsiteY7" fmla="*/ 86221 h 222958"/>
                <a:gd name="connsiteX8" fmla="*/ 171074 w 173682"/>
                <a:gd name="connsiteY8" fmla="*/ 2129 h 22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82" h="222958">
                  <a:moveTo>
                    <a:pt x="171074" y="2129"/>
                  </a:moveTo>
                  <a:cubicBezTo>
                    <a:pt x="162388" y="35"/>
                    <a:pt x="153403" y="-520"/>
                    <a:pt x="144526" y="489"/>
                  </a:cubicBezTo>
                  <a:lnTo>
                    <a:pt x="144526" y="489"/>
                  </a:lnTo>
                  <a:lnTo>
                    <a:pt x="7183" y="13607"/>
                  </a:lnTo>
                  <a:lnTo>
                    <a:pt x="0" y="119795"/>
                  </a:lnTo>
                  <a:lnTo>
                    <a:pt x="2655" y="146499"/>
                  </a:lnTo>
                  <a:cubicBezTo>
                    <a:pt x="25064" y="191082"/>
                    <a:pt x="89948" y="232387"/>
                    <a:pt x="117276" y="221065"/>
                  </a:cubicBezTo>
                  <a:cubicBezTo>
                    <a:pt x="159596" y="202951"/>
                    <a:pt x="167794" y="157274"/>
                    <a:pt x="173026" y="86221"/>
                  </a:cubicBezTo>
                  <a:cubicBezTo>
                    <a:pt x="174337" y="58179"/>
                    <a:pt x="173685" y="30080"/>
                    <a:pt x="171074" y="2129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B2718F5A-E02D-450D-9608-4DF7778F66A2}"/>
                </a:ext>
              </a:extLst>
            </p:cNvPr>
            <p:cNvSpPr/>
            <p:nvPr/>
          </p:nvSpPr>
          <p:spPr>
            <a:xfrm flipH="1">
              <a:off x="2533834" y="2502911"/>
              <a:ext cx="278499" cy="224440"/>
            </a:xfrm>
            <a:custGeom>
              <a:avLst/>
              <a:gdLst>
                <a:gd name="connsiteX0" fmla="*/ 69932 w 278499"/>
                <a:gd name="connsiteY0" fmla="*/ 215083 h 224440"/>
                <a:gd name="connsiteX1" fmla="*/ 86719 w 278499"/>
                <a:gd name="connsiteY1" fmla="*/ 213209 h 224440"/>
                <a:gd name="connsiteX2" fmla="*/ 107254 w 278499"/>
                <a:gd name="connsiteY2" fmla="*/ 171202 h 224440"/>
                <a:gd name="connsiteX3" fmla="*/ 274423 w 278499"/>
                <a:gd name="connsiteY3" fmla="*/ 116546 h 224440"/>
                <a:gd name="connsiteX4" fmla="*/ 33468 w 278499"/>
                <a:gd name="connsiteY4" fmla="*/ 25973 h 224440"/>
                <a:gd name="connsiteX5" fmla="*/ 42526 w 278499"/>
                <a:gd name="connsiteY5" fmla="*/ 202434 h 224440"/>
                <a:gd name="connsiteX6" fmla="*/ 69932 w 278499"/>
                <a:gd name="connsiteY6" fmla="*/ 215083 h 22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499" h="224440">
                  <a:moveTo>
                    <a:pt x="69932" y="215083"/>
                  </a:moveTo>
                  <a:cubicBezTo>
                    <a:pt x="69932" y="215083"/>
                    <a:pt x="85548" y="237336"/>
                    <a:pt x="86719" y="213209"/>
                  </a:cubicBezTo>
                  <a:cubicBezTo>
                    <a:pt x="87734" y="194080"/>
                    <a:pt x="89686" y="178073"/>
                    <a:pt x="107254" y="171202"/>
                  </a:cubicBezTo>
                  <a:cubicBezTo>
                    <a:pt x="111158" y="169719"/>
                    <a:pt x="237179" y="150042"/>
                    <a:pt x="274423" y="116546"/>
                  </a:cubicBezTo>
                  <a:cubicBezTo>
                    <a:pt x="306749" y="87656"/>
                    <a:pt x="139423" y="-58509"/>
                    <a:pt x="33468" y="25973"/>
                  </a:cubicBezTo>
                  <a:cubicBezTo>
                    <a:pt x="-46798" y="90077"/>
                    <a:pt x="42526" y="202434"/>
                    <a:pt x="42526" y="202434"/>
                  </a:cubicBezTo>
                  <a:cubicBezTo>
                    <a:pt x="42526" y="202434"/>
                    <a:pt x="55409" y="195641"/>
                    <a:pt x="69932" y="215083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FA847FC2-8E82-4EE5-ACF9-67FF538FCE94}"/>
                </a:ext>
              </a:extLst>
            </p:cNvPr>
            <p:cNvSpPr/>
            <p:nvPr/>
          </p:nvSpPr>
          <p:spPr>
            <a:xfrm flipH="1">
              <a:off x="2743886" y="2718726"/>
              <a:ext cx="20925" cy="26905"/>
            </a:xfrm>
            <a:custGeom>
              <a:avLst/>
              <a:gdLst>
                <a:gd name="connsiteX0" fmla="*/ 20925 w 20925"/>
                <a:gd name="connsiteY0" fmla="*/ 19490 h 26905"/>
                <a:gd name="connsiteX1" fmla="*/ 10463 w 20925"/>
                <a:gd name="connsiteY1" fmla="*/ 25503 h 26905"/>
                <a:gd name="connsiteX2" fmla="*/ 0 w 20925"/>
                <a:gd name="connsiteY2" fmla="*/ 7388 h 26905"/>
                <a:gd name="connsiteX3" fmla="*/ 10463 w 20925"/>
                <a:gd name="connsiteY3" fmla="*/ 1454 h 26905"/>
                <a:gd name="connsiteX4" fmla="*/ 20925 w 20925"/>
                <a:gd name="connsiteY4" fmla="*/ 19490 h 2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5" h="26905">
                  <a:moveTo>
                    <a:pt x="20925" y="19490"/>
                  </a:moveTo>
                  <a:cubicBezTo>
                    <a:pt x="20925" y="26127"/>
                    <a:pt x="16241" y="28782"/>
                    <a:pt x="10463" y="25503"/>
                  </a:cubicBezTo>
                  <a:cubicBezTo>
                    <a:pt x="4323" y="21443"/>
                    <a:pt x="448" y="14734"/>
                    <a:pt x="0" y="7388"/>
                  </a:cubicBezTo>
                  <a:cubicBezTo>
                    <a:pt x="0" y="751"/>
                    <a:pt x="4685" y="-1904"/>
                    <a:pt x="10463" y="1454"/>
                  </a:cubicBezTo>
                  <a:cubicBezTo>
                    <a:pt x="16582" y="5497"/>
                    <a:pt x="20454" y="12172"/>
                    <a:pt x="20925" y="19490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364C4AC-AB29-458E-92FC-847598C25402}"/>
                </a:ext>
              </a:extLst>
            </p:cNvPr>
            <p:cNvSpPr/>
            <p:nvPr/>
          </p:nvSpPr>
          <p:spPr>
            <a:xfrm flipH="1">
              <a:off x="2540989" y="2506748"/>
              <a:ext cx="250509" cy="144223"/>
            </a:xfrm>
            <a:custGeom>
              <a:avLst/>
              <a:gdLst>
                <a:gd name="connsiteX0" fmla="*/ 248122 w 250509"/>
                <a:gd name="connsiteY0" fmla="*/ 88114 h 144223"/>
                <a:gd name="connsiteX1" fmla="*/ 120071 w 250509"/>
                <a:gd name="connsiteY1" fmla="*/ 3241 h 144223"/>
                <a:gd name="connsiteX2" fmla="*/ 1779 w 250509"/>
                <a:gd name="connsiteY2" fmla="*/ 44155 h 144223"/>
                <a:gd name="connsiteX3" fmla="*/ 110623 w 250509"/>
                <a:gd name="connsiteY3" fmla="*/ 143707 h 144223"/>
                <a:gd name="connsiteX4" fmla="*/ 140450 w 250509"/>
                <a:gd name="connsiteY4" fmla="*/ 132541 h 144223"/>
                <a:gd name="connsiteX5" fmla="*/ 179490 w 250509"/>
                <a:gd name="connsiteY5" fmla="*/ 134493 h 144223"/>
                <a:gd name="connsiteX6" fmla="*/ 220482 w 250509"/>
                <a:gd name="connsiteY6" fmla="*/ 118018 h 144223"/>
                <a:gd name="connsiteX7" fmla="*/ 248122 w 250509"/>
                <a:gd name="connsiteY7" fmla="*/ 88114 h 14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509" h="144223">
                  <a:moveTo>
                    <a:pt x="248122" y="88114"/>
                  </a:moveTo>
                  <a:cubicBezTo>
                    <a:pt x="217743" y="44611"/>
                    <a:pt x="171971" y="14274"/>
                    <a:pt x="120071" y="3241"/>
                  </a:cubicBezTo>
                  <a:cubicBezTo>
                    <a:pt x="35276" y="-13156"/>
                    <a:pt x="5527" y="37674"/>
                    <a:pt x="1779" y="44155"/>
                  </a:cubicBezTo>
                  <a:cubicBezTo>
                    <a:pt x="-10792" y="65314"/>
                    <a:pt x="45114" y="151671"/>
                    <a:pt x="110623" y="143707"/>
                  </a:cubicBezTo>
                  <a:cubicBezTo>
                    <a:pt x="116245" y="143004"/>
                    <a:pt x="132798" y="131448"/>
                    <a:pt x="140450" y="132541"/>
                  </a:cubicBezTo>
                  <a:cubicBezTo>
                    <a:pt x="153332" y="134805"/>
                    <a:pt x="166446" y="135461"/>
                    <a:pt x="179490" y="134493"/>
                  </a:cubicBezTo>
                  <a:cubicBezTo>
                    <a:pt x="195106" y="132463"/>
                    <a:pt x="207520" y="121922"/>
                    <a:pt x="220482" y="118018"/>
                  </a:cubicBezTo>
                  <a:cubicBezTo>
                    <a:pt x="242500" y="111304"/>
                    <a:pt x="256320" y="101543"/>
                    <a:pt x="248122" y="88114"/>
                  </a:cubicBezTo>
                  <a:close/>
                </a:path>
              </a:pathLst>
            </a:custGeom>
            <a:solidFill>
              <a:srgbClr val="6B331F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DCA41472-96AC-4D2C-9E8F-B9C5FCC55CC8}"/>
                </a:ext>
              </a:extLst>
            </p:cNvPr>
            <p:cNvSpPr/>
            <p:nvPr/>
          </p:nvSpPr>
          <p:spPr>
            <a:xfrm flipH="1">
              <a:off x="2742119" y="2914990"/>
              <a:ext cx="73132" cy="152499"/>
            </a:xfrm>
            <a:custGeom>
              <a:avLst/>
              <a:gdLst>
                <a:gd name="connsiteX0" fmla="*/ 0 w 73132"/>
                <a:gd name="connsiteY0" fmla="*/ 0 h 152499"/>
                <a:gd name="connsiteX1" fmla="*/ 58482 w 73132"/>
                <a:gd name="connsiteY1" fmla="*/ 63479 h 152499"/>
                <a:gd name="connsiteX2" fmla="*/ 65822 w 73132"/>
                <a:gd name="connsiteY2" fmla="*/ 152412 h 152499"/>
                <a:gd name="connsiteX3" fmla="*/ 0 w 73132"/>
                <a:gd name="connsiteY3" fmla="*/ 0 h 1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32" h="152499">
                  <a:moveTo>
                    <a:pt x="0" y="0"/>
                  </a:moveTo>
                  <a:cubicBezTo>
                    <a:pt x="0" y="0"/>
                    <a:pt x="33809" y="10307"/>
                    <a:pt x="58482" y="63479"/>
                  </a:cubicBezTo>
                  <a:cubicBezTo>
                    <a:pt x="80266" y="110327"/>
                    <a:pt x="73317" y="149836"/>
                    <a:pt x="65822" y="152412"/>
                  </a:cubicBezTo>
                  <a:cubicBezTo>
                    <a:pt x="58326" y="154989"/>
                    <a:pt x="11322" y="100177"/>
                    <a:pt x="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BFB7F799-7893-4DF8-BB1F-839F40FD1189}"/>
                </a:ext>
              </a:extLst>
            </p:cNvPr>
            <p:cNvSpPr/>
            <p:nvPr/>
          </p:nvSpPr>
          <p:spPr>
            <a:xfrm flipH="1">
              <a:off x="2776758" y="2914990"/>
              <a:ext cx="197323" cy="203052"/>
            </a:xfrm>
            <a:custGeom>
              <a:avLst/>
              <a:gdLst>
                <a:gd name="connsiteX0" fmla="*/ 158830 w 197323"/>
                <a:gd name="connsiteY0" fmla="*/ 0 h 203052"/>
                <a:gd name="connsiteX1" fmla="*/ 113466 w 197323"/>
                <a:gd name="connsiteY1" fmla="*/ 48019 h 203052"/>
                <a:gd name="connsiteX2" fmla="*/ 2123 w 197323"/>
                <a:gd name="connsiteY2" fmla="*/ 196918 h 203052"/>
                <a:gd name="connsiteX3" fmla="*/ 150476 w 197323"/>
                <a:gd name="connsiteY3" fmla="*/ 126646 h 203052"/>
                <a:gd name="connsiteX4" fmla="*/ 197324 w 197323"/>
                <a:gd name="connsiteY4" fmla="*/ 97912 h 203052"/>
                <a:gd name="connsiteX5" fmla="*/ 158830 w 197323"/>
                <a:gd name="connsiteY5" fmla="*/ 0 h 2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323" h="203052">
                  <a:moveTo>
                    <a:pt x="158830" y="0"/>
                  </a:moveTo>
                  <a:cubicBezTo>
                    <a:pt x="146025" y="10853"/>
                    <a:pt x="137046" y="25376"/>
                    <a:pt x="113466" y="48019"/>
                  </a:cubicBezTo>
                  <a:cubicBezTo>
                    <a:pt x="61933" y="97444"/>
                    <a:pt x="-13649" y="170761"/>
                    <a:pt x="2123" y="196918"/>
                  </a:cubicBezTo>
                  <a:cubicBezTo>
                    <a:pt x="23361" y="217219"/>
                    <a:pt x="71459" y="185440"/>
                    <a:pt x="150476" y="126646"/>
                  </a:cubicBezTo>
                  <a:cubicBezTo>
                    <a:pt x="165034" y="115441"/>
                    <a:pt x="180737" y="105809"/>
                    <a:pt x="197324" y="97912"/>
                  </a:cubicBezTo>
                  <a:cubicBezTo>
                    <a:pt x="197324" y="97912"/>
                    <a:pt x="190218" y="17334"/>
                    <a:pt x="15883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13BD7476-767A-4C17-BA1E-3B2BAC57B482}"/>
                </a:ext>
              </a:extLst>
            </p:cNvPr>
            <p:cNvSpPr/>
            <p:nvPr/>
          </p:nvSpPr>
          <p:spPr>
            <a:xfrm flipH="1">
              <a:off x="2564301" y="2631091"/>
              <a:ext cx="163187" cy="63791"/>
            </a:xfrm>
            <a:custGeom>
              <a:avLst/>
              <a:gdLst>
                <a:gd name="connsiteX0" fmla="*/ 1484 w 163187"/>
                <a:gd name="connsiteY0" fmla="*/ 63791 h 63791"/>
                <a:gd name="connsiteX1" fmla="*/ 20379 w 163187"/>
                <a:gd name="connsiteY1" fmla="*/ 50830 h 63791"/>
                <a:gd name="connsiteX2" fmla="*/ 40289 w 163187"/>
                <a:gd name="connsiteY2" fmla="*/ 54968 h 63791"/>
                <a:gd name="connsiteX3" fmla="*/ 79798 w 163187"/>
                <a:gd name="connsiteY3" fmla="*/ 34433 h 63791"/>
                <a:gd name="connsiteX4" fmla="*/ 96195 w 163187"/>
                <a:gd name="connsiteY4" fmla="*/ 36151 h 63791"/>
                <a:gd name="connsiteX5" fmla="*/ 163187 w 163187"/>
                <a:gd name="connsiteY5" fmla="*/ 2186 h 63791"/>
                <a:gd name="connsiteX6" fmla="*/ 159908 w 163187"/>
                <a:gd name="connsiteY6" fmla="*/ 0 h 63791"/>
                <a:gd name="connsiteX7" fmla="*/ 46145 w 163187"/>
                <a:gd name="connsiteY7" fmla="*/ 25844 h 63791"/>
                <a:gd name="connsiteX8" fmla="*/ 0 w 163187"/>
                <a:gd name="connsiteY8" fmla="*/ 59341 h 63791"/>
                <a:gd name="connsiteX9" fmla="*/ 1484 w 163187"/>
                <a:gd name="connsiteY9" fmla="*/ 63791 h 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187" h="63791">
                  <a:moveTo>
                    <a:pt x="1484" y="63791"/>
                  </a:moveTo>
                  <a:cubicBezTo>
                    <a:pt x="4943" y="56346"/>
                    <a:pt x="12187" y="51377"/>
                    <a:pt x="20379" y="50830"/>
                  </a:cubicBezTo>
                  <a:cubicBezTo>
                    <a:pt x="26903" y="52705"/>
                    <a:pt x="33559" y="54088"/>
                    <a:pt x="40289" y="54968"/>
                  </a:cubicBezTo>
                  <a:cubicBezTo>
                    <a:pt x="59887" y="54968"/>
                    <a:pt x="76128" y="34433"/>
                    <a:pt x="79798" y="34433"/>
                  </a:cubicBezTo>
                  <a:cubicBezTo>
                    <a:pt x="85204" y="35473"/>
                    <a:pt x="90690" y="36048"/>
                    <a:pt x="96195" y="36151"/>
                  </a:cubicBezTo>
                  <a:cubicBezTo>
                    <a:pt x="130081" y="36151"/>
                    <a:pt x="163187" y="8120"/>
                    <a:pt x="163187" y="2186"/>
                  </a:cubicBezTo>
                  <a:cubicBezTo>
                    <a:pt x="163187" y="703"/>
                    <a:pt x="161314" y="0"/>
                    <a:pt x="159908" y="0"/>
                  </a:cubicBezTo>
                  <a:lnTo>
                    <a:pt x="46145" y="25844"/>
                  </a:lnTo>
                  <a:cubicBezTo>
                    <a:pt x="28265" y="31779"/>
                    <a:pt x="6637" y="39196"/>
                    <a:pt x="0" y="59341"/>
                  </a:cubicBezTo>
                  <a:cubicBezTo>
                    <a:pt x="0" y="60824"/>
                    <a:pt x="0" y="63011"/>
                    <a:pt x="1484" y="63791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DF91CFEF-EFFE-475E-9C01-C4B42F21CE14}"/>
                </a:ext>
              </a:extLst>
            </p:cNvPr>
            <p:cNvSpPr/>
            <p:nvPr/>
          </p:nvSpPr>
          <p:spPr>
            <a:xfrm rot="15518677" flipH="1">
              <a:off x="2749611" y="3110163"/>
              <a:ext cx="264022" cy="247550"/>
            </a:xfrm>
            <a:custGeom>
              <a:avLst/>
              <a:gdLst>
                <a:gd name="connsiteX0" fmla="*/ 243565 w 264022"/>
                <a:gd name="connsiteY0" fmla="*/ 8548 h 247550"/>
                <a:gd name="connsiteX1" fmla="*/ 424 w 264022"/>
                <a:gd name="connsiteY1" fmla="*/ 237479 h 247550"/>
                <a:gd name="connsiteX2" fmla="*/ 5655 w 264022"/>
                <a:gd name="connsiteY2" fmla="*/ 244662 h 247550"/>
                <a:gd name="connsiteX3" fmla="*/ 264022 w 264022"/>
                <a:gd name="connsiteY3" fmla="*/ 18230 h 247550"/>
                <a:gd name="connsiteX4" fmla="*/ 260118 w 264022"/>
                <a:gd name="connsiteY4" fmla="*/ 662 h 247550"/>
                <a:gd name="connsiteX5" fmla="*/ 243565 w 264022"/>
                <a:gd name="connsiteY5" fmla="*/ 8548 h 2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22" h="247550">
                  <a:moveTo>
                    <a:pt x="243565" y="8548"/>
                  </a:moveTo>
                  <a:cubicBezTo>
                    <a:pt x="205150" y="33768"/>
                    <a:pt x="-10820" y="172672"/>
                    <a:pt x="424" y="237479"/>
                  </a:cubicBezTo>
                  <a:cubicBezTo>
                    <a:pt x="971" y="240550"/>
                    <a:pt x="2900" y="243199"/>
                    <a:pt x="5655" y="244662"/>
                  </a:cubicBezTo>
                  <a:cubicBezTo>
                    <a:pt x="64684" y="275894"/>
                    <a:pt x="211240" y="44153"/>
                    <a:pt x="264022" y="18230"/>
                  </a:cubicBezTo>
                  <a:lnTo>
                    <a:pt x="260118" y="662"/>
                  </a:lnTo>
                  <a:cubicBezTo>
                    <a:pt x="256839" y="-2461"/>
                    <a:pt x="247469" y="6362"/>
                    <a:pt x="243565" y="8548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0352177B-8420-4C3F-907B-CDBD621E35A6}"/>
                </a:ext>
              </a:extLst>
            </p:cNvPr>
            <p:cNvSpPr/>
            <p:nvPr/>
          </p:nvSpPr>
          <p:spPr>
            <a:xfrm rot="20176943" flipH="1">
              <a:off x="2603044" y="3078820"/>
              <a:ext cx="72127" cy="117749"/>
            </a:xfrm>
            <a:custGeom>
              <a:avLst/>
              <a:gdLst>
                <a:gd name="connsiteX0" fmla="*/ 141403 w 152958"/>
                <a:gd name="connsiteY0" fmla="*/ 22721 h 133516"/>
                <a:gd name="connsiteX1" fmla="*/ 145541 w 152958"/>
                <a:gd name="connsiteY1" fmla="*/ 0 h 133516"/>
                <a:gd name="connsiteX2" fmla="*/ 0 w 152958"/>
                <a:gd name="connsiteY2" fmla="*/ 84092 h 133516"/>
                <a:gd name="connsiteX3" fmla="*/ 5466 w 152958"/>
                <a:gd name="connsiteY3" fmla="*/ 104081 h 133516"/>
                <a:gd name="connsiteX4" fmla="*/ 5466 w 152958"/>
                <a:gd name="connsiteY4" fmla="*/ 133517 h 133516"/>
                <a:gd name="connsiteX5" fmla="*/ 152959 w 152958"/>
                <a:gd name="connsiteY5" fmla="*/ 48332 h 133516"/>
                <a:gd name="connsiteX6" fmla="*/ 141403 w 152958"/>
                <a:gd name="connsiteY6" fmla="*/ 22721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958" h="133516">
                  <a:moveTo>
                    <a:pt x="141403" y="22721"/>
                  </a:moveTo>
                  <a:lnTo>
                    <a:pt x="145541" y="0"/>
                  </a:lnTo>
                  <a:lnTo>
                    <a:pt x="0" y="84092"/>
                  </a:lnTo>
                  <a:lnTo>
                    <a:pt x="5466" y="104081"/>
                  </a:lnTo>
                  <a:lnTo>
                    <a:pt x="5466" y="133517"/>
                  </a:lnTo>
                  <a:lnTo>
                    <a:pt x="152959" y="48332"/>
                  </a:lnTo>
                  <a:cubicBezTo>
                    <a:pt x="149289" y="39899"/>
                    <a:pt x="145151" y="31466"/>
                    <a:pt x="141403" y="22721"/>
                  </a:cubicBezTo>
                  <a:close/>
                </a:path>
              </a:pathLst>
            </a:custGeom>
            <a:solidFill>
              <a:srgbClr val="31363A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750" name="Group 749">
              <a:extLst>
                <a:ext uri="{FF2B5EF4-FFF2-40B4-BE49-F238E27FC236}">
                  <a16:creationId xmlns:a16="http://schemas.microsoft.com/office/drawing/2014/main" id="{1694DD13-6838-4F83-9CFA-AC10E1F2D720}"/>
                </a:ext>
              </a:extLst>
            </p:cNvPr>
            <p:cNvGrpSpPr/>
            <p:nvPr/>
          </p:nvGrpSpPr>
          <p:grpSpPr>
            <a:xfrm flipH="1">
              <a:off x="2722504" y="3325185"/>
              <a:ext cx="76804" cy="56386"/>
              <a:chOff x="6565385" y="2711075"/>
              <a:chExt cx="76804" cy="56386"/>
            </a:xfrm>
          </p:grpSpPr>
          <p:sp>
            <p:nvSpPr>
              <p:cNvPr id="752" name="Freeform: Shape 751">
                <a:extLst>
                  <a:ext uri="{FF2B5EF4-FFF2-40B4-BE49-F238E27FC236}">
                    <a16:creationId xmlns:a16="http://schemas.microsoft.com/office/drawing/2014/main" id="{16A78D6D-DD87-4BDB-B4FA-C507B0C1F86F}"/>
                  </a:ext>
                </a:extLst>
              </p:cNvPr>
              <p:cNvSpPr/>
              <p:nvPr/>
            </p:nvSpPr>
            <p:spPr>
              <a:xfrm>
                <a:off x="6565385" y="2711075"/>
                <a:ext cx="76804" cy="56386"/>
              </a:xfrm>
              <a:custGeom>
                <a:avLst/>
                <a:gdLst>
                  <a:gd name="connsiteX0" fmla="*/ 0 w 76804"/>
                  <a:gd name="connsiteY0" fmla="*/ 39040 h 56386"/>
                  <a:gd name="connsiteX1" fmla="*/ 43334 w 76804"/>
                  <a:gd name="connsiteY1" fmla="*/ 0 h 56386"/>
                  <a:gd name="connsiteX2" fmla="*/ 76128 w 76804"/>
                  <a:gd name="connsiteY2" fmla="*/ 10853 h 56386"/>
                  <a:gd name="connsiteX3" fmla="*/ 73395 w 76804"/>
                  <a:gd name="connsiteY3" fmla="*/ 23658 h 56386"/>
                  <a:gd name="connsiteX4" fmla="*/ 74723 w 76804"/>
                  <a:gd name="connsiteY4" fmla="*/ 32169 h 56386"/>
                  <a:gd name="connsiteX5" fmla="*/ 68945 w 76804"/>
                  <a:gd name="connsiteY5" fmla="*/ 34746 h 56386"/>
                  <a:gd name="connsiteX6" fmla="*/ 67071 w 76804"/>
                  <a:gd name="connsiteY6" fmla="*/ 39587 h 56386"/>
                  <a:gd name="connsiteX7" fmla="*/ 60746 w 76804"/>
                  <a:gd name="connsiteY7" fmla="*/ 40836 h 56386"/>
                  <a:gd name="connsiteX8" fmla="*/ 59029 w 76804"/>
                  <a:gd name="connsiteY8" fmla="*/ 45208 h 56386"/>
                  <a:gd name="connsiteX9" fmla="*/ 46770 w 76804"/>
                  <a:gd name="connsiteY9" fmla="*/ 47238 h 56386"/>
                  <a:gd name="connsiteX10" fmla="*/ 40367 w 76804"/>
                  <a:gd name="connsiteY10" fmla="*/ 41539 h 56386"/>
                  <a:gd name="connsiteX11" fmla="*/ 2655 w 76804"/>
                  <a:gd name="connsiteY11" fmla="*/ 56061 h 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804" h="56386">
                    <a:moveTo>
                      <a:pt x="0" y="39040"/>
                    </a:moveTo>
                    <a:cubicBezTo>
                      <a:pt x="0" y="39040"/>
                      <a:pt x="31232" y="1327"/>
                      <a:pt x="43334" y="0"/>
                    </a:cubicBezTo>
                    <a:cubicBezTo>
                      <a:pt x="54537" y="2737"/>
                      <a:pt x="65504" y="6367"/>
                      <a:pt x="76128" y="10853"/>
                    </a:cubicBezTo>
                    <a:cubicBezTo>
                      <a:pt x="78627" y="13586"/>
                      <a:pt x="73395" y="23658"/>
                      <a:pt x="73395" y="23658"/>
                    </a:cubicBezTo>
                    <a:cubicBezTo>
                      <a:pt x="73395" y="23658"/>
                      <a:pt x="77924" y="28655"/>
                      <a:pt x="74723" y="32169"/>
                    </a:cubicBezTo>
                    <a:cubicBezTo>
                      <a:pt x="73246" y="33805"/>
                      <a:pt x="71148" y="34740"/>
                      <a:pt x="68945" y="34746"/>
                    </a:cubicBezTo>
                    <a:cubicBezTo>
                      <a:pt x="68945" y="34746"/>
                      <a:pt x="70428" y="37244"/>
                      <a:pt x="67071" y="39587"/>
                    </a:cubicBezTo>
                    <a:cubicBezTo>
                      <a:pt x="65273" y="40967"/>
                      <a:pt x="62934" y="41429"/>
                      <a:pt x="60746" y="40836"/>
                    </a:cubicBezTo>
                    <a:cubicBezTo>
                      <a:pt x="61137" y="42508"/>
                      <a:pt x="60453" y="44249"/>
                      <a:pt x="59029" y="45208"/>
                    </a:cubicBezTo>
                    <a:cubicBezTo>
                      <a:pt x="55271" y="47197"/>
                      <a:pt x="50968" y="47909"/>
                      <a:pt x="46770" y="47238"/>
                    </a:cubicBezTo>
                    <a:cubicBezTo>
                      <a:pt x="44231" y="45849"/>
                      <a:pt x="42041" y="43900"/>
                      <a:pt x="40367" y="41539"/>
                    </a:cubicBezTo>
                    <a:cubicBezTo>
                      <a:pt x="26391" y="51533"/>
                      <a:pt x="9135" y="57935"/>
                      <a:pt x="2655" y="56061"/>
                    </a:cubicBezTo>
                    <a:close/>
                  </a:path>
                </a:pathLst>
              </a:custGeom>
              <a:solidFill>
                <a:srgbClr val="FFC37B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53" name="Freeform: Shape 752">
                <a:extLst>
                  <a:ext uri="{FF2B5EF4-FFF2-40B4-BE49-F238E27FC236}">
                    <a16:creationId xmlns:a16="http://schemas.microsoft.com/office/drawing/2014/main" id="{B5324210-CFA4-414D-B56D-83C9B646FC87}"/>
                  </a:ext>
                </a:extLst>
              </p:cNvPr>
              <p:cNvSpPr/>
              <p:nvPr/>
            </p:nvSpPr>
            <p:spPr>
              <a:xfrm>
                <a:off x="6623164" y="2717478"/>
                <a:ext cx="15616" cy="17021"/>
              </a:xfrm>
              <a:custGeom>
                <a:avLst/>
                <a:gdLst>
                  <a:gd name="connsiteX0" fmla="*/ 15616 w 15616"/>
                  <a:gd name="connsiteY0" fmla="*/ 17021 h 17021"/>
                  <a:gd name="connsiteX1" fmla="*/ 0 w 15616"/>
                  <a:gd name="connsiteY1" fmla="*/ 0 h 17021"/>
                  <a:gd name="connsiteX2" fmla="*/ 4216 w 15616"/>
                  <a:gd name="connsiteY2" fmla="*/ 3826 h 17021"/>
                  <a:gd name="connsiteX3" fmla="*/ 10228 w 15616"/>
                  <a:gd name="connsiteY3" fmla="*/ 7027 h 17021"/>
                  <a:gd name="connsiteX4" fmla="*/ 12883 w 15616"/>
                  <a:gd name="connsiteY4" fmla="*/ 12727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16" h="17021">
                    <a:moveTo>
                      <a:pt x="15616" y="17021"/>
                    </a:moveTo>
                    <a:lnTo>
                      <a:pt x="0" y="0"/>
                    </a:lnTo>
                    <a:lnTo>
                      <a:pt x="4216" y="3826"/>
                    </a:lnTo>
                    <a:cubicBezTo>
                      <a:pt x="6391" y="4536"/>
                      <a:pt x="8426" y="5619"/>
                      <a:pt x="10228" y="7027"/>
                    </a:cubicBezTo>
                    <a:cubicBezTo>
                      <a:pt x="11423" y="8767"/>
                      <a:pt x="12320" y="10693"/>
                      <a:pt x="12883" y="12727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54" name="Freeform: Shape 753">
                <a:extLst>
                  <a:ext uri="{FF2B5EF4-FFF2-40B4-BE49-F238E27FC236}">
                    <a16:creationId xmlns:a16="http://schemas.microsoft.com/office/drawing/2014/main" id="{7C32D428-F6DB-4411-B2AD-7ACEEB4D1743}"/>
                  </a:ext>
                </a:extLst>
              </p:cNvPr>
              <p:cNvSpPr/>
              <p:nvPr/>
            </p:nvSpPr>
            <p:spPr>
              <a:xfrm>
                <a:off x="6633783" y="2729034"/>
                <a:ext cx="546" cy="546"/>
              </a:xfrm>
              <a:custGeom>
                <a:avLst/>
                <a:gdLst>
                  <a:gd name="connsiteX0" fmla="*/ 547 w 546"/>
                  <a:gd name="connsiteY0" fmla="*/ 547 h 546"/>
                  <a:gd name="connsiteX1" fmla="*/ 0 w 546"/>
                  <a:gd name="connsiteY1" fmla="*/ 0 h 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" h="546">
                    <a:moveTo>
                      <a:pt x="547" y="54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55" name="Freeform: Shape 754">
                <a:extLst>
                  <a:ext uri="{FF2B5EF4-FFF2-40B4-BE49-F238E27FC236}">
                    <a16:creationId xmlns:a16="http://schemas.microsoft.com/office/drawing/2014/main" id="{D4001077-6413-41E9-BBBB-2FC5E03A10CF}"/>
                  </a:ext>
                </a:extLst>
              </p:cNvPr>
              <p:cNvSpPr/>
              <p:nvPr/>
            </p:nvSpPr>
            <p:spPr>
              <a:xfrm>
                <a:off x="6597398" y="2728124"/>
                <a:ext cx="44010" cy="30122"/>
              </a:xfrm>
              <a:custGeom>
                <a:avLst/>
                <a:gdLst>
                  <a:gd name="connsiteX0" fmla="*/ 10229 w 44010"/>
                  <a:gd name="connsiteY0" fmla="*/ 19805 h 30122"/>
                  <a:gd name="connsiteX1" fmla="*/ 26860 w 44010"/>
                  <a:gd name="connsiteY1" fmla="*/ 25973 h 30122"/>
                  <a:gd name="connsiteX2" fmla="*/ 16475 w 44010"/>
                  <a:gd name="connsiteY2" fmla="*/ 7858 h 30122"/>
                  <a:gd name="connsiteX3" fmla="*/ 34668 w 44010"/>
                  <a:gd name="connsiteY3" fmla="*/ 21288 h 30122"/>
                  <a:gd name="connsiteX4" fmla="*/ 21862 w 44010"/>
                  <a:gd name="connsiteY4" fmla="*/ 50 h 30122"/>
                  <a:gd name="connsiteX5" fmla="*/ 42241 w 44010"/>
                  <a:gd name="connsiteY5" fmla="*/ 14417 h 30122"/>
                  <a:gd name="connsiteX6" fmla="*/ 36932 w 44010"/>
                  <a:gd name="connsiteY6" fmla="*/ 1690 h 30122"/>
                  <a:gd name="connsiteX7" fmla="*/ 41539 w 44010"/>
                  <a:gd name="connsiteY7" fmla="*/ 6297 h 30122"/>
                  <a:gd name="connsiteX8" fmla="*/ 41539 w 44010"/>
                  <a:gd name="connsiteY8" fmla="*/ 6297 h 30122"/>
                  <a:gd name="connsiteX9" fmla="*/ 42866 w 44010"/>
                  <a:gd name="connsiteY9" fmla="*/ 14808 h 30122"/>
                  <a:gd name="connsiteX10" fmla="*/ 37088 w 44010"/>
                  <a:gd name="connsiteY10" fmla="*/ 17384 h 30122"/>
                  <a:gd name="connsiteX11" fmla="*/ 35214 w 44010"/>
                  <a:gd name="connsiteY11" fmla="*/ 22225 h 30122"/>
                  <a:gd name="connsiteX12" fmla="*/ 28890 w 44010"/>
                  <a:gd name="connsiteY12" fmla="*/ 23474 h 30122"/>
                  <a:gd name="connsiteX13" fmla="*/ 27172 w 44010"/>
                  <a:gd name="connsiteY13" fmla="*/ 27847 h 30122"/>
                  <a:gd name="connsiteX14" fmla="*/ 14913 w 44010"/>
                  <a:gd name="connsiteY14" fmla="*/ 29877 h 30122"/>
                  <a:gd name="connsiteX15" fmla="*/ 8511 w 44010"/>
                  <a:gd name="connsiteY15" fmla="*/ 24177 h 30122"/>
                  <a:gd name="connsiteX16" fmla="*/ 0 w 44010"/>
                  <a:gd name="connsiteY16" fmla="*/ 29565 h 30122"/>
                  <a:gd name="connsiteX17" fmla="*/ 10229 w 44010"/>
                  <a:gd name="connsiteY17" fmla="*/ 19805 h 30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010" h="30122">
                    <a:moveTo>
                      <a:pt x="10229" y="19805"/>
                    </a:moveTo>
                    <a:cubicBezTo>
                      <a:pt x="11946" y="17306"/>
                      <a:pt x="23112" y="31204"/>
                      <a:pt x="26860" y="25973"/>
                    </a:cubicBezTo>
                    <a:cubicBezTo>
                      <a:pt x="30607" y="20742"/>
                      <a:pt x="14835" y="9576"/>
                      <a:pt x="16475" y="7858"/>
                    </a:cubicBezTo>
                    <a:cubicBezTo>
                      <a:pt x="18115" y="6141"/>
                      <a:pt x="28812" y="27378"/>
                      <a:pt x="34668" y="21288"/>
                    </a:cubicBezTo>
                    <a:cubicBezTo>
                      <a:pt x="40524" y="15198"/>
                      <a:pt x="21160" y="1222"/>
                      <a:pt x="21862" y="50"/>
                    </a:cubicBezTo>
                    <a:cubicBezTo>
                      <a:pt x="22565" y="-1121"/>
                      <a:pt x="37478" y="18555"/>
                      <a:pt x="42241" y="14417"/>
                    </a:cubicBezTo>
                    <a:cubicBezTo>
                      <a:pt x="46067" y="11294"/>
                      <a:pt x="39040" y="3876"/>
                      <a:pt x="36932" y="1690"/>
                    </a:cubicBezTo>
                    <a:lnTo>
                      <a:pt x="41539" y="6297"/>
                    </a:lnTo>
                    <a:lnTo>
                      <a:pt x="41539" y="6297"/>
                    </a:lnTo>
                    <a:cubicBezTo>
                      <a:pt x="41539" y="6297"/>
                      <a:pt x="46067" y="11294"/>
                      <a:pt x="42866" y="14808"/>
                    </a:cubicBezTo>
                    <a:cubicBezTo>
                      <a:pt x="41390" y="16443"/>
                      <a:pt x="39291" y="17379"/>
                      <a:pt x="37088" y="17384"/>
                    </a:cubicBezTo>
                    <a:cubicBezTo>
                      <a:pt x="37088" y="17384"/>
                      <a:pt x="38572" y="19883"/>
                      <a:pt x="35214" y="22225"/>
                    </a:cubicBezTo>
                    <a:cubicBezTo>
                      <a:pt x="33417" y="23606"/>
                      <a:pt x="31077" y="24068"/>
                      <a:pt x="28890" y="23474"/>
                    </a:cubicBezTo>
                    <a:cubicBezTo>
                      <a:pt x="29280" y="25147"/>
                      <a:pt x="28596" y="26887"/>
                      <a:pt x="27172" y="27847"/>
                    </a:cubicBezTo>
                    <a:cubicBezTo>
                      <a:pt x="23414" y="29836"/>
                      <a:pt x="19112" y="30548"/>
                      <a:pt x="14913" y="29877"/>
                    </a:cubicBezTo>
                    <a:cubicBezTo>
                      <a:pt x="12374" y="28488"/>
                      <a:pt x="10184" y="26539"/>
                      <a:pt x="8511" y="24177"/>
                    </a:cubicBezTo>
                    <a:cubicBezTo>
                      <a:pt x="6559" y="25583"/>
                      <a:pt x="2186" y="28003"/>
                      <a:pt x="0" y="29565"/>
                    </a:cubicBezTo>
                    <a:cubicBezTo>
                      <a:pt x="3672" y="26598"/>
                      <a:pt x="7093" y="23334"/>
                      <a:pt x="10229" y="19805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9939546F-0D24-4B7E-B18E-6C2B03800F44}"/>
                </a:ext>
              </a:extLst>
            </p:cNvPr>
            <p:cNvSpPr/>
            <p:nvPr/>
          </p:nvSpPr>
          <p:spPr>
            <a:xfrm flipH="1">
              <a:off x="2437440" y="3315697"/>
              <a:ext cx="23249" cy="38291"/>
            </a:xfrm>
            <a:custGeom>
              <a:avLst/>
              <a:gdLst>
                <a:gd name="connsiteX0" fmla="*/ 19286 w 23249"/>
                <a:gd name="connsiteY0" fmla="*/ 0 h 38291"/>
                <a:gd name="connsiteX1" fmla="*/ 6324 w 23249"/>
                <a:gd name="connsiteY1" fmla="*/ 24908 h 38291"/>
                <a:gd name="connsiteX2" fmla="*/ 0 w 23249"/>
                <a:gd name="connsiteY2" fmla="*/ 37478 h 38291"/>
                <a:gd name="connsiteX3" fmla="*/ 12493 w 23249"/>
                <a:gd name="connsiteY3" fmla="*/ 28031 h 38291"/>
                <a:gd name="connsiteX4" fmla="*/ 20301 w 23249"/>
                <a:gd name="connsiteY4" fmla="*/ 23893 h 38291"/>
                <a:gd name="connsiteX5" fmla="*/ 19286 w 23249"/>
                <a:gd name="connsiteY5" fmla="*/ 0 h 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9" h="38291">
                  <a:moveTo>
                    <a:pt x="19286" y="0"/>
                  </a:moveTo>
                  <a:cubicBezTo>
                    <a:pt x="13982" y="7753"/>
                    <a:pt x="9630" y="16116"/>
                    <a:pt x="6324" y="24908"/>
                  </a:cubicBezTo>
                  <a:lnTo>
                    <a:pt x="0" y="37478"/>
                  </a:lnTo>
                  <a:cubicBezTo>
                    <a:pt x="0" y="37478"/>
                    <a:pt x="4216" y="42397"/>
                    <a:pt x="12493" y="28031"/>
                  </a:cubicBezTo>
                  <a:cubicBezTo>
                    <a:pt x="12493" y="28031"/>
                    <a:pt x="15772" y="19442"/>
                    <a:pt x="20301" y="23893"/>
                  </a:cubicBezTo>
                  <a:cubicBezTo>
                    <a:pt x="27484" y="31154"/>
                    <a:pt x="19286" y="859"/>
                    <a:pt x="19286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692" name="green dress">
            <a:extLst>
              <a:ext uri="{FF2B5EF4-FFF2-40B4-BE49-F238E27FC236}">
                <a16:creationId xmlns:a16="http://schemas.microsoft.com/office/drawing/2014/main" id="{851E8AA0-6242-478C-A878-6B6D6513C015}"/>
              </a:ext>
            </a:extLst>
          </p:cNvPr>
          <p:cNvGrpSpPr/>
          <p:nvPr/>
        </p:nvGrpSpPr>
        <p:grpSpPr>
          <a:xfrm>
            <a:off x="5772483" y="2693980"/>
            <a:ext cx="734120" cy="1721577"/>
            <a:chOff x="2421923" y="2502911"/>
            <a:chExt cx="583474" cy="1368297"/>
          </a:xfrm>
        </p:grpSpPr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AB9A726D-8727-4DBA-B455-BDBC1755E6C4}"/>
                </a:ext>
              </a:extLst>
            </p:cNvPr>
            <p:cNvSpPr/>
            <p:nvPr/>
          </p:nvSpPr>
          <p:spPr>
            <a:xfrm flipH="1">
              <a:off x="2430160" y="3341776"/>
              <a:ext cx="14073" cy="35838"/>
            </a:xfrm>
            <a:custGeom>
              <a:avLst/>
              <a:gdLst>
                <a:gd name="connsiteX0" fmla="*/ 7593 w 14073"/>
                <a:gd name="connsiteY0" fmla="*/ 0 h 35838"/>
                <a:gd name="connsiteX1" fmla="*/ 5954 w 14073"/>
                <a:gd name="connsiteY1" fmla="*/ 17021 h 35838"/>
                <a:gd name="connsiteX2" fmla="*/ 800 w 14073"/>
                <a:gd name="connsiteY2" fmla="*/ 35839 h 35838"/>
                <a:gd name="connsiteX3" fmla="*/ 12122 w 14073"/>
                <a:gd name="connsiteY3" fmla="*/ 17021 h 35838"/>
                <a:gd name="connsiteX4" fmla="*/ 14074 w 14073"/>
                <a:gd name="connsiteY4" fmla="*/ 1405 h 3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" h="35838">
                  <a:moveTo>
                    <a:pt x="7593" y="0"/>
                  </a:moveTo>
                  <a:cubicBezTo>
                    <a:pt x="7578" y="5715"/>
                    <a:pt x="7029" y="11407"/>
                    <a:pt x="5954" y="17021"/>
                  </a:cubicBezTo>
                  <a:cubicBezTo>
                    <a:pt x="2674" y="24127"/>
                    <a:pt x="-1854" y="34277"/>
                    <a:pt x="800" y="35839"/>
                  </a:cubicBezTo>
                  <a:cubicBezTo>
                    <a:pt x="5690" y="30311"/>
                    <a:pt x="9527" y="23931"/>
                    <a:pt x="12122" y="17021"/>
                  </a:cubicBezTo>
                  <a:cubicBezTo>
                    <a:pt x="13096" y="11860"/>
                    <a:pt x="13748" y="6645"/>
                    <a:pt x="14074" y="1405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54A7A563-0059-4FEC-B6A5-6037A51D735F}"/>
                </a:ext>
              </a:extLst>
            </p:cNvPr>
            <p:cNvSpPr/>
            <p:nvPr/>
          </p:nvSpPr>
          <p:spPr>
            <a:xfrm flipH="1">
              <a:off x="2421923" y="3344743"/>
              <a:ext cx="10969" cy="40601"/>
            </a:xfrm>
            <a:custGeom>
              <a:avLst/>
              <a:gdLst>
                <a:gd name="connsiteX0" fmla="*/ 0 w 10969"/>
                <a:gd name="connsiteY0" fmla="*/ 4294 h 40601"/>
                <a:gd name="connsiteX1" fmla="*/ 2889 w 10969"/>
                <a:gd name="connsiteY1" fmla="*/ 21160 h 40601"/>
                <a:gd name="connsiteX2" fmla="*/ 2889 w 10969"/>
                <a:gd name="connsiteY2" fmla="*/ 40602 h 40601"/>
                <a:gd name="connsiteX3" fmla="*/ 9838 w 10969"/>
                <a:gd name="connsiteY3" fmla="*/ 16319 h 40601"/>
                <a:gd name="connsiteX4" fmla="*/ 10853 w 10969"/>
                <a:gd name="connsiteY4" fmla="*/ 0 h 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9" h="40601">
                  <a:moveTo>
                    <a:pt x="0" y="4294"/>
                  </a:moveTo>
                  <a:cubicBezTo>
                    <a:pt x="1500" y="9815"/>
                    <a:pt x="2467" y="15460"/>
                    <a:pt x="2889" y="21160"/>
                  </a:cubicBezTo>
                  <a:cubicBezTo>
                    <a:pt x="1640" y="28968"/>
                    <a:pt x="312" y="40367"/>
                    <a:pt x="2889" y="40602"/>
                  </a:cubicBezTo>
                  <a:cubicBezTo>
                    <a:pt x="6130" y="32801"/>
                    <a:pt x="8462" y="24650"/>
                    <a:pt x="9838" y="16319"/>
                  </a:cubicBezTo>
                  <a:cubicBezTo>
                    <a:pt x="9838" y="12961"/>
                    <a:pt x="11400" y="4763"/>
                    <a:pt x="10853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2042D995-7E6C-4654-AD7B-1CAF8628001E}"/>
                </a:ext>
              </a:extLst>
            </p:cNvPr>
            <p:cNvSpPr/>
            <p:nvPr/>
          </p:nvSpPr>
          <p:spPr>
            <a:xfrm flipH="1">
              <a:off x="2421962" y="3308904"/>
              <a:ext cx="20895" cy="48635"/>
            </a:xfrm>
            <a:custGeom>
              <a:avLst/>
              <a:gdLst>
                <a:gd name="connsiteX0" fmla="*/ 13634 w 20895"/>
                <a:gd name="connsiteY0" fmla="*/ 0 h 48635"/>
                <a:gd name="connsiteX1" fmla="*/ 20896 w 20895"/>
                <a:gd name="connsiteY1" fmla="*/ 35839 h 48635"/>
                <a:gd name="connsiteX2" fmla="*/ 5280 w 20895"/>
                <a:gd name="connsiteY2" fmla="*/ 46380 h 48635"/>
                <a:gd name="connsiteX3" fmla="*/ 2313 w 20895"/>
                <a:gd name="connsiteY3" fmla="*/ 30763 h 48635"/>
                <a:gd name="connsiteX4" fmla="*/ 1376 w 20895"/>
                <a:gd name="connsiteY4" fmla="*/ 6871 h 48635"/>
                <a:gd name="connsiteX5" fmla="*/ 4343 w 20895"/>
                <a:gd name="connsiteY5" fmla="*/ 703 h 48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95" h="48635">
                  <a:moveTo>
                    <a:pt x="13634" y="0"/>
                  </a:moveTo>
                  <a:cubicBezTo>
                    <a:pt x="17211" y="11681"/>
                    <a:pt x="19643" y="23682"/>
                    <a:pt x="20896" y="35839"/>
                  </a:cubicBezTo>
                  <a:cubicBezTo>
                    <a:pt x="19959" y="43647"/>
                    <a:pt x="6529" y="53016"/>
                    <a:pt x="5280" y="46380"/>
                  </a:cubicBezTo>
                  <a:cubicBezTo>
                    <a:pt x="4655" y="43959"/>
                    <a:pt x="3718" y="36541"/>
                    <a:pt x="2313" y="30763"/>
                  </a:cubicBezTo>
                  <a:cubicBezTo>
                    <a:pt x="-410" y="23080"/>
                    <a:pt x="-737" y="14749"/>
                    <a:pt x="1376" y="6871"/>
                  </a:cubicBezTo>
                  <a:lnTo>
                    <a:pt x="4343" y="703"/>
                  </a:ln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F8347A85-3151-426C-91EA-5D1D4860EF13}"/>
                </a:ext>
              </a:extLst>
            </p:cNvPr>
            <p:cNvSpPr/>
            <p:nvPr/>
          </p:nvSpPr>
          <p:spPr>
            <a:xfrm flipH="1">
              <a:off x="2429934" y="3350911"/>
              <a:ext cx="8190" cy="36931"/>
            </a:xfrm>
            <a:custGeom>
              <a:avLst/>
              <a:gdLst>
                <a:gd name="connsiteX0" fmla="*/ 0 w 8190"/>
                <a:gd name="connsiteY0" fmla="*/ 0 h 36931"/>
                <a:gd name="connsiteX1" fmla="*/ 2108 w 8190"/>
                <a:gd name="connsiteY1" fmla="*/ 17021 h 36931"/>
                <a:gd name="connsiteX2" fmla="*/ 3123 w 8190"/>
                <a:gd name="connsiteY2" fmla="*/ 36932 h 36931"/>
                <a:gd name="connsiteX3" fmla="*/ 8120 w 8190"/>
                <a:gd name="connsiteY3" fmla="*/ 17021 h 36931"/>
                <a:gd name="connsiteX4" fmla="*/ 6637 w 8190"/>
                <a:gd name="connsiteY4" fmla="*/ 156 h 3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0" h="36931">
                  <a:moveTo>
                    <a:pt x="0" y="0"/>
                  </a:moveTo>
                  <a:cubicBezTo>
                    <a:pt x="1244" y="5590"/>
                    <a:pt x="1950" y="11290"/>
                    <a:pt x="2108" y="17021"/>
                  </a:cubicBezTo>
                  <a:cubicBezTo>
                    <a:pt x="703" y="24829"/>
                    <a:pt x="859" y="36698"/>
                    <a:pt x="3123" y="36932"/>
                  </a:cubicBezTo>
                  <a:cubicBezTo>
                    <a:pt x="6661" y="30912"/>
                    <a:pt x="8396" y="24002"/>
                    <a:pt x="8120" y="17021"/>
                  </a:cubicBezTo>
                  <a:cubicBezTo>
                    <a:pt x="8389" y="11361"/>
                    <a:pt x="7890" y="5684"/>
                    <a:pt x="6637" y="156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1FF8438A-D1AF-459F-BAEE-04D734109DE4}"/>
                </a:ext>
              </a:extLst>
            </p:cNvPr>
            <p:cNvSpPr/>
            <p:nvPr/>
          </p:nvSpPr>
          <p:spPr>
            <a:xfrm flipH="1">
              <a:off x="2428263" y="2789906"/>
              <a:ext cx="176115" cy="530567"/>
            </a:xfrm>
            <a:custGeom>
              <a:avLst/>
              <a:gdLst>
                <a:gd name="connsiteX0" fmla="*/ 17824 w 176115"/>
                <a:gd name="connsiteY0" fmla="*/ 0 h 530567"/>
                <a:gd name="connsiteX1" fmla="*/ 150560 w 176115"/>
                <a:gd name="connsiteY1" fmla="*/ 289287 h 530567"/>
                <a:gd name="connsiteX2" fmla="*/ 176093 w 176115"/>
                <a:gd name="connsiteY2" fmla="*/ 524229 h 530567"/>
                <a:gd name="connsiteX3" fmla="*/ 162507 w 176115"/>
                <a:gd name="connsiteY3" fmla="*/ 530554 h 530567"/>
                <a:gd name="connsiteX4" fmla="*/ 106289 w 176115"/>
                <a:gd name="connsiteY4" fmla="*/ 303419 h 530567"/>
                <a:gd name="connsiteX5" fmla="*/ 23758 w 176115"/>
                <a:gd name="connsiteY5" fmla="*/ 140388 h 530567"/>
                <a:gd name="connsiteX6" fmla="*/ 17824 w 176115"/>
                <a:gd name="connsiteY6" fmla="*/ 0 h 53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115" h="530567">
                  <a:moveTo>
                    <a:pt x="17824" y="0"/>
                  </a:moveTo>
                  <a:cubicBezTo>
                    <a:pt x="17824" y="0"/>
                    <a:pt x="66390" y="46848"/>
                    <a:pt x="150560" y="289287"/>
                  </a:cubicBezTo>
                  <a:cubicBezTo>
                    <a:pt x="157509" y="308026"/>
                    <a:pt x="176873" y="368850"/>
                    <a:pt x="176093" y="524229"/>
                  </a:cubicBezTo>
                  <a:cubicBezTo>
                    <a:pt x="172857" y="528415"/>
                    <a:pt x="167793" y="530773"/>
                    <a:pt x="162507" y="530554"/>
                  </a:cubicBezTo>
                  <a:cubicBezTo>
                    <a:pt x="153684" y="468090"/>
                    <a:pt x="96841" y="374862"/>
                    <a:pt x="106289" y="303419"/>
                  </a:cubicBezTo>
                  <a:cubicBezTo>
                    <a:pt x="79351" y="263442"/>
                    <a:pt x="48744" y="198792"/>
                    <a:pt x="23758" y="140388"/>
                  </a:cubicBezTo>
                  <a:cubicBezTo>
                    <a:pt x="-1227" y="81984"/>
                    <a:pt x="-11456" y="20301"/>
                    <a:pt x="17824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1A5165C1-76CD-4E6E-BFA1-730A139FE200}"/>
                </a:ext>
              </a:extLst>
            </p:cNvPr>
            <p:cNvSpPr/>
            <p:nvPr/>
          </p:nvSpPr>
          <p:spPr>
            <a:xfrm flipH="1">
              <a:off x="2564853" y="3506681"/>
              <a:ext cx="135073" cy="318357"/>
            </a:xfrm>
            <a:custGeom>
              <a:avLst/>
              <a:gdLst>
                <a:gd name="connsiteX0" fmla="*/ 0 w 135073"/>
                <a:gd name="connsiteY0" fmla="*/ 0 h 318357"/>
                <a:gd name="connsiteX1" fmla="*/ 59732 w 135073"/>
                <a:gd name="connsiteY1" fmla="*/ 171386 h 318357"/>
                <a:gd name="connsiteX2" fmla="*/ 6654 w 135073"/>
                <a:gd name="connsiteY2" fmla="*/ 291200 h 318357"/>
                <a:gd name="connsiteX3" fmla="*/ 1556 w 135073"/>
                <a:gd name="connsiteY3" fmla="*/ 318357 h 318357"/>
                <a:gd name="connsiteX4" fmla="*/ 97145 w 135073"/>
                <a:gd name="connsiteY4" fmla="*/ 260635 h 318357"/>
                <a:gd name="connsiteX5" fmla="*/ 99855 w 135073"/>
                <a:gd name="connsiteY5" fmla="*/ 241219 h 318357"/>
                <a:gd name="connsiteX6" fmla="*/ 127427 w 135073"/>
                <a:gd name="connsiteY6" fmla="*/ 167950 h 318357"/>
                <a:gd name="connsiteX7" fmla="*/ 130941 w 135073"/>
                <a:gd name="connsiteY7" fmla="*/ 63557 h 31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73" h="318357">
                  <a:moveTo>
                    <a:pt x="0" y="0"/>
                  </a:moveTo>
                  <a:cubicBezTo>
                    <a:pt x="0" y="0"/>
                    <a:pt x="63557" y="146400"/>
                    <a:pt x="59732" y="171386"/>
                  </a:cubicBezTo>
                  <a:cubicBezTo>
                    <a:pt x="48605" y="202716"/>
                    <a:pt x="20394" y="248363"/>
                    <a:pt x="6654" y="291200"/>
                  </a:cubicBezTo>
                  <a:lnTo>
                    <a:pt x="1556" y="318357"/>
                  </a:lnTo>
                  <a:lnTo>
                    <a:pt x="97145" y="260635"/>
                  </a:lnTo>
                  <a:lnTo>
                    <a:pt x="99855" y="241219"/>
                  </a:lnTo>
                  <a:cubicBezTo>
                    <a:pt x="109566" y="189949"/>
                    <a:pt x="121103" y="188798"/>
                    <a:pt x="127427" y="167950"/>
                  </a:cubicBezTo>
                  <a:cubicBezTo>
                    <a:pt x="142262" y="118994"/>
                    <a:pt x="130941" y="63557"/>
                    <a:pt x="130941" y="63557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7FF71B3A-2499-45E9-A4B7-EE82C04B87EB}"/>
                </a:ext>
              </a:extLst>
            </p:cNvPr>
            <p:cNvSpPr/>
            <p:nvPr/>
          </p:nvSpPr>
          <p:spPr>
            <a:xfrm flipH="1">
              <a:off x="2645657" y="3555403"/>
              <a:ext cx="138049" cy="315805"/>
            </a:xfrm>
            <a:custGeom>
              <a:avLst/>
              <a:gdLst>
                <a:gd name="connsiteX0" fmla="*/ 0 w 138049"/>
                <a:gd name="connsiteY0" fmla="*/ 0 h 315805"/>
                <a:gd name="connsiteX1" fmla="*/ 59731 w 138049"/>
                <a:gd name="connsiteY1" fmla="*/ 171386 h 315805"/>
                <a:gd name="connsiteX2" fmla="*/ 12883 w 138049"/>
                <a:gd name="connsiteY2" fmla="*/ 262115 h 315805"/>
                <a:gd name="connsiteX3" fmla="*/ 8500 w 138049"/>
                <a:gd name="connsiteY3" fmla="*/ 304161 h 315805"/>
                <a:gd name="connsiteX4" fmla="*/ 8876 w 138049"/>
                <a:gd name="connsiteY4" fmla="*/ 315805 h 315805"/>
                <a:gd name="connsiteX5" fmla="*/ 119782 w 138049"/>
                <a:gd name="connsiteY5" fmla="*/ 248835 h 315805"/>
                <a:gd name="connsiteX6" fmla="*/ 123420 w 138049"/>
                <a:gd name="connsiteY6" fmla="*/ 234057 h 315805"/>
                <a:gd name="connsiteX7" fmla="*/ 137577 w 138049"/>
                <a:gd name="connsiteY7" fmla="*/ 161235 h 315805"/>
                <a:gd name="connsiteX8" fmla="*/ 130628 w 138049"/>
                <a:gd name="connsiteY8" fmla="*/ 63557 h 31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049" h="315805">
                  <a:moveTo>
                    <a:pt x="0" y="0"/>
                  </a:moveTo>
                  <a:cubicBezTo>
                    <a:pt x="0" y="0"/>
                    <a:pt x="63557" y="146400"/>
                    <a:pt x="59731" y="171386"/>
                  </a:cubicBezTo>
                  <a:cubicBezTo>
                    <a:pt x="46302" y="195278"/>
                    <a:pt x="25766" y="234865"/>
                    <a:pt x="12883" y="262115"/>
                  </a:cubicBezTo>
                  <a:cubicBezTo>
                    <a:pt x="9662" y="268928"/>
                    <a:pt x="8379" y="283265"/>
                    <a:pt x="8500" y="304161"/>
                  </a:cubicBezTo>
                  <a:lnTo>
                    <a:pt x="8876" y="315805"/>
                  </a:lnTo>
                  <a:lnTo>
                    <a:pt x="119782" y="248835"/>
                  </a:lnTo>
                  <a:lnTo>
                    <a:pt x="123420" y="234057"/>
                  </a:lnTo>
                  <a:cubicBezTo>
                    <a:pt x="130921" y="202930"/>
                    <a:pt x="136308" y="178022"/>
                    <a:pt x="137577" y="161235"/>
                  </a:cubicBezTo>
                  <a:cubicBezTo>
                    <a:pt x="139143" y="128512"/>
                    <a:pt x="136811" y="95726"/>
                    <a:pt x="130628" y="63557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F96C509E-A1D0-4415-BA1F-9DEFBBADBD59}"/>
                </a:ext>
              </a:extLst>
            </p:cNvPr>
            <p:cNvSpPr/>
            <p:nvPr/>
          </p:nvSpPr>
          <p:spPr>
            <a:xfrm flipH="1">
              <a:off x="2532356" y="2789203"/>
              <a:ext cx="292639" cy="930548"/>
            </a:xfrm>
            <a:custGeom>
              <a:avLst/>
              <a:gdLst>
                <a:gd name="connsiteX0" fmla="*/ 292316 w 292639"/>
                <a:gd name="connsiteY0" fmla="*/ 573342 h 930548"/>
                <a:gd name="connsiteX1" fmla="*/ 270297 w 292639"/>
                <a:gd name="connsiteY1" fmla="*/ 442636 h 930548"/>
                <a:gd name="connsiteX2" fmla="*/ 229227 w 292639"/>
                <a:gd name="connsiteY2" fmla="*/ 351360 h 930548"/>
                <a:gd name="connsiteX3" fmla="*/ 292316 w 292639"/>
                <a:gd name="connsiteY3" fmla="*/ 195200 h 930548"/>
                <a:gd name="connsiteX4" fmla="*/ 238441 w 292639"/>
                <a:gd name="connsiteY4" fmla="*/ 0 h 930548"/>
                <a:gd name="connsiteX5" fmla="*/ 9744 w 292639"/>
                <a:gd name="connsiteY5" fmla="*/ 124928 h 930548"/>
                <a:gd name="connsiteX6" fmla="*/ 132798 w 292639"/>
                <a:gd name="connsiteY6" fmla="*/ 373379 h 930548"/>
                <a:gd name="connsiteX7" fmla="*/ 4903 w 292639"/>
                <a:gd name="connsiteY7" fmla="*/ 539221 h 930548"/>
                <a:gd name="connsiteX8" fmla="*/ 3966 w 292639"/>
                <a:gd name="connsiteY8" fmla="*/ 542188 h 930548"/>
                <a:gd name="connsiteX9" fmla="*/ 2170 w 292639"/>
                <a:gd name="connsiteY9" fmla="*/ 549996 h 930548"/>
                <a:gd name="connsiteX10" fmla="*/ 76034 w 292639"/>
                <a:gd name="connsiteY10" fmla="*/ 883476 h 930548"/>
                <a:gd name="connsiteX11" fmla="*/ 102581 w 292639"/>
                <a:gd name="connsiteY11" fmla="*/ 914708 h 930548"/>
                <a:gd name="connsiteX12" fmla="*/ 234146 w 292639"/>
                <a:gd name="connsiteY12" fmla="*/ 914708 h 930548"/>
                <a:gd name="connsiteX13" fmla="*/ 260928 w 292639"/>
                <a:gd name="connsiteY13" fmla="*/ 880353 h 930548"/>
                <a:gd name="connsiteX14" fmla="*/ 260928 w 292639"/>
                <a:gd name="connsiteY14" fmla="*/ 880353 h 930548"/>
                <a:gd name="connsiteX15" fmla="*/ 292316 w 292639"/>
                <a:gd name="connsiteY15" fmla="*/ 573342 h 93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2639" h="930548">
                  <a:moveTo>
                    <a:pt x="292316" y="573342"/>
                  </a:moveTo>
                  <a:cubicBezTo>
                    <a:pt x="291535" y="528922"/>
                    <a:pt x="284113" y="484863"/>
                    <a:pt x="270297" y="442636"/>
                  </a:cubicBezTo>
                  <a:cubicBezTo>
                    <a:pt x="270297" y="442636"/>
                    <a:pt x="260303" y="416401"/>
                    <a:pt x="229227" y="351360"/>
                  </a:cubicBezTo>
                  <a:cubicBezTo>
                    <a:pt x="235396" y="296001"/>
                    <a:pt x="292316" y="195200"/>
                    <a:pt x="292316" y="195200"/>
                  </a:cubicBezTo>
                  <a:cubicBezTo>
                    <a:pt x="245468" y="126490"/>
                    <a:pt x="238441" y="0"/>
                    <a:pt x="238441" y="0"/>
                  </a:cubicBezTo>
                  <a:cubicBezTo>
                    <a:pt x="109687" y="31779"/>
                    <a:pt x="9744" y="124928"/>
                    <a:pt x="9744" y="124928"/>
                  </a:cubicBezTo>
                  <a:cubicBezTo>
                    <a:pt x="10212" y="222997"/>
                    <a:pt x="119056" y="357060"/>
                    <a:pt x="132798" y="373379"/>
                  </a:cubicBezTo>
                  <a:cubicBezTo>
                    <a:pt x="123741" y="382358"/>
                    <a:pt x="24189" y="482691"/>
                    <a:pt x="4903" y="539221"/>
                  </a:cubicBezTo>
                  <a:cubicBezTo>
                    <a:pt x="4903" y="540158"/>
                    <a:pt x="4278" y="541173"/>
                    <a:pt x="3966" y="542188"/>
                  </a:cubicBezTo>
                  <a:cubicBezTo>
                    <a:pt x="3188" y="544749"/>
                    <a:pt x="2587" y="547357"/>
                    <a:pt x="2170" y="549996"/>
                  </a:cubicBezTo>
                  <a:cubicBezTo>
                    <a:pt x="296" y="556789"/>
                    <a:pt x="-15398" y="628622"/>
                    <a:pt x="76034" y="883476"/>
                  </a:cubicBezTo>
                  <a:cubicBezTo>
                    <a:pt x="80158" y="897124"/>
                    <a:pt x="89777" y="908438"/>
                    <a:pt x="102581" y="914708"/>
                  </a:cubicBezTo>
                  <a:cubicBezTo>
                    <a:pt x="139045" y="935789"/>
                    <a:pt x="197917" y="935867"/>
                    <a:pt x="234146" y="914708"/>
                  </a:cubicBezTo>
                  <a:cubicBezTo>
                    <a:pt x="250699" y="905182"/>
                    <a:pt x="259600" y="892845"/>
                    <a:pt x="260928" y="880353"/>
                  </a:cubicBezTo>
                  <a:lnTo>
                    <a:pt x="260928" y="880353"/>
                  </a:lnTo>
                  <a:cubicBezTo>
                    <a:pt x="260928" y="880353"/>
                    <a:pt x="296376" y="725364"/>
                    <a:pt x="292316" y="573342"/>
                  </a:cubicBezTo>
                  <a:close/>
                </a:path>
              </a:pathLst>
            </a:custGeom>
            <a:solidFill>
              <a:srgbClr val="23ADA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2DAD047F-4927-46E7-AC88-CC9699DDB551}"/>
                </a:ext>
              </a:extLst>
            </p:cNvPr>
            <p:cNvSpPr/>
            <p:nvPr/>
          </p:nvSpPr>
          <p:spPr>
            <a:xfrm flipH="1">
              <a:off x="2595117" y="2805288"/>
              <a:ext cx="189136" cy="157595"/>
            </a:xfrm>
            <a:custGeom>
              <a:avLst/>
              <a:gdLst>
                <a:gd name="connsiteX0" fmla="*/ 0 w 189136"/>
                <a:gd name="connsiteY0" fmla="*/ 84092 h 157595"/>
                <a:gd name="connsiteX1" fmla="*/ 156160 w 189136"/>
                <a:gd name="connsiteY1" fmla="*/ 153818 h 157595"/>
                <a:gd name="connsiteX2" fmla="*/ 161079 w 189136"/>
                <a:gd name="connsiteY2" fmla="*/ 0 h 157595"/>
                <a:gd name="connsiteX3" fmla="*/ 0 w 189136"/>
                <a:gd name="connsiteY3" fmla="*/ 84092 h 15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136" h="157595">
                  <a:moveTo>
                    <a:pt x="0" y="84092"/>
                  </a:moveTo>
                  <a:cubicBezTo>
                    <a:pt x="0" y="84092"/>
                    <a:pt x="84951" y="177242"/>
                    <a:pt x="156160" y="153818"/>
                  </a:cubicBezTo>
                  <a:cubicBezTo>
                    <a:pt x="227369" y="130394"/>
                    <a:pt x="161079" y="0"/>
                    <a:pt x="161079" y="0"/>
                  </a:cubicBezTo>
                  <a:cubicBezTo>
                    <a:pt x="101934" y="16044"/>
                    <a:pt x="46975" y="44735"/>
                    <a:pt x="0" y="84092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EE67FA03-ACF3-4D62-809D-439C4B536564}"/>
                </a:ext>
              </a:extLst>
            </p:cNvPr>
            <p:cNvSpPr/>
            <p:nvPr/>
          </p:nvSpPr>
          <p:spPr>
            <a:xfrm flipH="1">
              <a:off x="2532352" y="2872436"/>
              <a:ext cx="255492" cy="847861"/>
            </a:xfrm>
            <a:custGeom>
              <a:avLst/>
              <a:gdLst>
                <a:gd name="connsiteX0" fmla="*/ 255166 w 255492"/>
                <a:gd name="connsiteY0" fmla="*/ 490108 h 847861"/>
                <a:gd name="connsiteX1" fmla="*/ 233147 w 255492"/>
                <a:gd name="connsiteY1" fmla="*/ 359402 h 847861"/>
                <a:gd name="connsiteX2" fmla="*/ 192077 w 255492"/>
                <a:gd name="connsiteY2" fmla="*/ 268127 h 847861"/>
                <a:gd name="connsiteX3" fmla="*/ 255166 w 255492"/>
                <a:gd name="connsiteY3" fmla="*/ 111967 h 847861"/>
                <a:gd name="connsiteX4" fmla="*/ 236270 w 255492"/>
                <a:gd name="connsiteY4" fmla="*/ 77143 h 847861"/>
                <a:gd name="connsiteX5" fmla="*/ 212846 w 255492"/>
                <a:gd name="connsiteY5" fmla="*/ 0 h 847861"/>
                <a:gd name="connsiteX6" fmla="*/ 126958 w 255492"/>
                <a:gd name="connsiteY6" fmla="*/ 177632 h 847861"/>
                <a:gd name="connsiteX7" fmla="*/ 30685 w 255492"/>
                <a:gd name="connsiteY7" fmla="*/ 126021 h 847861"/>
                <a:gd name="connsiteX8" fmla="*/ 0 w 255492"/>
                <a:gd name="connsiteY8" fmla="*/ 142652 h 847861"/>
                <a:gd name="connsiteX9" fmla="*/ 95804 w 255492"/>
                <a:gd name="connsiteY9" fmla="*/ 291004 h 847861"/>
                <a:gd name="connsiteX10" fmla="*/ 64572 w 255492"/>
                <a:gd name="connsiteY10" fmla="*/ 323720 h 847861"/>
                <a:gd name="connsiteX11" fmla="*/ 89402 w 255492"/>
                <a:gd name="connsiteY11" fmla="*/ 365571 h 847861"/>
                <a:gd name="connsiteX12" fmla="*/ 10775 w 255492"/>
                <a:gd name="connsiteY12" fmla="*/ 716931 h 847861"/>
                <a:gd name="connsiteX13" fmla="*/ 39196 w 255492"/>
                <a:gd name="connsiteY13" fmla="*/ 800789 h 847861"/>
                <a:gd name="connsiteX14" fmla="*/ 65743 w 255492"/>
                <a:gd name="connsiteY14" fmla="*/ 832021 h 847861"/>
                <a:gd name="connsiteX15" fmla="*/ 197308 w 255492"/>
                <a:gd name="connsiteY15" fmla="*/ 832021 h 847861"/>
                <a:gd name="connsiteX16" fmla="*/ 224090 w 255492"/>
                <a:gd name="connsiteY16" fmla="*/ 797666 h 847861"/>
                <a:gd name="connsiteX17" fmla="*/ 224090 w 255492"/>
                <a:gd name="connsiteY17" fmla="*/ 797666 h 847861"/>
                <a:gd name="connsiteX18" fmla="*/ 255166 w 255492"/>
                <a:gd name="connsiteY18" fmla="*/ 490108 h 847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492" h="847861">
                  <a:moveTo>
                    <a:pt x="255166" y="490108"/>
                  </a:moveTo>
                  <a:cubicBezTo>
                    <a:pt x="254385" y="445689"/>
                    <a:pt x="246963" y="401630"/>
                    <a:pt x="233147" y="359402"/>
                  </a:cubicBezTo>
                  <a:cubicBezTo>
                    <a:pt x="233147" y="359402"/>
                    <a:pt x="223153" y="333168"/>
                    <a:pt x="192077" y="268127"/>
                  </a:cubicBezTo>
                  <a:cubicBezTo>
                    <a:pt x="196840" y="225027"/>
                    <a:pt x="239706" y="141403"/>
                    <a:pt x="255166" y="111967"/>
                  </a:cubicBezTo>
                  <a:lnTo>
                    <a:pt x="236270" y="77143"/>
                  </a:lnTo>
                  <a:cubicBezTo>
                    <a:pt x="225983" y="52248"/>
                    <a:pt x="218139" y="26412"/>
                    <a:pt x="212846" y="0"/>
                  </a:cubicBezTo>
                  <a:cubicBezTo>
                    <a:pt x="203711" y="37166"/>
                    <a:pt x="202306" y="165764"/>
                    <a:pt x="126958" y="177632"/>
                  </a:cubicBezTo>
                  <a:cubicBezTo>
                    <a:pt x="77455" y="185440"/>
                    <a:pt x="30685" y="126021"/>
                    <a:pt x="30685" y="126021"/>
                  </a:cubicBezTo>
                  <a:cubicBezTo>
                    <a:pt x="30685" y="126021"/>
                    <a:pt x="13117" y="134454"/>
                    <a:pt x="0" y="142652"/>
                  </a:cubicBezTo>
                  <a:cubicBezTo>
                    <a:pt x="26108" y="195631"/>
                    <a:pt x="58256" y="245413"/>
                    <a:pt x="95804" y="291004"/>
                  </a:cubicBezTo>
                  <a:cubicBezTo>
                    <a:pt x="92837" y="293893"/>
                    <a:pt x="80188" y="306620"/>
                    <a:pt x="64572" y="323720"/>
                  </a:cubicBezTo>
                  <a:cubicBezTo>
                    <a:pt x="64572" y="323720"/>
                    <a:pt x="84483" y="347690"/>
                    <a:pt x="89402" y="365571"/>
                  </a:cubicBezTo>
                  <a:cubicBezTo>
                    <a:pt x="94321" y="383451"/>
                    <a:pt x="71287" y="654467"/>
                    <a:pt x="10775" y="716931"/>
                  </a:cubicBezTo>
                  <a:cubicBezTo>
                    <a:pt x="18583" y="742385"/>
                    <a:pt x="28265" y="770260"/>
                    <a:pt x="39196" y="800789"/>
                  </a:cubicBezTo>
                  <a:cubicBezTo>
                    <a:pt x="43355" y="814422"/>
                    <a:pt x="52963" y="825720"/>
                    <a:pt x="65743" y="832021"/>
                  </a:cubicBezTo>
                  <a:cubicBezTo>
                    <a:pt x="102207" y="853103"/>
                    <a:pt x="161079" y="853181"/>
                    <a:pt x="197308" y="832021"/>
                  </a:cubicBezTo>
                  <a:cubicBezTo>
                    <a:pt x="213861" y="822495"/>
                    <a:pt x="222763" y="810159"/>
                    <a:pt x="224090" y="797666"/>
                  </a:cubicBezTo>
                  <a:lnTo>
                    <a:pt x="224090" y="797666"/>
                  </a:lnTo>
                  <a:cubicBezTo>
                    <a:pt x="224090" y="797666"/>
                    <a:pt x="259226" y="642130"/>
                    <a:pt x="255166" y="490108"/>
                  </a:cubicBezTo>
                  <a:close/>
                </a:path>
              </a:pathLst>
            </a:custGeom>
            <a:solidFill>
              <a:srgbClr val="23ADA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06AF373-C025-4F38-B7E5-37F7E79DBF5F}"/>
                </a:ext>
              </a:extLst>
            </p:cNvPr>
            <p:cNvSpPr/>
            <p:nvPr/>
          </p:nvSpPr>
          <p:spPr>
            <a:xfrm flipH="1">
              <a:off x="2612417" y="2808567"/>
              <a:ext cx="137324" cy="89047"/>
            </a:xfrm>
            <a:custGeom>
              <a:avLst/>
              <a:gdLst>
                <a:gd name="connsiteX0" fmla="*/ 0 w 137324"/>
                <a:gd name="connsiteY0" fmla="*/ 54656 h 89047"/>
                <a:gd name="connsiteX1" fmla="*/ 117511 w 137324"/>
                <a:gd name="connsiteY1" fmla="*/ 0 h 89047"/>
                <a:gd name="connsiteX2" fmla="*/ 126412 w 137324"/>
                <a:gd name="connsiteY2" fmla="*/ 85341 h 89047"/>
                <a:gd name="connsiteX3" fmla="*/ 0 w 137324"/>
                <a:gd name="connsiteY3" fmla="*/ 54656 h 8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24" h="89047">
                  <a:moveTo>
                    <a:pt x="0" y="54656"/>
                  </a:moveTo>
                  <a:cubicBezTo>
                    <a:pt x="0" y="54656"/>
                    <a:pt x="40055" y="19520"/>
                    <a:pt x="117511" y="0"/>
                  </a:cubicBezTo>
                  <a:cubicBezTo>
                    <a:pt x="117511" y="0"/>
                    <a:pt x="155379" y="67461"/>
                    <a:pt x="126412" y="85341"/>
                  </a:cubicBezTo>
                  <a:cubicBezTo>
                    <a:pt x="110561" y="94867"/>
                    <a:pt x="63948" y="86513"/>
                    <a:pt x="0" y="54656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B715C9C1-AD1E-4C1A-ADD6-532B4123E61B}"/>
                </a:ext>
              </a:extLst>
            </p:cNvPr>
            <p:cNvSpPr/>
            <p:nvPr/>
          </p:nvSpPr>
          <p:spPr>
            <a:xfrm flipH="1">
              <a:off x="2644957" y="2748523"/>
              <a:ext cx="99787" cy="104522"/>
            </a:xfrm>
            <a:custGeom>
              <a:avLst/>
              <a:gdLst>
                <a:gd name="connsiteX0" fmla="*/ 0 w 99787"/>
                <a:gd name="connsiteY0" fmla="*/ 8589 h 104522"/>
                <a:gd name="connsiteX1" fmla="*/ 32403 w 99787"/>
                <a:gd name="connsiteY1" fmla="*/ 103925 h 104522"/>
                <a:gd name="connsiteX2" fmla="*/ 99786 w 99787"/>
                <a:gd name="connsiteY2" fmla="*/ 97756 h 104522"/>
                <a:gd name="connsiteX3" fmla="*/ 99786 w 99787"/>
                <a:gd name="connsiteY3" fmla="*/ 0 h 10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87" h="104522">
                  <a:moveTo>
                    <a:pt x="0" y="8589"/>
                  </a:moveTo>
                  <a:cubicBezTo>
                    <a:pt x="13188" y="39505"/>
                    <a:pt x="24021" y="71375"/>
                    <a:pt x="32403" y="103925"/>
                  </a:cubicBezTo>
                  <a:cubicBezTo>
                    <a:pt x="32403" y="103925"/>
                    <a:pt x="100099" y="107360"/>
                    <a:pt x="99786" y="97756"/>
                  </a:cubicBezTo>
                  <a:lnTo>
                    <a:pt x="99786" y="0"/>
                  </a:ln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DD46B2C9-B290-4F5C-925A-6310D5D3E24F}"/>
                </a:ext>
              </a:extLst>
            </p:cNvPr>
            <p:cNvSpPr/>
            <p:nvPr/>
          </p:nvSpPr>
          <p:spPr>
            <a:xfrm flipH="1">
              <a:off x="2562029" y="2623986"/>
              <a:ext cx="18044" cy="78080"/>
            </a:xfrm>
            <a:custGeom>
              <a:avLst/>
              <a:gdLst>
                <a:gd name="connsiteX0" fmla="*/ 17646 w 18044"/>
                <a:gd name="connsiteY0" fmla="*/ 0 h 78080"/>
                <a:gd name="connsiteX1" fmla="*/ 4919 w 18044"/>
                <a:gd name="connsiteY1" fmla="*/ 78080 h 78080"/>
                <a:gd name="connsiteX2" fmla="*/ 0 w 18044"/>
                <a:gd name="connsiteY2" fmla="*/ 8667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" h="78080">
                  <a:moveTo>
                    <a:pt x="17646" y="0"/>
                  </a:moveTo>
                  <a:cubicBezTo>
                    <a:pt x="17646" y="0"/>
                    <a:pt x="21550" y="55671"/>
                    <a:pt x="4919" y="78080"/>
                  </a:cubicBezTo>
                  <a:lnTo>
                    <a:pt x="0" y="8667"/>
                  </a:ln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50A52D3C-6190-41A9-BCF0-D192323368D5}"/>
                </a:ext>
              </a:extLst>
            </p:cNvPr>
            <p:cNvSpPr/>
            <p:nvPr/>
          </p:nvSpPr>
          <p:spPr>
            <a:xfrm flipH="1">
              <a:off x="2647582" y="2577222"/>
              <a:ext cx="186720" cy="419127"/>
            </a:xfrm>
            <a:custGeom>
              <a:avLst/>
              <a:gdLst>
                <a:gd name="connsiteX0" fmla="*/ 23424 w 186720"/>
                <a:gd name="connsiteY0" fmla="*/ 8192 h 419127"/>
                <a:gd name="connsiteX1" fmla="*/ 0 w 186720"/>
                <a:gd name="connsiteY1" fmla="*/ 82525 h 419127"/>
                <a:gd name="connsiteX2" fmla="*/ 14991 w 186720"/>
                <a:gd name="connsiteY2" fmla="*/ 139289 h 419127"/>
                <a:gd name="connsiteX3" fmla="*/ 312 w 186720"/>
                <a:gd name="connsiteY3" fmla="*/ 186839 h 419127"/>
                <a:gd name="connsiteX4" fmla="*/ 26547 w 186720"/>
                <a:gd name="connsiteY4" fmla="*/ 235874 h 419127"/>
                <a:gd name="connsiteX5" fmla="*/ 15226 w 186720"/>
                <a:gd name="connsiteY5" fmla="*/ 274289 h 419127"/>
                <a:gd name="connsiteX6" fmla="*/ 71131 w 186720"/>
                <a:gd name="connsiteY6" fmla="*/ 332537 h 419127"/>
                <a:gd name="connsiteX7" fmla="*/ 94555 w 186720"/>
                <a:gd name="connsiteY7" fmla="*/ 377433 h 419127"/>
                <a:gd name="connsiteX8" fmla="*/ 182707 w 186720"/>
                <a:gd name="connsiteY8" fmla="*/ 419128 h 419127"/>
                <a:gd name="connsiteX9" fmla="*/ 165608 w 186720"/>
                <a:gd name="connsiteY9" fmla="*/ 355805 h 419127"/>
                <a:gd name="connsiteX10" fmla="*/ 141559 w 186720"/>
                <a:gd name="connsiteY10" fmla="*/ 293341 h 419127"/>
                <a:gd name="connsiteX11" fmla="*/ 120243 w 186720"/>
                <a:gd name="connsiteY11" fmla="*/ 268745 h 419127"/>
                <a:gd name="connsiteX12" fmla="*/ 122195 w 186720"/>
                <a:gd name="connsiteY12" fmla="*/ 234781 h 419127"/>
                <a:gd name="connsiteX13" fmla="*/ 102207 w 186720"/>
                <a:gd name="connsiteY13" fmla="*/ 183560 h 419127"/>
                <a:gd name="connsiteX14" fmla="*/ 102753 w 186720"/>
                <a:gd name="connsiteY14" fmla="*/ 137259 h 419127"/>
                <a:gd name="connsiteX15" fmla="*/ 23424 w 186720"/>
                <a:gd name="connsiteY15" fmla="*/ 8192 h 41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720" h="419127">
                  <a:moveTo>
                    <a:pt x="23424" y="8192"/>
                  </a:moveTo>
                  <a:cubicBezTo>
                    <a:pt x="18193" y="47232"/>
                    <a:pt x="0" y="54181"/>
                    <a:pt x="0" y="82525"/>
                  </a:cubicBezTo>
                  <a:cubicBezTo>
                    <a:pt x="0" y="110868"/>
                    <a:pt x="14991" y="111883"/>
                    <a:pt x="14991" y="139289"/>
                  </a:cubicBezTo>
                  <a:cubicBezTo>
                    <a:pt x="14991" y="162713"/>
                    <a:pt x="-1796" y="166773"/>
                    <a:pt x="312" y="186839"/>
                  </a:cubicBezTo>
                  <a:cubicBezTo>
                    <a:pt x="2420" y="206906"/>
                    <a:pt x="26547" y="210263"/>
                    <a:pt x="26547" y="235874"/>
                  </a:cubicBezTo>
                  <a:cubicBezTo>
                    <a:pt x="26547" y="251490"/>
                    <a:pt x="15226" y="261406"/>
                    <a:pt x="15226" y="274289"/>
                  </a:cubicBezTo>
                  <a:cubicBezTo>
                    <a:pt x="15226" y="312626"/>
                    <a:pt x="39899" y="301773"/>
                    <a:pt x="71131" y="332537"/>
                  </a:cubicBezTo>
                  <a:cubicBezTo>
                    <a:pt x="86747" y="349402"/>
                    <a:pt x="73083" y="365409"/>
                    <a:pt x="94555" y="377433"/>
                  </a:cubicBezTo>
                  <a:cubicBezTo>
                    <a:pt x="116027" y="389457"/>
                    <a:pt x="160064" y="373841"/>
                    <a:pt x="182707" y="419128"/>
                  </a:cubicBezTo>
                  <a:cubicBezTo>
                    <a:pt x="182707" y="398046"/>
                    <a:pt x="199104" y="369937"/>
                    <a:pt x="165608" y="355805"/>
                  </a:cubicBezTo>
                  <a:cubicBezTo>
                    <a:pt x="136562" y="335270"/>
                    <a:pt x="148430" y="316765"/>
                    <a:pt x="141559" y="293341"/>
                  </a:cubicBezTo>
                  <a:cubicBezTo>
                    <a:pt x="135469" y="272181"/>
                    <a:pt x="124772" y="281238"/>
                    <a:pt x="120243" y="268745"/>
                  </a:cubicBezTo>
                  <a:cubicBezTo>
                    <a:pt x="115715" y="256253"/>
                    <a:pt x="125162" y="252192"/>
                    <a:pt x="122195" y="234781"/>
                  </a:cubicBezTo>
                  <a:cubicBezTo>
                    <a:pt x="116808" y="203549"/>
                    <a:pt x="101816" y="203080"/>
                    <a:pt x="102207" y="183560"/>
                  </a:cubicBezTo>
                  <a:cubicBezTo>
                    <a:pt x="102207" y="169115"/>
                    <a:pt x="102753" y="153265"/>
                    <a:pt x="102753" y="137259"/>
                  </a:cubicBezTo>
                  <a:cubicBezTo>
                    <a:pt x="102753" y="76903"/>
                    <a:pt x="28655" y="-30457"/>
                    <a:pt x="23424" y="8192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CFCA9EEE-1C25-44FD-AE57-4FDF0E6C7571}"/>
                </a:ext>
              </a:extLst>
            </p:cNvPr>
            <p:cNvSpPr/>
            <p:nvPr/>
          </p:nvSpPr>
          <p:spPr>
            <a:xfrm flipH="1">
              <a:off x="2732018" y="2704112"/>
              <a:ext cx="43802" cy="56307"/>
            </a:xfrm>
            <a:custGeom>
              <a:avLst/>
              <a:gdLst>
                <a:gd name="connsiteX0" fmla="*/ 43803 w 43802"/>
                <a:gd name="connsiteY0" fmla="*/ 40820 h 56307"/>
                <a:gd name="connsiteX1" fmla="*/ 21862 w 43802"/>
                <a:gd name="connsiteY1" fmla="*/ 53313 h 56307"/>
                <a:gd name="connsiteX2" fmla="*/ 0 w 43802"/>
                <a:gd name="connsiteY2" fmla="*/ 15522 h 56307"/>
                <a:gd name="connsiteX3" fmla="*/ 21862 w 43802"/>
                <a:gd name="connsiteY3" fmla="*/ 3029 h 56307"/>
                <a:gd name="connsiteX4" fmla="*/ 43803 w 43802"/>
                <a:gd name="connsiteY4" fmla="*/ 40820 h 56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307">
                  <a:moveTo>
                    <a:pt x="43803" y="40820"/>
                  </a:moveTo>
                  <a:cubicBezTo>
                    <a:pt x="43803" y="54718"/>
                    <a:pt x="33965" y="60262"/>
                    <a:pt x="21862" y="53313"/>
                  </a:cubicBezTo>
                  <a:cubicBezTo>
                    <a:pt x="8967" y="44921"/>
                    <a:pt x="846" y="30884"/>
                    <a:pt x="0" y="15522"/>
                  </a:cubicBezTo>
                  <a:cubicBezTo>
                    <a:pt x="0" y="1624"/>
                    <a:pt x="9760" y="-3998"/>
                    <a:pt x="21862" y="3029"/>
                  </a:cubicBezTo>
                  <a:cubicBezTo>
                    <a:pt x="34788" y="11403"/>
                    <a:pt x="42939" y="25444"/>
                    <a:pt x="43803" y="40820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C83B8F4-AFE0-4363-A496-DA963657AAF4}"/>
                </a:ext>
              </a:extLst>
            </p:cNvPr>
            <p:cNvSpPr/>
            <p:nvPr/>
          </p:nvSpPr>
          <p:spPr>
            <a:xfrm flipH="1">
              <a:off x="2569579" y="2610067"/>
              <a:ext cx="173682" cy="222958"/>
            </a:xfrm>
            <a:custGeom>
              <a:avLst/>
              <a:gdLst>
                <a:gd name="connsiteX0" fmla="*/ 171074 w 173682"/>
                <a:gd name="connsiteY0" fmla="*/ 2129 h 222958"/>
                <a:gd name="connsiteX1" fmla="*/ 144526 w 173682"/>
                <a:gd name="connsiteY1" fmla="*/ 489 h 222958"/>
                <a:gd name="connsiteX2" fmla="*/ 144526 w 173682"/>
                <a:gd name="connsiteY2" fmla="*/ 489 h 222958"/>
                <a:gd name="connsiteX3" fmla="*/ 7183 w 173682"/>
                <a:gd name="connsiteY3" fmla="*/ 13607 h 222958"/>
                <a:gd name="connsiteX4" fmla="*/ 0 w 173682"/>
                <a:gd name="connsiteY4" fmla="*/ 119795 h 222958"/>
                <a:gd name="connsiteX5" fmla="*/ 2655 w 173682"/>
                <a:gd name="connsiteY5" fmla="*/ 146499 h 222958"/>
                <a:gd name="connsiteX6" fmla="*/ 117276 w 173682"/>
                <a:gd name="connsiteY6" fmla="*/ 221065 h 222958"/>
                <a:gd name="connsiteX7" fmla="*/ 173026 w 173682"/>
                <a:gd name="connsiteY7" fmla="*/ 86221 h 222958"/>
                <a:gd name="connsiteX8" fmla="*/ 171074 w 173682"/>
                <a:gd name="connsiteY8" fmla="*/ 2129 h 22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82" h="222958">
                  <a:moveTo>
                    <a:pt x="171074" y="2129"/>
                  </a:moveTo>
                  <a:cubicBezTo>
                    <a:pt x="162388" y="35"/>
                    <a:pt x="153403" y="-520"/>
                    <a:pt x="144526" y="489"/>
                  </a:cubicBezTo>
                  <a:lnTo>
                    <a:pt x="144526" y="489"/>
                  </a:lnTo>
                  <a:lnTo>
                    <a:pt x="7183" y="13607"/>
                  </a:lnTo>
                  <a:lnTo>
                    <a:pt x="0" y="119795"/>
                  </a:lnTo>
                  <a:lnTo>
                    <a:pt x="2655" y="146499"/>
                  </a:lnTo>
                  <a:cubicBezTo>
                    <a:pt x="25064" y="191082"/>
                    <a:pt x="89948" y="232387"/>
                    <a:pt x="117276" y="221065"/>
                  </a:cubicBezTo>
                  <a:cubicBezTo>
                    <a:pt x="159596" y="202951"/>
                    <a:pt x="167794" y="157274"/>
                    <a:pt x="173026" y="86221"/>
                  </a:cubicBezTo>
                  <a:cubicBezTo>
                    <a:pt x="174337" y="58179"/>
                    <a:pt x="173685" y="30080"/>
                    <a:pt x="171074" y="2129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272188E4-054A-4548-B390-ED16A06BE334}"/>
                </a:ext>
              </a:extLst>
            </p:cNvPr>
            <p:cNvSpPr/>
            <p:nvPr/>
          </p:nvSpPr>
          <p:spPr>
            <a:xfrm flipH="1">
              <a:off x="2533834" y="2502911"/>
              <a:ext cx="278499" cy="224440"/>
            </a:xfrm>
            <a:custGeom>
              <a:avLst/>
              <a:gdLst>
                <a:gd name="connsiteX0" fmla="*/ 69932 w 278499"/>
                <a:gd name="connsiteY0" fmla="*/ 215083 h 224440"/>
                <a:gd name="connsiteX1" fmla="*/ 86719 w 278499"/>
                <a:gd name="connsiteY1" fmla="*/ 213209 h 224440"/>
                <a:gd name="connsiteX2" fmla="*/ 107254 w 278499"/>
                <a:gd name="connsiteY2" fmla="*/ 171202 h 224440"/>
                <a:gd name="connsiteX3" fmla="*/ 274423 w 278499"/>
                <a:gd name="connsiteY3" fmla="*/ 116546 h 224440"/>
                <a:gd name="connsiteX4" fmla="*/ 33468 w 278499"/>
                <a:gd name="connsiteY4" fmla="*/ 25973 h 224440"/>
                <a:gd name="connsiteX5" fmla="*/ 42526 w 278499"/>
                <a:gd name="connsiteY5" fmla="*/ 202434 h 224440"/>
                <a:gd name="connsiteX6" fmla="*/ 69932 w 278499"/>
                <a:gd name="connsiteY6" fmla="*/ 215083 h 22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499" h="224440">
                  <a:moveTo>
                    <a:pt x="69932" y="215083"/>
                  </a:moveTo>
                  <a:cubicBezTo>
                    <a:pt x="69932" y="215083"/>
                    <a:pt x="85548" y="237336"/>
                    <a:pt x="86719" y="213209"/>
                  </a:cubicBezTo>
                  <a:cubicBezTo>
                    <a:pt x="87734" y="194080"/>
                    <a:pt x="89686" y="178073"/>
                    <a:pt x="107254" y="171202"/>
                  </a:cubicBezTo>
                  <a:cubicBezTo>
                    <a:pt x="111158" y="169719"/>
                    <a:pt x="237179" y="150042"/>
                    <a:pt x="274423" y="116546"/>
                  </a:cubicBezTo>
                  <a:cubicBezTo>
                    <a:pt x="306749" y="87656"/>
                    <a:pt x="139423" y="-58509"/>
                    <a:pt x="33468" y="25973"/>
                  </a:cubicBezTo>
                  <a:cubicBezTo>
                    <a:pt x="-46798" y="90077"/>
                    <a:pt x="42526" y="202434"/>
                    <a:pt x="42526" y="202434"/>
                  </a:cubicBezTo>
                  <a:cubicBezTo>
                    <a:pt x="42526" y="202434"/>
                    <a:pt x="55409" y="195641"/>
                    <a:pt x="69932" y="215083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2C66FE45-0778-4DB5-8D4E-DDED16F45EE7}"/>
                </a:ext>
              </a:extLst>
            </p:cNvPr>
            <p:cNvSpPr/>
            <p:nvPr/>
          </p:nvSpPr>
          <p:spPr>
            <a:xfrm flipH="1">
              <a:off x="2743886" y="2718726"/>
              <a:ext cx="20925" cy="26905"/>
            </a:xfrm>
            <a:custGeom>
              <a:avLst/>
              <a:gdLst>
                <a:gd name="connsiteX0" fmla="*/ 20925 w 20925"/>
                <a:gd name="connsiteY0" fmla="*/ 19490 h 26905"/>
                <a:gd name="connsiteX1" fmla="*/ 10463 w 20925"/>
                <a:gd name="connsiteY1" fmla="*/ 25503 h 26905"/>
                <a:gd name="connsiteX2" fmla="*/ 0 w 20925"/>
                <a:gd name="connsiteY2" fmla="*/ 7388 h 26905"/>
                <a:gd name="connsiteX3" fmla="*/ 10463 w 20925"/>
                <a:gd name="connsiteY3" fmla="*/ 1454 h 26905"/>
                <a:gd name="connsiteX4" fmla="*/ 20925 w 20925"/>
                <a:gd name="connsiteY4" fmla="*/ 19490 h 2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5" h="26905">
                  <a:moveTo>
                    <a:pt x="20925" y="19490"/>
                  </a:moveTo>
                  <a:cubicBezTo>
                    <a:pt x="20925" y="26127"/>
                    <a:pt x="16241" y="28782"/>
                    <a:pt x="10463" y="25503"/>
                  </a:cubicBezTo>
                  <a:cubicBezTo>
                    <a:pt x="4323" y="21443"/>
                    <a:pt x="448" y="14734"/>
                    <a:pt x="0" y="7388"/>
                  </a:cubicBezTo>
                  <a:cubicBezTo>
                    <a:pt x="0" y="751"/>
                    <a:pt x="4685" y="-1904"/>
                    <a:pt x="10463" y="1454"/>
                  </a:cubicBezTo>
                  <a:cubicBezTo>
                    <a:pt x="16582" y="5497"/>
                    <a:pt x="20454" y="12172"/>
                    <a:pt x="20925" y="19490"/>
                  </a:cubicBezTo>
                  <a:close/>
                </a:path>
              </a:pathLst>
            </a:custGeom>
            <a:solidFill>
              <a:srgbClr val="E2A25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F9135D68-FF20-4028-9059-9FE2F9607E04}"/>
                </a:ext>
              </a:extLst>
            </p:cNvPr>
            <p:cNvSpPr/>
            <p:nvPr/>
          </p:nvSpPr>
          <p:spPr>
            <a:xfrm flipH="1">
              <a:off x="2540989" y="2506748"/>
              <a:ext cx="250509" cy="144223"/>
            </a:xfrm>
            <a:custGeom>
              <a:avLst/>
              <a:gdLst>
                <a:gd name="connsiteX0" fmla="*/ 248122 w 250509"/>
                <a:gd name="connsiteY0" fmla="*/ 88114 h 144223"/>
                <a:gd name="connsiteX1" fmla="*/ 120071 w 250509"/>
                <a:gd name="connsiteY1" fmla="*/ 3241 h 144223"/>
                <a:gd name="connsiteX2" fmla="*/ 1779 w 250509"/>
                <a:gd name="connsiteY2" fmla="*/ 44155 h 144223"/>
                <a:gd name="connsiteX3" fmla="*/ 110623 w 250509"/>
                <a:gd name="connsiteY3" fmla="*/ 143707 h 144223"/>
                <a:gd name="connsiteX4" fmla="*/ 140450 w 250509"/>
                <a:gd name="connsiteY4" fmla="*/ 132541 h 144223"/>
                <a:gd name="connsiteX5" fmla="*/ 179490 w 250509"/>
                <a:gd name="connsiteY5" fmla="*/ 134493 h 144223"/>
                <a:gd name="connsiteX6" fmla="*/ 220482 w 250509"/>
                <a:gd name="connsiteY6" fmla="*/ 118018 h 144223"/>
                <a:gd name="connsiteX7" fmla="*/ 248122 w 250509"/>
                <a:gd name="connsiteY7" fmla="*/ 88114 h 144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509" h="144223">
                  <a:moveTo>
                    <a:pt x="248122" y="88114"/>
                  </a:moveTo>
                  <a:cubicBezTo>
                    <a:pt x="217743" y="44611"/>
                    <a:pt x="171971" y="14274"/>
                    <a:pt x="120071" y="3241"/>
                  </a:cubicBezTo>
                  <a:cubicBezTo>
                    <a:pt x="35276" y="-13156"/>
                    <a:pt x="5527" y="37674"/>
                    <a:pt x="1779" y="44155"/>
                  </a:cubicBezTo>
                  <a:cubicBezTo>
                    <a:pt x="-10792" y="65314"/>
                    <a:pt x="45114" y="151671"/>
                    <a:pt x="110623" y="143707"/>
                  </a:cubicBezTo>
                  <a:cubicBezTo>
                    <a:pt x="116245" y="143004"/>
                    <a:pt x="132798" y="131448"/>
                    <a:pt x="140450" y="132541"/>
                  </a:cubicBezTo>
                  <a:cubicBezTo>
                    <a:pt x="153332" y="134805"/>
                    <a:pt x="166446" y="135461"/>
                    <a:pt x="179490" y="134493"/>
                  </a:cubicBezTo>
                  <a:cubicBezTo>
                    <a:pt x="195106" y="132463"/>
                    <a:pt x="207520" y="121922"/>
                    <a:pt x="220482" y="118018"/>
                  </a:cubicBezTo>
                  <a:cubicBezTo>
                    <a:pt x="242500" y="111304"/>
                    <a:pt x="256320" y="101543"/>
                    <a:pt x="248122" y="88114"/>
                  </a:cubicBezTo>
                  <a:close/>
                </a:path>
              </a:pathLst>
            </a:custGeom>
            <a:solidFill>
              <a:srgbClr val="6B331F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CF1B96AB-6DE6-43E4-9C52-6C76919F2453}"/>
                </a:ext>
              </a:extLst>
            </p:cNvPr>
            <p:cNvSpPr/>
            <p:nvPr/>
          </p:nvSpPr>
          <p:spPr>
            <a:xfrm flipH="1">
              <a:off x="2742119" y="2914990"/>
              <a:ext cx="73132" cy="152499"/>
            </a:xfrm>
            <a:custGeom>
              <a:avLst/>
              <a:gdLst>
                <a:gd name="connsiteX0" fmla="*/ 0 w 73132"/>
                <a:gd name="connsiteY0" fmla="*/ 0 h 152499"/>
                <a:gd name="connsiteX1" fmla="*/ 58482 w 73132"/>
                <a:gd name="connsiteY1" fmla="*/ 63479 h 152499"/>
                <a:gd name="connsiteX2" fmla="*/ 65822 w 73132"/>
                <a:gd name="connsiteY2" fmla="*/ 152412 h 152499"/>
                <a:gd name="connsiteX3" fmla="*/ 0 w 73132"/>
                <a:gd name="connsiteY3" fmla="*/ 0 h 1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32" h="152499">
                  <a:moveTo>
                    <a:pt x="0" y="0"/>
                  </a:moveTo>
                  <a:cubicBezTo>
                    <a:pt x="0" y="0"/>
                    <a:pt x="33809" y="10307"/>
                    <a:pt x="58482" y="63479"/>
                  </a:cubicBezTo>
                  <a:cubicBezTo>
                    <a:pt x="80266" y="110327"/>
                    <a:pt x="73317" y="149836"/>
                    <a:pt x="65822" y="152412"/>
                  </a:cubicBezTo>
                  <a:cubicBezTo>
                    <a:pt x="58326" y="154989"/>
                    <a:pt x="11322" y="100177"/>
                    <a:pt x="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0A8FBB23-E612-47DD-BF7A-7F63E9AA2C19}"/>
                </a:ext>
              </a:extLst>
            </p:cNvPr>
            <p:cNvSpPr/>
            <p:nvPr/>
          </p:nvSpPr>
          <p:spPr>
            <a:xfrm flipH="1">
              <a:off x="2776758" y="2914990"/>
              <a:ext cx="197323" cy="203052"/>
            </a:xfrm>
            <a:custGeom>
              <a:avLst/>
              <a:gdLst>
                <a:gd name="connsiteX0" fmla="*/ 158830 w 197323"/>
                <a:gd name="connsiteY0" fmla="*/ 0 h 203052"/>
                <a:gd name="connsiteX1" fmla="*/ 113466 w 197323"/>
                <a:gd name="connsiteY1" fmla="*/ 48019 h 203052"/>
                <a:gd name="connsiteX2" fmla="*/ 2123 w 197323"/>
                <a:gd name="connsiteY2" fmla="*/ 196918 h 203052"/>
                <a:gd name="connsiteX3" fmla="*/ 150476 w 197323"/>
                <a:gd name="connsiteY3" fmla="*/ 126646 h 203052"/>
                <a:gd name="connsiteX4" fmla="*/ 197324 w 197323"/>
                <a:gd name="connsiteY4" fmla="*/ 97912 h 203052"/>
                <a:gd name="connsiteX5" fmla="*/ 158830 w 197323"/>
                <a:gd name="connsiteY5" fmla="*/ 0 h 2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323" h="203052">
                  <a:moveTo>
                    <a:pt x="158830" y="0"/>
                  </a:moveTo>
                  <a:cubicBezTo>
                    <a:pt x="146025" y="10853"/>
                    <a:pt x="137046" y="25376"/>
                    <a:pt x="113466" y="48019"/>
                  </a:cubicBezTo>
                  <a:cubicBezTo>
                    <a:pt x="61933" y="97444"/>
                    <a:pt x="-13649" y="170761"/>
                    <a:pt x="2123" y="196918"/>
                  </a:cubicBezTo>
                  <a:cubicBezTo>
                    <a:pt x="23361" y="217219"/>
                    <a:pt x="71459" y="185440"/>
                    <a:pt x="150476" y="126646"/>
                  </a:cubicBezTo>
                  <a:cubicBezTo>
                    <a:pt x="165034" y="115441"/>
                    <a:pt x="180737" y="105809"/>
                    <a:pt x="197324" y="97912"/>
                  </a:cubicBezTo>
                  <a:cubicBezTo>
                    <a:pt x="197324" y="97912"/>
                    <a:pt x="190218" y="17334"/>
                    <a:pt x="158830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61F76121-496B-48EE-9539-DDAA0A57EC1D}"/>
                </a:ext>
              </a:extLst>
            </p:cNvPr>
            <p:cNvSpPr/>
            <p:nvPr/>
          </p:nvSpPr>
          <p:spPr>
            <a:xfrm flipH="1">
              <a:off x="2564301" y="2631091"/>
              <a:ext cx="163187" cy="63791"/>
            </a:xfrm>
            <a:custGeom>
              <a:avLst/>
              <a:gdLst>
                <a:gd name="connsiteX0" fmla="*/ 1484 w 163187"/>
                <a:gd name="connsiteY0" fmla="*/ 63791 h 63791"/>
                <a:gd name="connsiteX1" fmla="*/ 20379 w 163187"/>
                <a:gd name="connsiteY1" fmla="*/ 50830 h 63791"/>
                <a:gd name="connsiteX2" fmla="*/ 40289 w 163187"/>
                <a:gd name="connsiteY2" fmla="*/ 54968 h 63791"/>
                <a:gd name="connsiteX3" fmla="*/ 79798 w 163187"/>
                <a:gd name="connsiteY3" fmla="*/ 34433 h 63791"/>
                <a:gd name="connsiteX4" fmla="*/ 96195 w 163187"/>
                <a:gd name="connsiteY4" fmla="*/ 36151 h 63791"/>
                <a:gd name="connsiteX5" fmla="*/ 163187 w 163187"/>
                <a:gd name="connsiteY5" fmla="*/ 2186 h 63791"/>
                <a:gd name="connsiteX6" fmla="*/ 159908 w 163187"/>
                <a:gd name="connsiteY6" fmla="*/ 0 h 63791"/>
                <a:gd name="connsiteX7" fmla="*/ 46145 w 163187"/>
                <a:gd name="connsiteY7" fmla="*/ 25844 h 63791"/>
                <a:gd name="connsiteX8" fmla="*/ 0 w 163187"/>
                <a:gd name="connsiteY8" fmla="*/ 59341 h 63791"/>
                <a:gd name="connsiteX9" fmla="*/ 1484 w 163187"/>
                <a:gd name="connsiteY9" fmla="*/ 63791 h 6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187" h="63791">
                  <a:moveTo>
                    <a:pt x="1484" y="63791"/>
                  </a:moveTo>
                  <a:cubicBezTo>
                    <a:pt x="4943" y="56346"/>
                    <a:pt x="12187" y="51377"/>
                    <a:pt x="20379" y="50830"/>
                  </a:cubicBezTo>
                  <a:cubicBezTo>
                    <a:pt x="26903" y="52705"/>
                    <a:pt x="33559" y="54088"/>
                    <a:pt x="40289" y="54968"/>
                  </a:cubicBezTo>
                  <a:cubicBezTo>
                    <a:pt x="59887" y="54968"/>
                    <a:pt x="76128" y="34433"/>
                    <a:pt x="79798" y="34433"/>
                  </a:cubicBezTo>
                  <a:cubicBezTo>
                    <a:pt x="85204" y="35473"/>
                    <a:pt x="90690" y="36048"/>
                    <a:pt x="96195" y="36151"/>
                  </a:cubicBezTo>
                  <a:cubicBezTo>
                    <a:pt x="130081" y="36151"/>
                    <a:pt x="163187" y="8120"/>
                    <a:pt x="163187" y="2186"/>
                  </a:cubicBezTo>
                  <a:cubicBezTo>
                    <a:pt x="163187" y="703"/>
                    <a:pt x="161314" y="0"/>
                    <a:pt x="159908" y="0"/>
                  </a:cubicBezTo>
                  <a:lnTo>
                    <a:pt x="46145" y="25844"/>
                  </a:lnTo>
                  <a:cubicBezTo>
                    <a:pt x="28265" y="31779"/>
                    <a:pt x="6637" y="39196"/>
                    <a:pt x="0" y="59341"/>
                  </a:cubicBezTo>
                  <a:cubicBezTo>
                    <a:pt x="0" y="60824"/>
                    <a:pt x="0" y="63011"/>
                    <a:pt x="1484" y="63791"/>
                  </a:cubicBezTo>
                  <a:close/>
                </a:path>
              </a:pathLst>
            </a:custGeom>
            <a:solidFill>
              <a:srgbClr val="5B2D19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94C24800-6C3F-4412-9280-2655E85C19CC}"/>
                </a:ext>
              </a:extLst>
            </p:cNvPr>
            <p:cNvSpPr/>
            <p:nvPr/>
          </p:nvSpPr>
          <p:spPr>
            <a:xfrm rot="15518677" flipH="1">
              <a:off x="2749611" y="3110163"/>
              <a:ext cx="264022" cy="247550"/>
            </a:xfrm>
            <a:custGeom>
              <a:avLst/>
              <a:gdLst>
                <a:gd name="connsiteX0" fmla="*/ 243565 w 264022"/>
                <a:gd name="connsiteY0" fmla="*/ 8548 h 247550"/>
                <a:gd name="connsiteX1" fmla="*/ 424 w 264022"/>
                <a:gd name="connsiteY1" fmla="*/ 237479 h 247550"/>
                <a:gd name="connsiteX2" fmla="*/ 5655 w 264022"/>
                <a:gd name="connsiteY2" fmla="*/ 244662 h 247550"/>
                <a:gd name="connsiteX3" fmla="*/ 264022 w 264022"/>
                <a:gd name="connsiteY3" fmla="*/ 18230 h 247550"/>
                <a:gd name="connsiteX4" fmla="*/ 260118 w 264022"/>
                <a:gd name="connsiteY4" fmla="*/ 662 h 247550"/>
                <a:gd name="connsiteX5" fmla="*/ 243565 w 264022"/>
                <a:gd name="connsiteY5" fmla="*/ 8548 h 24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022" h="247550">
                  <a:moveTo>
                    <a:pt x="243565" y="8548"/>
                  </a:moveTo>
                  <a:cubicBezTo>
                    <a:pt x="205150" y="33768"/>
                    <a:pt x="-10820" y="172672"/>
                    <a:pt x="424" y="237479"/>
                  </a:cubicBezTo>
                  <a:cubicBezTo>
                    <a:pt x="971" y="240550"/>
                    <a:pt x="2900" y="243199"/>
                    <a:pt x="5655" y="244662"/>
                  </a:cubicBezTo>
                  <a:cubicBezTo>
                    <a:pt x="64684" y="275894"/>
                    <a:pt x="211240" y="44153"/>
                    <a:pt x="264022" y="18230"/>
                  </a:cubicBezTo>
                  <a:lnTo>
                    <a:pt x="260118" y="662"/>
                  </a:lnTo>
                  <a:cubicBezTo>
                    <a:pt x="256839" y="-2461"/>
                    <a:pt x="247469" y="6362"/>
                    <a:pt x="243565" y="8548"/>
                  </a:cubicBezTo>
                  <a:close/>
                </a:path>
              </a:pathLst>
            </a:custGeom>
            <a:solidFill>
              <a:srgbClr val="FFC37B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C8A4C379-0A3C-4081-9CAE-7475F641EA3A}"/>
                </a:ext>
              </a:extLst>
            </p:cNvPr>
            <p:cNvSpPr/>
            <p:nvPr/>
          </p:nvSpPr>
          <p:spPr>
            <a:xfrm rot="20176943" flipH="1">
              <a:off x="2603044" y="3078820"/>
              <a:ext cx="72127" cy="117749"/>
            </a:xfrm>
            <a:custGeom>
              <a:avLst/>
              <a:gdLst>
                <a:gd name="connsiteX0" fmla="*/ 141403 w 152958"/>
                <a:gd name="connsiteY0" fmla="*/ 22721 h 133516"/>
                <a:gd name="connsiteX1" fmla="*/ 145541 w 152958"/>
                <a:gd name="connsiteY1" fmla="*/ 0 h 133516"/>
                <a:gd name="connsiteX2" fmla="*/ 0 w 152958"/>
                <a:gd name="connsiteY2" fmla="*/ 84092 h 133516"/>
                <a:gd name="connsiteX3" fmla="*/ 5466 w 152958"/>
                <a:gd name="connsiteY3" fmla="*/ 104081 h 133516"/>
                <a:gd name="connsiteX4" fmla="*/ 5466 w 152958"/>
                <a:gd name="connsiteY4" fmla="*/ 133517 h 133516"/>
                <a:gd name="connsiteX5" fmla="*/ 152959 w 152958"/>
                <a:gd name="connsiteY5" fmla="*/ 48332 h 133516"/>
                <a:gd name="connsiteX6" fmla="*/ 141403 w 152958"/>
                <a:gd name="connsiteY6" fmla="*/ 22721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958" h="133516">
                  <a:moveTo>
                    <a:pt x="141403" y="22721"/>
                  </a:moveTo>
                  <a:lnTo>
                    <a:pt x="145541" y="0"/>
                  </a:lnTo>
                  <a:lnTo>
                    <a:pt x="0" y="84092"/>
                  </a:lnTo>
                  <a:lnTo>
                    <a:pt x="5466" y="104081"/>
                  </a:lnTo>
                  <a:lnTo>
                    <a:pt x="5466" y="133517"/>
                  </a:lnTo>
                  <a:lnTo>
                    <a:pt x="152959" y="48332"/>
                  </a:lnTo>
                  <a:cubicBezTo>
                    <a:pt x="149289" y="39899"/>
                    <a:pt x="145151" y="31466"/>
                    <a:pt x="141403" y="22721"/>
                  </a:cubicBezTo>
                  <a:close/>
                </a:path>
              </a:pathLst>
            </a:custGeom>
            <a:solidFill>
              <a:srgbClr val="31363A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718" name="Group 717">
              <a:extLst>
                <a:ext uri="{FF2B5EF4-FFF2-40B4-BE49-F238E27FC236}">
                  <a16:creationId xmlns:a16="http://schemas.microsoft.com/office/drawing/2014/main" id="{E07C70A5-3ABE-42FD-A423-9E229F70C268}"/>
                </a:ext>
              </a:extLst>
            </p:cNvPr>
            <p:cNvGrpSpPr/>
            <p:nvPr/>
          </p:nvGrpSpPr>
          <p:grpSpPr>
            <a:xfrm flipH="1">
              <a:off x="2722504" y="3325185"/>
              <a:ext cx="76804" cy="56386"/>
              <a:chOff x="6565385" y="2711075"/>
              <a:chExt cx="76804" cy="56386"/>
            </a:xfrm>
          </p:grpSpPr>
          <p:sp>
            <p:nvSpPr>
              <p:cNvPr id="720" name="Freeform: Shape 719">
                <a:extLst>
                  <a:ext uri="{FF2B5EF4-FFF2-40B4-BE49-F238E27FC236}">
                    <a16:creationId xmlns:a16="http://schemas.microsoft.com/office/drawing/2014/main" id="{79A9147C-898F-4E5D-AE17-36193AD46E8D}"/>
                  </a:ext>
                </a:extLst>
              </p:cNvPr>
              <p:cNvSpPr/>
              <p:nvPr/>
            </p:nvSpPr>
            <p:spPr>
              <a:xfrm>
                <a:off x="6565385" y="2711075"/>
                <a:ext cx="76804" cy="56386"/>
              </a:xfrm>
              <a:custGeom>
                <a:avLst/>
                <a:gdLst>
                  <a:gd name="connsiteX0" fmla="*/ 0 w 76804"/>
                  <a:gd name="connsiteY0" fmla="*/ 39040 h 56386"/>
                  <a:gd name="connsiteX1" fmla="*/ 43334 w 76804"/>
                  <a:gd name="connsiteY1" fmla="*/ 0 h 56386"/>
                  <a:gd name="connsiteX2" fmla="*/ 76128 w 76804"/>
                  <a:gd name="connsiteY2" fmla="*/ 10853 h 56386"/>
                  <a:gd name="connsiteX3" fmla="*/ 73395 w 76804"/>
                  <a:gd name="connsiteY3" fmla="*/ 23658 h 56386"/>
                  <a:gd name="connsiteX4" fmla="*/ 74723 w 76804"/>
                  <a:gd name="connsiteY4" fmla="*/ 32169 h 56386"/>
                  <a:gd name="connsiteX5" fmla="*/ 68945 w 76804"/>
                  <a:gd name="connsiteY5" fmla="*/ 34746 h 56386"/>
                  <a:gd name="connsiteX6" fmla="*/ 67071 w 76804"/>
                  <a:gd name="connsiteY6" fmla="*/ 39587 h 56386"/>
                  <a:gd name="connsiteX7" fmla="*/ 60746 w 76804"/>
                  <a:gd name="connsiteY7" fmla="*/ 40836 h 56386"/>
                  <a:gd name="connsiteX8" fmla="*/ 59029 w 76804"/>
                  <a:gd name="connsiteY8" fmla="*/ 45208 h 56386"/>
                  <a:gd name="connsiteX9" fmla="*/ 46770 w 76804"/>
                  <a:gd name="connsiteY9" fmla="*/ 47238 h 56386"/>
                  <a:gd name="connsiteX10" fmla="*/ 40367 w 76804"/>
                  <a:gd name="connsiteY10" fmla="*/ 41539 h 56386"/>
                  <a:gd name="connsiteX11" fmla="*/ 2655 w 76804"/>
                  <a:gd name="connsiteY11" fmla="*/ 56061 h 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804" h="56386">
                    <a:moveTo>
                      <a:pt x="0" y="39040"/>
                    </a:moveTo>
                    <a:cubicBezTo>
                      <a:pt x="0" y="39040"/>
                      <a:pt x="31232" y="1327"/>
                      <a:pt x="43334" y="0"/>
                    </a:cubicBezTo>
                    <a:cubicBezTo>
                      <a:pt x="54537" y="2737"/>
                      <a:pt x="65504" y="6367"/>
                      <a:pt x="76128" y="10853"/>
                    </a:cubicBezTo>
                    <a:cubicBezTo>
                      <a:pt x="78627" y="13586"/>
                      <a:pt x="73395" y="23658"/>
                      <a:pt x="73395" y="23658"/>
                    </a:cubicBezTo>
                    <a:cubicBezTo>
                      <a:pt x="73395" y="23658"/>
                      <a:pt x="77924" y="28655"/>
                      <a:pt x="74723" y="32169"/>
                    </a:cubicBezTo>
                    <a:cubicBezTo>
                      <a:pt x="73246" y="33805"/>
                      <a:pt x="71148" y="34740"/>
                      <a:pt x="68945" y="34746"/>
                    </a:cubicBezTo>
                    <a:cubicBezTo>
                      <a:pt x="68945" y="34746"/>
                      <a:pt x="70428" y="37244"/>
                      <a:pt x="67071" y="39587"/>
                    </a:cubicBezTo>
                    <a:cubicBezTo>
                      <a:pt x="65273" y="40967"/>
                      <a:pt x="62934" y="41429"/>
                      <a:pt x="60746" y="40836"/>
                    </a:cubicBezTo>
                    <a:cubicBezTo>
                      <a:pt x="61137" y="42508"/>
                      <a:pt x="60453" y="44249"/>
                      <a:pt x="59029" y="45208"/>
                    </a:cubicBezTo>
                    <a:cubicBezTo>
                      <a:pt x="55271" y="47197"/>
                      <a:pt x="50968" y="47909"/>
                      <a:pt x="46770" y="47238"/>
                    </a:cubicBezTo>
                    <a:cubicBezTo>
                      <a:pt x="44231" y="45849"/>
                      <a:pt x="42041" y="43900"/>
                      <a:pt x="40367" y="41539"/>
                    </a:cubicBezTo>
                    <a:cubicBezTo>
                      <a:pt x="26391" y="51533"/>
                      <a:pt x="9135" y="57935"/>
                      <a:pt x="2655" y="56061"/>
                    </a:cubicBezTo>
                    <a:close/>
                  </a:path>
                </a:pathLst>
              </a:custGeom>
              <a:solidFill>
                <a:srgbClr val="FFC37B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21" name="Freeform: Shape 720">
                <a:extLst>
                  <a:ext uri="{FF2B5EF4-FFF2-40B4-BE49-F238E27FC236}">
                    <a16:creationId xmlns:a16="http://schemas.microsoft.com/office/drawing/2014/main" id="{A63F3AE4-5811-4EE2-9FE3-AF9488DECE1F}"/>
                  </a:ext>
                </a:extLst>
              </p:cNvPr>
              <p:cNvSpPr/>
              <p:nvPr/>
            </p:nvSpPr>
            <p:spPr>
              <a:xfrm>
                <a:off x="6623164" y="2717478"/>
                <a:ext cx="15616" cy="17021"/>
              </a:xfrm>
              <a:custGeom>
                <a:avLst/>
                <a:gdLst>
                  <a:gd name="connsiteX0" fmla="*/ 15616 w 15616"/>
                  <a:gd name="connsiteY0" fmla="*/ 17021 h 17021"/>
                  <a:gd name="connsiteX1" fmla="*/ 0 w 15616"/>
                  <a:gd name="connsiteY1" fmla="*/ 0 h 17021"/>
                  <a:gd name="connsiteX2" fmla="*/ 4216 w 15616"/>
                  <a:gd name="connsiteY2" fmla="*/ 3826 h 17021"/>
                  <a:gd name="connsiteX3" fmla="*/ 10228 w 15616"/>
                  <a:gd name="connsiteY3" fmla="*/ 7027 h 17021"/>
                  <a:gd name="connsiteX4" fmla="*/ 12883 w 15616"/>
                  <a:gd name="connsiteY4" fmla="*/ 12727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16" h="17021">
                    <a:moveTo>
                      <a:pt x="15616" y="17021"/>
                    </a:moveTo>
                    <a:lnTo>
                      <a:pt x="0" y="0"/>
                    </a:lnTo>
                    <a:lnTo>
                      <a:pt x="4216" y="3826"/>
                    </a:lnTo>
                    <a:cubicBezTo>
                      <a:pt x="6391" y="4536"/>
                      <a:pt x="8426" y="5619"/>
                      <a:pt x="10228" y="7027"/>
                    </a:cubicBezTo>
                    <a:cubicBezTo>
                      <a:pt x="11423" y="8767"/>
                      <a:pt x="12320" y="10693"/>
                      <a:pt x="12883" y="12727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22" name="Freeform: Shape 721">
                <a:extLst>
                  <a:ext uri="{FF2B5EF4-FFF2-40B4-BE49-F238E27FC236}">
                    <a16:creationId xmlns:a16="http://schemas.microsoft.com/office/drawing/2014/main" id="{9204EF39-7C22-4315-B607-5D40D8EA7F3D}"/>
                  </a:ext>
                </a:extLst>
              </p:cNvPr>
              <p:cNvSpPr/>
              <p:nvPr/>
            </p:nvSpPr>
            <p:spPr>
              <a:xfrm>
                <a:off x="6633783" y="2729034"/>
                <a:ext cx="546" cy="546"/>
              </a:xfrm>
              <a:custGeom>
                <a:avLst/>
                <a:gdLst>
                  <a:gd name="connsiteX0" fmla="*/ 547 w 546"/>
                  <a:gd name="connsiteY0" fmla="*/ 547 h 546"/>
                  <a:gd name="connsiteX1" fmla="*/ 0 w 546"/>
                  <a:gd name="connsiteY1" fmla="*/ 0 h 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" h="546">
                    <a:moveTo>
                      <a:pt x="547" y="54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23" name="Freeform: Shape 722">
                <a:extLst>
                  <a:ext uri="{FF2B5EF4-FFF2-40B4-BE49-F238E27FC236}">
                    <a16:creationId xmlns:a16="http://schemas.microsoft.com/office/drawing/2014/main" id="{9F7876B2-7893-4512-B102-986DB38E6853}"/>
                  </a:ext>
                </a:extLst>
              </p:cNvPr>
              <p:cNvSpPr/>
              <p:nvPr/>
            </p:nvSpPr>
            <p:spPr>
              <a:xfrm>
                <a:off x="6597398" y="2728124"/>
                <a:ext cx="44010" cy="30122"/>
              </a:xfrm>
              <a:custGeom>
                <a:avLst/>
                <a:gdLst>
                  <a:gd name="connsiteX0" fmla="*/ 10229 w 44010"/>
                  <a:gd name="connsiteY0" fmla="*/ 19805 h 30122"/>
                  <a:gd name="connsiteX1" fmla="*/ 26860 w 44010"/>
                  <a:gd name="connsiteY1" fmla="*/ 25973 h 30122"/>
                  <a:gd name="connsiteX2" fmla="*/ 16475 w 44010"/>
                  <a:gd name="connsiteY2" fmla="*/ 7858 h 30122"/>
                  <a:gd name="connsiteX3" fmla="*/ 34668 w 44010"/>
                  <a:gd name="connsiteY3" fmla="*/ 21288 h 30122"/>
                  <a:gd name="connsiteX4" fmla="*/ 21862 w 44010"/>
                  <a:gd name="connsiteY4" fmla="*/ 50 h 30122"/>
                  <a:gd name="connsiteX5" fmla="*/ 42241 w 44010"/>
                  <a:gd name="connsiteY5" fmla="*/ 14417 h 30122"/>
                  <a:gd name="connsiteX6" fmla="*/ 36932 w 44010"/>
                  <a:gd name="connsiteY6" fmla="*/ 1690 h 30122"/>
                  <a:gd name="connsiteX7" fmla="*/ 41539 w 44010"/>
                  <a:gd name="connsiteY7" fmla="*/ 6297 h 30122"/>
                  <a:gd name="connsiteX8" fmla="*/ 41539 w 44010"/>
                  <a:gd name="connsiteY8" fmla="*/ 6297 h 30122"/>
                  <a:gd name="connsiteX9" fmla="*/ 42866 w 44010"/>
                  <a:gd name="connsiteY9" fmla="*/ 14808 h 30122"/>
                  <a:gd name="connsiteX10" fmla="*/ 37088 w 44010"/>
                  <a:gd name="connsiteY10" fmla="*/ 17384 h 30122"/>
                  <a:gd name="connsiteX11" fmla="*/ 35214 w 44010"/>
                  <a:gd name="connsiteY11" fmla="*/ 22225 h 30122"/>
                  <a:gd name="connsiteX12" fmla="*/ 28890 w 44010"/>
                  <a:gd name="connsiteY12" fmla="*/ 23474 h 30122"/>
                  <a:gd name="connsiteX13" fmla="*/ 27172 w 44010"/>
                  <a:gd name="connsiteY13" fmla="*/ 27847 h 30122"/>
                  <a:gd name="connsiteX14" fmla="*/ 14913 w 44010"/>
                  <a:gd name="connsiteY14" fmla="*/ 29877 h 30122"/>
                  <a:gd name="connsiteX15" fmla="*/ 8511 w 44010"/>
                  <a:gd name="connsiteY15" fmla="*/ 24177 h 30122"/>
                  <a:gd name="connsiteX16" fmla="*/ 0 w 44010"/>
                  <a:gd name="connsiteY16" fmla="*/ 29565 h 30122"/>
                  <a:gd name="connsiteX17" fmla="*/ 10229 w 44010"/>
                  <a:gd name="connsiteY17" fmla="*/ 19805 h 30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4010" h="30122">
                    <a:moveTo>
                      <a:pt x="10229" y="19805"/>
                    </a:moveTo>
                    <a:cubicBezTo>
                      <a:pt x="11946" y="17306"/>
                      <a:pt x="23112" y="31204"/>
                      <a:pt x="26860" y="25973"/>
                    </a:cubicBezTo>
                    <a:cubicBezTo>
                      <a:pt x="30607" y="20742"/>
                      <a:pt x="14835" y="9576"/>
                      <a:pt x="16475" y="7858"/>
                    </a:cubicBezTo>
                    <a:cubicBezTo>
                      <a:pt x="18115" y="6141"/>
                      <a:pt x="28812" y="27378"/>
                      <a:pt x="34668" y="21288"/>
                    </a:cubicBezTo>
                    <a:cubicBezTo>
                      <a:pt x="40524" y="15198"/>
                      <a:pt x="21160" y="1222"/>
                      <a:pt x="21862" y="50"/>
                    </a:cubicBezTo>
                    <a:cubicBezTo>
                      <a:pt x="22565" y="-1121"/>
                      <a:pt x="37478" y="18555"/>
                      <a:pt x="42241" y="14417"/>
                    </a:cubicBezTo>
                    <a:cubicBezTo>
                      <a:pt x="46067" y="11294"/>
                      <a:pt x="39040" y="3876"/>
                      <a:pt x="36932" y="1690"/>
                    </a:cubicBezTo>
                    <a:lnTo>
                      <a:pt x="41539" y="6297"/>
                    </a:lnTo>
                    <a:lnTo>
                      <a:pt x="41539" y="6297"/>
                    </a:lnTo>
                    <a:cubicBezTo>
                      <a:pt x="41539" y="6297"/>
                      <a:pt x="46067" y="11294"/>
                      <a:pt x="42866" y="14808"/>
                    </a:cubicBezTo>
                    <a:cubicBezTo>
                      <a:pt x="41390" y="16443"/>
                      <a:pt x="39291" y="17379"/>
                      <a:pt x="37088" y="17384"/>
                    </a:cubicBezTo>
                    <a:cubicBezTo>
                      <a:pt x="37088" y="17384"/>
                      <a:pt x="38572" y="19883"/>
                      <a:pt x="35214" y="22225"/>
                    </a:cubicBezTo>
                    <a:cubicBezTo>
                      <a:pt x="33417" y="23606"/>
                      <a:pt x="31077" y="24068"/>
                      <a:pt x="28890" y="23474"/>
                    </a:cubicBezTo>
                    <a:cubicBezTo>
                      <a:pt x="29280" y="25147"/>
                      <a:pt x="28596" y="26887"/>
                      <a:pt x="27172" y="27847"/>
                    </a:cubicBezTo>
                    <a:cubicBezTo>
                      <a:pt x="23414" y="29836"/>
                      <a:pt x="19112" y="30548"/>
                      <a:pt x="14913" y="29877"/>
                    </a:cubicBezTo>
                    <a:cubicBezTo>
                      <a:pt x="12374" y="28488"/>
                      <a:pt x="10184" y="26539"/>
                      <a:pt x="8511" y="24177"/>
                    </a:cubicBezTo>
                    <a:cubicBezTo>
                      <a:pt x="6559" y="25583"/>
                      <a:pt x="2186" y="28003"/>
                      <a:pt x="0" y="29565"/>
                    </a:cubicBezTo>
                    <a:cubicBezTo>
                      <a:pt x="3672" y="26598"/>
                      <a:pt x="7093" y="23334"/>
                      <a:pt x="10229" y="19805"/>
                    </a:cubicBezTo>
                    <a:close/>
                  </a:path>
                </a:pathLst>
              </a:custGeom>
              <a:solidFill>
                <a:srgbClr val="F2B26D"/>
              </a:solidFill>
              <a:ln w="7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7894F120-0921-4B9E-BD51-55544106DF89}"/>
                </a:ext>
              </a:extLst>
            </p:cNvPr>
            <p:cNvSpPr/>
            <p:nvPr/>
          </p:nvSpPr>
          <p:spPr>
            <a:xfrm flipH="1">
              <a:off x="2437440" y="3315697"/>
              <a:ext cx="23249" cy="38291"/>
            </a:xfrm>
            <a:custGeom>
              <a:avLst/>
              <a:gdLst>
                <a:gd name="connsiteX0" fmla="*/ 19286 w 23249"/>
                <a:gd name="connsiteY0" fmla="*/ 0 h 38291"/>
                <a:gd name="connsiteX1" fmla="*/ 6324 w 23249"/>
                <a:gd name="connsiteY1" fmla="*/ 24908 h 38291"/>
                <a:gd name="connsiteX2" fmla="*/ 0 w 23249"/>
                <a:gd name="connsiteY2" fmla="*/ 37478 h 38291"/>
                <a:gd name="connsiteX3" fmla="*/ 12493 w 23249"/>
                <a:gd name="connsiteY3" fmla="*/ 28031 h 38291"/>
                <a:gd name="connsiteX4" fmla="*/ 20301 w 23249"/>
                <a:gd name="connsiteY4" fmla="*/ 23893 h 38291"/>
                <a:gd name="connsiteX5" fmla="*/ 19286 w 23249"/>
                <a:gd name="connsiteY5" fmla="*/ 0 h 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9" h="38291">
                  <a:moveTo>
                    <a:pt x="19286" y="0"/>
                  </a:moveTo>
                  <a:cubicBezTo>
                    <a:pt x="13982" y="7753"/>
                    <a:pt x="9630" y="16116"/>
                    <a:pt x="6324" y="24908"/>
                  </a:cubicBezTo>
                  <a:lnTo>
                    <a:pt x="0" y="37478"/>
                  </a:lnTo>
                  <a:cubicBezTo>
                    <a:pt x="0" y="37478"/>
                    <a:pt x="4216" y="42397"/>
                    <a:pt x="12493" y="28031"/>
                  </a:cubicBezTo>
                  <a:cubicBezTo>
                    <a:pt x="12493" y="28031"/>
                    <a:pt x="15772" y="19442"/>
                    <a:pt x="20301" y="23893"/>
                  </a:cubicBezTo>
                  <a:cubicBezTo>
                    <a:pt x="27484" y="31154"/>
                    <a:pt x="19286" y="859"/>
                    <a:pt x="19286" y="0"/>
                  </a:cubicBezTo>
                  <a:close/>
                </a:path>
              </a:pathLst>
            </a:custGeom>
            <a:solidFill>
              <a:srgbClr val="F2B26D"/>
            </a:solidFill>
            <a:ln w="7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grpSp>
        <p:nvGrpSpPr>
          <p:cNvPr id="847" name="dresses on mirror">
            <a:extLst>
              <a:ext uri="{FF2B5EF4-FFF2-40B4-BE49-F238E27FC236}">
                <a16:creationId xmlns:a16="http://schemas.microsoft.com/office/drawing/2014/main" id="{33CB9606-8177-4F23-83D4-A2F417D275DE}"/>
              </a:ext>
            </a:extLst>
          </p:cNvPr>
          <p:cNvGrpSpPr/>
          <p:nvPr/>
        </p:nvGrpSpPr>
        <p:grpSpPr>
          <a:xfrm>
            <a:off x="5848957" y="1936730"/>
            <a:ext cx="606085" cy="423497"/>
            <a:chOff x="3271889" y="3408670"/>
            <a:chExt cx="1808313" cy="1263545"/>
          </a:xfrm>
        </p:grpSpPr>
        <p:grpSp>
          <p:nvGrpSpPr>
            <p:cNvPr id="788" name="Black dress red belt">
              <a:extLst>
                <a:ext uri="{FF2B5EF4-FFF2-40B4-BE49-F238E27FC236}">
                  <a16:creationId xmlns:a16="http://schemas.microsoft.com/office/drawing/2014/main" id="{A0AE67AD-27BF-48AF-9985-EED3C14E43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35221" y="3408670"/>
              <a:ext cx="444981" cy="1261872"/>
              <a:chOff x="6398967" y="3769383"/>
              <a:chExt cx="706374" cy="2003129"/>
            </a:xfrm>
          </p:grpSpPr>
          <p:sp>
            <p:nvSpPr>
              <p:cNvPr id="789" name="Freeform: Shape 788">
                <a:extLst>
                  <a:ext uri="{FF2B5EF4-FFF2-40B4-BE49-F238E27FC236}">
                    <a16:creationId xmlns:a16="http://schemas.microsoft.com/office/drawing/2014/main" id="{01200ACB-0DFC-45E0-B2FB-2AEA6CD5031D}"/>
                  </a:ext>
                </a:extLst>
              </p:cNvPr>
              <p:cNvSpPr/>
              <p:nvPr/>
            </p:nvSpPr>
            <p:spPr>
              <a:xfrm>
                <a:off x="6453976" y="4172951"/>
                <a:ext cx="651365" cy="1598763"/>
              </a:xfrm>
              <a:custGeom>
                <a:avLst/>
                <a:gdLst>
                  <a:gd name="connsiteX0" fmla="*/ 184326 w 290009"/>
                  <a:gd name="connsiteY0" fmla="*/ 224887 h 711822"/>
                  <a:gd name="connsiteX1" fmla="*/ 221772 w 290009"/>
                  <a:gd name="connsiteY1" fmla="*/ 15219 h 711822"/>
                  <a:gd name="connsiteX2" fmla="*/ 205350 w 290009"/>
                  <a:gd name="connsiteY2" fmla="*/ 0 h 711822"/>
                  <a:gd name="connsiteX3" fmla="*/ 165568 w 290009"/>
                  <a:gd name="connsiteY3" fmla="*/ 221701 h 711822"/>
                  <a:gd name="connsiteX4" fmla="*/ 249874 w 290009"/>
                  <a:gd name="connsiteY4" fmla="*/ 686057 h 711822"/>
                  <a:gd name="connsiteX5" fmla="*/ 108727 w 290009"/>
                  <a:gd name="connsiteY5" fmla="*/ 635020 h 711822"/>
                  <a:gd name="connsiteX6" fmla="*/ 0 w 290009"/>
                  <a:gd name="connsiteY6" fmla="*/ 555740 h 711822"/>
                  <a:gd name="connsiteX7" fmla="*/ 125149 w 290009"/>
                  <a:gd name="connsiteY7" fmla="*/ 650310 h 711822"/>
                  <a:gd name="connsiteX8" fmla="*/ 290010 w 290009"/>
                  <a:gd name="connsiteY8" fmla="*/ 711823 h 71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0009" h="711822">
                    <a:moveTo>
                      <a:pt x="184326" y="224887"/>
                    </a:moveTo>
                    <a:lnTo>
                      <a:pt x="221772" y="15219"/>
                    </a:lnTo>
                    <a:lnTo>
                      <a:pt x="205350" y="0"/>
                    </a:lnTo>
                    <a:lnTo>
                      <a:pt x="165568" y="221701"/>
                    </a:lnTo>
                    <a:lnTo>
                      <a:pt x="249874" y="686057"/>
                    </a:lnTo>
                    <a:cubicBezTo>
                      <a:pt x="249874" y="686057"/>
                      <a:pt x="201952" y="688817"/>
                      <a:pt x="108727" y="635020"/>
                    </a:cubicBezTo>
                    <a:cubicBezTo>
                      <a:pt x="69873" y="612369"/>
                      <a:pt x="33444" y="585803"/>
                      <a:pt x="0" y="555740"/>
                    </a:cubicBezTo>
                    <a:cubicBezTo>
                      <a:pt x="37795" y="592145"/>
                      <a:pt x="79811" y="623893"/>
                      <a:pt x="125149" y="650310"/>
                    </a:cubicBezTo>
                    <a:cubicBezTo>
                      <a:pt x="218374" y="704107"/>
                      <a:pt x="290010" y="711823"/>
                      <a:pt x="290010" y="711823"/>
                    </a:cubicBezTo>
                    <a:close/>
                  </a:path>
                </a:pathLst>
              </a:custGeom>
              <a:solidFill>
                <a:schemeClr val="tx1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A1E7B6FC-FD5C-426C-84F1-5CCA027A311C}"/>
                  </a:ext>
                </a:extLst>
              </p:cNvPr>
              <p:cNvGrpSpPr/>
              <p:nvPr/>
            </p:nvGrpSpPr>
            <p:grpSpPr>
              <a:xfrm>
                <a:off x="6398967" y="3769383"/>
                <a:ext cx="706215" cy="2003129"/>
                <a:chOff x="6398967" y="3769383"/>
                <a:chExt cx="706215" cy="2003129"/>
              </a:xfrm>
            </p:grpSpPr>
            <p:sp>
              <p:nvSpPr>
                <p:cNvPr id="791" name="Freeform: Shape 790">
                  <a:extLst>
                    <a:ext uri="{FF2B5EF4-FFF2-40B4-BE49-F238E27FC236}">
                      <a16:creationId xmlns:a16="http://schemas.microsoft.com/office/drawing/2014/main" id="{6A74DBDC-88DE-4088-8D5A-1054D0315FB7}"/>
                    </a:ext>
                  </a:extLst>
                </p:cNvPr>
                <p:cNvSpPr/>
                <p:nvPr/>
              </p:nvSpPr>
              <p:spPr>
                <a:xfrm>
                  <a:off x="6484600" y="3945320"/>
                  <a:ext cx="498177" cy="296842"/>
                </a:xfrm>
                <a:custGeom>
                  <a:avLst/>
                  <a:gdLst>
                    <a:gd name="connsiteX0" fmla="*/ 221799 w 221805"/>
                    <a:gd name="connsiteY0" fmla="*/ 132000 h 132164"/>
                    <a:gd name="connsiteX1" fmla="*/ 108542 w 221805"/>
                    <a:gd name="connsiteY1" fmla="*/ 43659 h 132164"/>
                    <a:gd name="connsiteX2" fmla="*/ 27 w 221805"/>
                    <a:gd name="connsiteY2" fmla="*/ 551 h 132164"/>
                    <a:gd name="connsiteX3" fmla="*/ 109604 w 221805"/>
                    <a:gd name="connsiteY3" fmla="*/ 59586 h 132164"/>
                    <a:gd name="connsiteX4" fmla="*/ 221799 w 221805"/>
                    <a:gd name="connsiteY4" fmla="*/ 132000 h 132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805" h="132164">
                      <a:moveTo>
                        <a:pt x="221799" y="132000"/>
                      </a:moveTo>
                      <a:cubicBezTo>
                        <a:pt x="222295" y="127824"/>
                        <a:pt x="194618" y="115861"/>
                        <a:pt x="108542" y="43659"/>
                      </a:cubicBezTo>
                      <a:cubicBezTo>
                        <a:pt x="52833" y="28794"/>
                        <a:pt x="-1389" y="-4687"/>
                        <a:pt x="27" y="551"/>
                      </a:cubicBezTo>
                      <a:cubicBezTo>
                        <a:pt x="1443" y="5789"/>
                        <a:pt x="109604" y="59586"/>
                        <a:pt x="109604" y="59586"/>
                      </a:cubicBezTo>
                      <a:cubicBezTo>
                        <a:pt x="109604" y="59586"/>
                        <a:pt x="221304" y="136176"/>
                        <a:pt x="221799" y="132000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792" name="Freeform: Shape 791">
                  <a:extLst>
                    <a:ext uri="{FF2B5EF4-FFF2-40B4-BE49-F238E27FC236}">
                      <a16:creationId xmlns:a16="http://schemas.microsoft.com/office/drawing/2014/main" id="{AF08315A-B765-42B2-B553-371E2B111C96}"/>
                    </a:ext>
                  </a:extLst>
                </p:cNvPr>
                <p:cNvSpPr/>
                <p:nvPr/>
              </p:nvSpPr>
              <p:spPr>
                <a:xfrm>
                  <a:off x="6929345" y="4205386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793" name="Freeform: Shape 792">
                  <a:extLst>
                    <a:ext uri="{FF2B5EF4-FFF2-40B4-BE49-F238E27FC236}">
                      <a16:creationId xmlns:a16="http://schemas.microsoft.com/office/drawing/2014/main" id="{A235ED0C-B6C4-4B8F-9C40-949EE7B204B5}"/>
                    </a:ext>
                  </a:extLst>
                </p:cNvPr>
                <p:cNvSpPr/>
                <p:nvPr/>
              </p:nvSpPr>
              <p:spPr>
                <a:xfrm>
                  <a:off x="6519003" y="3968497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794" name="Freeform: Shape 793">
                  <a:extLst>
                    <a:ext uri="{FF2B5EF4-FFF2-40B4-BE49-F238E27FC236}">
                      <a16:creationId xmlns:a16="http://schemas.microsoft.com/office/drawing/2014/main" id="{688385B0-3B23-4E53-A984-626BD09C4A35}"/>
                    </a:ext>
                  </a:extLst>
                </p:cNvPr>
                <p:cNvSpPr/>
                <p:nvPr/>
              </p:nvSpPr>
              <p:spPr>
                <a:xfrm>
                  <a:off x="6398967" y="3958958"/>
                  <a:ext cx="706215" cy="1813554"/>
                </a:xfrm>
                <a:custGeom>
                  <a:avLst/>
                  <a:gdLst>
                    <a:gd name="connsiteX0" fmla="*/ 208818 w 314430"/>
                    <a:gd name="connsiteY0" fmla="*/ 320164 h 807454"/>
                    <a:gd name="connsiteX1" fmla="*/ 246264 w 314430"/>
                    <a:gd name="connsiteY1" fmla="*/ 110497 h 807454"/>
                    <a:gd name="connsiteX2" fmla="*/ 226515 w 314430"/>
                    <a:gd name="connsiteY2" fmla="*/ 92517 h 807454"/>
                    <a:gd name="connsiteX3" fmla="*/ 146173 w 314430"/>
                    <a:gd name="connsiteY3" fmla="*/ 133361 h 807454"/>
                    <a:gd name="connsiteX4" fmla="*/ 74608 w 314430"/>
                    <a:gd name="connsiteY4" fmla="*/ 3256 h 807454"/>
                    <a:gd name="connsiteX5" fmla="*/ 54718 w 314430"/>
                    <a:gd name="connsiteY5" fmla="*/ 0 h 807454"/>
                    <a:gd name="connsiteX6" fmla="*/ 93225 w 314430"/>
                    <a:gd name="connsiteY6" fmla="*/ 253484 h 807454"/>
                    <a:gd name="connsiteX7" fmla="*/ 0 w 314430"/>
                    <a:gd name="connsiteY7" fmla="*/ 625606 h 807454"/>
                    <a:gd name="connsiteX8" fmla="*/ 149571 w 314430"/>
                    <a:gd name="connsiteY8" fmla="*/ 745942 h 807454"/>
                    <a:gd name="connsiteX9" fmla="*/ 314431 w 314430"/>
                    <a:gd name="connsiteY9" fmla="*/ 807454 h 807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14430" h="807454">
                      <a:moveTo>
                        <a:pt x="208818" y="320164"/>
                      </a:moveTo>
                      <a:lnTo>
                        <a:pt x="246264" y="110497"/>
                      </a:lnTo>
                      <a:lnTo>
                        <a:pt x="226515" y="92517"/>
                      </a:lnTo>
                      <a:cubicBezTo>
                        <a:pt x="226515" y="92517"/>
                        <a:pt x="212995" y="171939"/>
                        <a:pt x="146173" y="133361"/>
                      </a:cubicBezTo>
                      <a:cubicBezTo>
                        <a:pt x="79351" y="94782"/>
                        <a:pt x="74608" y="3256"/>
                        <a:pt x="74608" y="3256"/>
                      </a:cubicBezTo>
                      <a:lnTo>
                        <a:pt x="54718" y="0"/>
                      </a:lnTo>
                      <a:lnTo>
                        <a:pt x="93225" y="253484"/>
                      </a:lnTo>
                      <a:cubicBezTo>
                        <a:pt x="27040" y="486370"/>
                        <a:pt x="0" y="625606"/>
                        <a:pt x="0" y="625606"/>
                      </a:cubicBezTo>
                      <a:cubicBezTo>
                        <a:pt x="43364" y="673181"/>
                        <a:pt x="93813" y="713769"/>
                        <a:pt x="149571" y="745942"/>
                      </a:cubicBezTo>
                      <a:cubicBezTo>
                        <a:pt x="242796" y="799739"/>
                        <a:pt x="314431" y="807454"/>
                        <a:pt x="314431" y="807454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795" name="Freeform: Shape 794">
                  <a:extLst>
                    <a:ext uri="{FF2B5EF4-FFF2-40B4-BE49-F238E27FC236}">
                      <a16:creationId xmlns:a16="http://schemas.microsoft.com/office/drawing/2014/main" id="{AC8AA3E5-F154-4EEB-A417-38A77C578582}"/>
                    </a:ext>
                  </a:extLst>
                </p:cNvPr>
                <p:cNvSpPr/>
                <p:nvPr/>
              </p:nvSpPr>
              <p:spPr>
                <a:xfrm>
                  <a:off x="6598177" y="4461353"/>
                  <a:ext cx="280132" cy="264392"/>
                </a:xfrm>
                <a:custGeom>
                  <a:avLst/>
                  <a:gdLst>
                    <a:gd name="connsiteX0" fmla="*/ 124725 w 124724"/>
                    <a:gd name="connsiteY0" fmla="*/ 117717 h 117716"/>
                    <a:gd name="connsiteX1" fmla="*/ 120124 w 124724"/>
                    <a:gd name="connsiteY1" fmla="*/ 96481 h 117716"/>
                    <a:gd name="connsiteX2" fmla="*/ 124512 w 124724"/>
                    <a:gd name="connsiteY2" fmla="*/ 71918 h 117716"/>
                    <a:gd name="connsiteX3" fmla="*/ 0 w 124724"/>
                    <a:gd name="connsiteY3" fmla="*/ 0 h 117716"/>
                    <a:gd name="connsiteX4" fmla="*/ 4530 w 124724"/>
                    <a:gd name="connsiteY4" fmla="*/ 29730 h 117716"/>
                    <a:gd name="connsiteX5" fmla="*/ 0 w 124724"/>
                    <a:gd name="connsiteY5" fmla="*/ 45728 h 117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4724" h="117716">
                      <a:moveTo>
                        <a:pt x="124725" y="117717"/>
                      </a:moveTo>
                      <a:lnTo>
                        <a:pt x="120124" y="96481"/>
                      </a:lnTo>
                      <a:lnTo>
                        <a:pt x="124512" y="71918"/>
                      </a:lnTo>
                      <a:lnTo>
                        <a:pt x="0" y="0"/>
                      </a:lnTo>
                      <a:lnTo>
                        <a:pt x="4530" y="29730"/>
                      </a:lnTo>
                      <a:cubicBezTo>
                        <a:pt x="2973" y="35110"/>
                        <a:pt x="1486" y="40419"/>
                        <a:pt x="0" y="45728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796" name="Freeform: Shape 795">
                  <a:extLst>
                    <a:ext uri="{FF2B5EF4-FFF2-40B4-BE49-F238E27FC236}">
                      <a16:creationId xmlns:a16="http://schemas.microsoft.com/office/drawing/2014/main" id="{EBAB1D5A-3C9C-4167-A7EA-0C51D1D8E8D8}"/>
                    </a:ext>
                  </a:extLst>
                </p:cNvPr>
                <p:cNvSpPr/>
                <p:nvPr/>
              </p:nvSpPr>
              <p:spPr>
                <a:xfrm>
                  <a:off x="6687842" y="3769383"/>
                  <a:ext cx="111771" cy="288966"/>
                </a:xfrm>
                <a:custGeom>
                  <a:avLst/>
                  <a:gdLst>
                    <a:gd name="connsiteX0" fmla="*/ 19397 w 49764"/>
                    <a:gd name="connsiteY0" fmla="*/ 127372 h 128657"/>
                    <a:gd name="connsiteX1" fmla="*/ 20459 w 49764"/>
                    <a:gd name="connsiteY1" fmla="*/ 114985 h 128657"/>
                    <a:gd name="connsiteX2" fmla="*/ 20459 w 49764"/>
                    <a:gd name="connsiteY2" fmla="*/ 103446 h 128657"/>
                    <a:gd name="connsiteX3" fmla="*/ 25556 w 49764"/>
                    <a:gd name="connsiteY3" fmla="*/ 99553 h 128657"/>
                    <a:gd name="connsiteX4" fmla="*/ 35112 w 49764"/>
                    <a:gd name="connsiteY4" fmla="*/ 101960 h 128657"/>
                    <a:gd name="connsiteX5" fmla="*/ 35749 w 49764"/>
                    <a:gd name="connsiteY5" fmla="*/ 101960 h 128657"/>
                    <a:gd name="connsiteX6" fmla="*/ 47004 w 49764"/>
                    <a:gd name="connsiteY6" fmla="*/ 92262 h 128657"/>
                    <a:gd name="connsiteX7" fmla="*/ 49764 w 49764"/>
                    <a:gd name="connsiteY7" fmla="*/ 74566 h 128657"/>
                    <a:gd name="connsiteX8" fmla="*/ 49764 w 49764"/>
                    <a:gd name="connsiteY8" fmla="*/ 64797 h 128657"/>
                    <a:gd name="connsiteX9" fmla="*/ 48986 w 49764"/>
                    <a:gd name="connsiteY9" fmla="*/ 54887 h 128657"/>
                    <a:gd name="connsiteX10" fmla="*/ 47216 w 49764"/>
                    <a:gd name="connsiteY10" fmla="*/ 44411 h 128657"/>
                    <a:gd name="connsiteX11" fmla="*/ 44385 w 49764"/>
                    <a:gd name="connsiteY11" fmla="*/ 33581 h 128657"/>
                    <a:gd name="connsiteX12" fmla="*/ 40067 w 49764"/>
                    <a:gd name="connsiteY12" fmla="*/ 22680 h 128657"/>
                    <a:gd name="connsiteX13" fmla="*/ 33908 w 49764"/>
                    <a:gd name="connsiteY13" fmla="*/ 12133 h 128657"/>
                    <a:gd name="connsiteX14" fmla="*/ 25556 w 49764"/>
                    <a:gd name="connsiteY14" fmla="*/ 3851 h 128657"/>
                    <a:gd name="connsiteX15" fmla="*/ 16707 w 49764"/>
                    <a:gd name="connsiteY15" fmla="*/ 241 h 128657"/>
                    <a:gd name="connsiteX16" fmla="*/ 12743 w 49764"/>
                    <a:gd name="connsiteY16" fmla="*/ 241 h 128657"/>
                    <a:gd name="connsiteX17" fmla="*/ 9275 w 49764"/>
                    <a:gd name="connsiteY17" fmla="*/ 1373 h 128657"/>
                    <a:gd name="connsiteX18" fmla="*/ 3824 w 49764"/>
                    <a:gd name="connsiteY18" fmla="*/ 6257 h 128657"/>
                    <a:gd name="connsiteX19" fmla="*/ 922 w 49764"/>
                    <a:gd name="connsiteY19" fmla="*/ 14256 h 128657"/>
                    <a:gd name="connsiteX20" fmla="*/ 2 w 49764"/>
                    <a:gd name="connsiteY20" fmla="*/ 24025 h 128657"/>
                    <a:gd name="connsiteX21" fmla="*/ 3187 w 49764"/>
                    <a:gd name="connsiteY21" fmla="*/ 30395 h 128657"/>
                    <a:gd name="connsiteX22" fmla="*/ 7151 w 49764"/>
                    <a:gd name="connsiteY22" fmla="*/ 29051 h 128657"/>
                    <a:gd name="connsiteX23" fmla="*/ 7151 w 49764"/>
                    <a:gd name="connsiteY23" fmla="*/ 28413 h 128657"/>
                    <a:gd name="connsiteX24" fmla="*/ 7151 w 49764"/>
                    <a:gd name="connsiteY24" fmla="*/ 27210 h 128657"/>
                    <a:gd name="connsiteX25" fmla="*/ 6726 w 49764"/>
                    <a:gd name="connsiteY25" fmla="*/ 18645 h 128657"/>
                    <a:gd name="connsiteX26" fmla="*/ 7222 w 49764"/>
                    <a:gd name="connsiteY26" fmla="*/ 14752 h 128657"/>
                    <a:gd name="connsiteX27" fmla="*/ 8355 w 49764"/>
                    <a:gd name="connsiteY27" fmla="*/ 11354 h 128657"/>
                    <a:gd name="connsiteX28" fmla="*/ 12319 w 49764"/>
                    <a:gd name="connsiteY28" fmla="*/ 6541 h 128657"/>
                    <a:gd name="connsiteX29" fmla="*/ 15008 w 49764"/>
                    <a:gd name="connsiteY29" fmla="*/ 5337 h 128657"/>
                    <a:gd name="connsiteX30" fmla="*/ 18194 w 49764"/>
                    <a:gd name="connsiteY30" fmla="*/ 5337 h 128657"/>
                    <a:gd name="connsiteX31" fmla="*/ 25272 w 49764"/>
                    <a:gd name="connsiteY31" fmla="*/ 7886 h 128657"/>
                    <a:gd name="connsiteX32" fmla="*/ 32351 w 49764"/>
                    <a:gd name="connsiteY32" fmla="*/ 14398 h 128657"/>
                    <a:gd name="connsiteX33" fmla="*/ 37660 w 49764"/>
                    <a:gd name="connsiteY33" fmla="*/ 23600 h 128657"/>
                    <a:gd name="connsiteX34" fmla="*/ 41270 w 49764"/>
                    <a:gd name="connsiteY34" fmla="*/ 33510 h 128657"/>
                    <a:gd name="connsiteX35" fmla="*/ 43394 w 49764"/>
                    <a:gd name="connsiteY35" fmla="*/ 43349 h 128657"/>
                    <a:gd name="connsiteX36" fmla="*/ 44455 w 49764"/>
                    <a:gd name="connsiteY36" fmla="*/ 52905 h 128657"/>
                    <a:gd name="connsiteX37" fmla="*/ 44880 w 49764"/>
                    <a:gd name="connsiteY37" fmla="*/ 62320 h 128657"/>
                    <a:gd name="connsiteX38" fmla="*/ 44880 w 49764"/>
                    <a:gd name="connsiteY38" fmla="*/ 71451 h 128657"/>
                    <a:gd name="connsiteX39" fmla="*/ 42332 w 49764"/>
                    <a:gd name="connsiteY39" fmla="*/ 87449 h 128657"/>
                    <a:gd name="connsiteX40" fmla="*/ 34050 w 49764"/>
                    <a:gd name="connsiteY40" fmla="*/ 95023 h 128657"/>
                    <a:gd name="connsiteX41" fmla="*/ 34687 w 49764"/>
                    <a:gd name="connsiteY41" fmla="*/ 95023 h 128657"/>
                    <a:gd name="connsiteX42" fmla="*/ 23574 w 49764"/>
                    <a:gd name="connsiteY42" fmla="*/ 92192 h 128657"/>
                    <a:gd name="connsiteX43" fmla="*/ 18265 w 49764"/>
                    <a:gd name="connsiteY43" fmla="*/ 93466 h 128657"/>
                    <a:gd name="connsiteX44" fmla="*/ 15362 w 49764"/>
                    <a:gd name="connsiteY44" fmla="*/ 98775 h 128657"/>
                    <a:gd name="connsiteX45" fmla="*/ 15362 w 49764"/>
                    <a:gd name="connsiteY45" fmla="*/ 111870 h 128657"/>
                    <a:gd name="connsiteX46" fmla="*/ 14584 w 49764"/>
                    <a:gd name="connsiteY46" fmla="*/ 122983 h 128657"/>
                    <a:gd name="connsiteX47" fmla="*/ 16636 w 49764"/>
                    <a:gd name="connsiteY47" fmla="*/ 127868 h 128657"/>
                    <a:gd name="connsiteX48" fmla="*/ 19822 w 49764"/>
                    <a:gd name="connsiteY48" fmla="*/ 127514 h 128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9764" h="128657">
                      <a:moveTo>
                        <a:pt x="19397" y="127372"/>
                      </a:moveTo>
                      <a:cubicBezTo>
                        <a:pt x="20282" y="123305"/>
                        <a:pt x="20636" y="119142"/>
                        <a:pt x="20459" y="114985"/>
                      </a:cubicBezTo>
                      <a:cubicBezTo>
                        <a:pt x="20098" y="111147"/>
                        <a:pt x="20098" y="107284"/>
                        <a:pt x="20459" y="103446"/>
                      </a:cubicBezTo>
                      <a:cubicBezTo>
                        <a:pt x="20884" y="100544"/>
                        <a:pt x="22653" y="99482"/>
                        <a:pt x="25556" y="99553"/>
                      </a:cubicBezTo>
                      <a:cubicBezTo>
                        <a:pt x="28840" y="99884"/>
                        <a:pt x="32061" y="100695"/>
                        <a:pt x="35112" y="101960"/>
                      </a:cubicBezTo>
                      <a:lnTo>
                        <a:pt x="35749" y="101960"/>
                      </a:lnTo>
                      <a:cubicBezTo>
                        <a:pt x="41978" y="102385"/>
                        <a:pt x="45163" y="97430"/>
                        <a:pt x="47004" y="92262"/>
                      </a:cubicBezTo>
                      <a:cubicBezTo>
                        <a:pt x="48795" y="86533"/>
                        <a:pt x="49729" y="80569"/>
                        <a:pt x="49764" y="74566"/>
                      </a:cubicBezTo>
                      <a:cubicBezTo>
                        <a:pt x="49764" y="71097"/>
                        <a:pt x="49764" y="68054"/>
                        <a:pt x="49764" y="64797"/>
                      </a:cubicBezTo>
                      <a:cubicBezTo>
                        <a:pt x="49736" y="61480"/>
                        <a:pt x="49474" y="58168"/>
                        <a:pt x="48986" y="54887"/>
                      </a:cubicBezTo>
                      <a:cubicBezTo>
                        <a:pt x="48349" y="51348"/>
                        <a:pt x="48136" y="47809"/>
                        <a:pt x="47216" y="44411"/>
                      </a:cubicBezTo>
                      <a:cubicBezTo>
                        <a:pt x="46296" y="41013"/>
                        <a:pt x="45729" y="37332"/>
                        <a:pt x="44385" y="33581"/>
                      </a:cubicBezTo>
                      <a:cubicBezTo>
                        <a:pt x="43188" y="29855"/>
                        <a:pt x="41751" y="26213"/>
                        <a:pt x="40067" y="22680"/>
                      </a:cubicBezTo>
                      <a:cubicBezTo>
                        <a:pt x="38361" y="18973"/>
                        <a:pt x="36294" y="15441"/>
                        <a:pt x="33908" y="12133"/>
                      </a:cubicBezTo>
                      <a:cubicBezTo>
                        <a:pt x="31509" y="9010"/>
                        <a:pt x="28698" y="6225"/>
                        <a:pt x="25556" y="3851"/>
                      </a:cubicBezTo>
                      <a:cubicBezTo>
                        <a:pt x="22965" y="1912"/>
                        <a:pt x="19914" y="669"/>
                        <a:pt x="16707" y="241"/>
                      </a:cubicBezTo>
                      <a:cubicBezTo>
                        <a:pt x="15405" y="-80"/>
                        <a:pt x="14046" y="-80"/>
                        <a:pt x="12743" y="241"/>
                      </a:cubicBezTo>
                      <a:cubicBezTo>
                        <a:pt x="11505" y="280"/>
                        <a:pt x="10301" y="673"/>
                        <a:pt x="9275" y="1373"/>
                      </a:cubicBezTo>
                      <a:cubicBezTo>
                        <a:pt x="7038" y="2463"/>
                        <a:pt x="5155" y="4154"/>
                        <a:pt x="3824" y="6257"/>
                      </a:cubicBezTo>
                      <a:cubicBezTo>
                        <a:pt x="2409" y="8738"/>
                        <a:pt x="1425" y="11443"/>
                        <a:pt x="922" y="14256"/>
                      </a:cubicBezTo>
                      <a:cubicBezTo>
                        <a:pt x="278" y="17472"/>
                        <a:pt x="-26" y="20746"/>
                        <a:pt x="2" y="24025"/>
                      </a:cubicBezTo>
                      <a:cubicBezTo>
                        <a:pt x="-41" y="26540"/>
                        <a:pt x="1149" y="28918"/>
                        <a:pt x="3187" y="30395"/>
                      </a:cubicBezTo>
                      <a:cubicBezTo>
                        <a:pt x="5169" y="31811"/>
                        <a:pt x="6939" y="31174"/>
                        <a:pt x="7151" y="29051"/>
                      </a:cubicBezTo>
                      <a:cubicBezTo>
                        <a:pt x="7187" y="28840"/>
                        <a:pt x="7187" y="28624"/>
                        <a:pt x="7151" y="28413"/>
                      </a:cubicBezTo>
                      <a:lnTo>
                        <a:pt x="7151" y="27210"/>
                      </a:lnTo>
                      <a:cubicBezTo>
                        <a:pt x="6698" y="24379"/>
                        <a:pt x="6557" y="21507"/>
                        <a:pt x="6726" y="18645"/>
                      </a:cubicBezTo>
                      <a:cubicBezTo>
                        <a:pt x="6811" y="17338"/>
                        <a:pt x="6981" y="16039"/>
                        <a:pt x="7222" y="14752"/>
                      </a:cubicBezTo>
                      <a:lnTo>
                        <a:pt x="8355" y="11354"/>
                      </a:lnTo>
                      <a:cubicBezTo>
                        <a:pt x="9232" y="9431"/>
                        <a:pt x="10598" y="7771"/>
                        <a:pt x="12319" y="6541"/>
                      </a:cubicBezTo>
                      <a:cubicBezTo>
                        <a:pt x="13034" y="5820"/>
                        <a:pt x="13996" y="5392"/>
                        <a:pt x="15008" y="5337"/>
                      </a:cubicBezTo>
                      <a:cubicBezTo>
                        <a:pt x="16042" y="5011"/>
                        <a:pt x="17160" y="5011"/>
                        <a:pt x="18194" y="5337"/>
                      </a:cubicBezTo>
                      <a:cubicBezTo>
                        <a:pt x="20735" y="5556"/>
                        <a:pt x="23177" y="6434"/>
                        <a:pt x="25272" y="7886"/>
                      </a:cubicBezTo>
                      <a:cubicBezTo>
                        <a:pt x="27955" y="9678"/>
                        <a:pt x="30341" y="11875"/>
                        <a:pt x="32351" y="14398"/>
                      </a:cubicBezTo>
                      <a:cubicBezTo>
                        <a:pt x="34383" y="17309"/>
                        <a:pt x="36159" y="20387"/>
                        <a:pt x="37660" y="23600"/>
                      </a:cubicBezTo>
                      <a:cubicBezTo>
                        <a:pt x="39132" y="26798"/>
                        <a:pt x="40343" y="30112"/>
                        <a:pt x="41270" y="33510"/>
                      </a:cubicBezTo>
                      <a:cubicBezTo>
                        <a:pt x="42332" y="36837"/>
                        <a:pt x="42686" y="40093"/>
                        <a:pt x="43394" y="43349"/>
                      </a:cubicBezTo>
                      <a:cubicBezTo>
                        <a:pt x="44101" y="46605"/>
                        <a:pt x="44101" y="49720"/>
                        <a:pt x="44455" y="52905"/>
                      </a:cubicBezTo>
                      <a:cubicBezTo>
                        <a:pt x="44774" y="56033"/>
                        <a:pt x="44915" y="59176"/>
                        <a:pt x="44880" y="62320"/>
                      </a:cubicBezTo>
                      <a:cubicBezTo>
                        <a:pt x="44880" y="65293"/>
                        <a:pt x="44880" y="68903"/>
                        <a:pt x="44880" y="71451"/>
                      </a:cubicBezTo>
                      <a:cubicBezTo>
                        <a:pt x="44831" y="76881"/>
                        <a:pt x="43974" y="82273"/>
                        <a:pt x="42332" y="87449"/>
                      </a:cubicBezTo>
                      <a:cubicBezTo>
                        <a:pt x="40704" y="91979"/>
                        <a:pt x="37943" y="95377"/>
                        <a:pt x="34050" y="95023"/>
                      </a:cubicBezTo>
                      <a:lnTo>
                        <a:pt x="34687" y="95023"/>
                      </a:lnTo>
                      <a:cubicBezTo>
                        <a:pt x="31148" y="93519"/>
                        <a:pt x="27403" y="92565"/>
                        <a:pt x="23574" y="92192"/>
                      </a:cubicBezTo>
                      <a:cubicBezTo>
                        <a:pt x="21719" y="92082"/>
                        <a:pt x="19871" y="92526"/>
                        <a:pt x="18265" y="93466"/>
                      </a:cubicBezTo>
                      <a:cubicBezTo>
                        <a:pt x="16693" y="94832"/>
                        <a:pt x="15667" y="96715"/>
                        <a:pt x="15362" y="98775"/>
                      </a:cubicBezTo>
                      <a:cubicBezTo>
                        <a:pt x="14938" y="103129"/>
                        <a:pt x="14938" y="107515"/>
                        <a:pt x="15362" y="111870"/>
                      </a:cubicBezTo>
                      <a:cubicBezTo>
                        <a:pt x="15617" y="115593"/>
                        <a:pt x="15355" y="119332"/>
                        <a:pt x="14584" y="122983"/>
                      </a:cubicBezTo>
                      <a:cubicBezTo>
                        <a:pt x="14393" y="124855"/>
                        <a:pt x="15164" y="126695"/>
                        <a:pt x="16636" y="127868"/>
                      </a:cubicBezTo>
                      <a:cubicBezTo>
                        <a:pt x="18052" y="129071"/>
                        <a:pt x="19468" y="128859"/>
                        <a:pt x="19822" y="127514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</p:grpSp>
        <p:grpSp>
          <p:nvGrpSpPr>
            <p:cNvPr id="797" name="Red dress">
              <a:extLst>
                <a:ext uri="{FF2B5EF4-FFF2-40B4-BE49-F238E27FC236}">
                  <a16:creationId xmlns:a16="http://schemas.microsoft.com/office/drawing/2014/main" id="{143F4777-65DB-4718-9E70-1617AD1A93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347590" y="3408670"/>
              <a:ext cx="444745" cy="1261872"/>
              <a:chOff x="6081948" y="3957462"/>
              <a:chExt cx="706057" cy="2003289"/>
            </a:xfrm>
          </p:grpSpPr>
          <p:sp>
            <p:nvSpPr>
              <p:cNvPr id="798" name="Freeform: Shape 797">
                <a:extLst>
                  <a:ext uri="{FF2B5EF4-FFF2-40B4-BE49-F238E27FC236}">
                    <a16:creationId xmlns:a16="http://schemas.microsoft.com/office/drawing/2014/main" id="{28AF5038-2303-43CE-8433-D1B069922429}"/>
                  </a:ext>
                </a:extLst>
              </p:cNvPr>
              <p:cNvSpPr/>
              <p:nvPr/>
            </p:nvSpPr>
            <p:spPr>
              <a:xfrm>
                <a:off x="6167104" y="4133529"/>
                <a:ext cx="498337" cy="296714"/>
              </a:xfrm>
              <a:custGeom>
                <a:avLst/>
                <a:gdLst>
                  <a:gd name="connsiteX0" fmla="*/ 221870 w 221876"/>
                  <a:gd name="connsiteY0" fmla="*/ 131942 h 132107"/>
                  <a:gd name="connsiteX1" fmla="*/ 108613 w 221876"/>
                  <a:gd name="connsiteY1" fmla="*/ 43672 h 132107"/>
                  <a:gd name="connsiteX2" fmla="*/ 27 w 221876"/>
                  <a:gd name="connsiteY2" fmla="*/ 564 h 132107"/>
                  <a:gd name="connsiteX3" fmla="*/ 110312 w 221876"/>
                  <a:gd name="connsiteY3" fmla="*/ 59528 h 132107"/>
                  <a:gd name="connsiteX4" fmla="*/ 221870 w 221876"/>
                  <a:gd name="connsiteY4" fmla="*/ 131942 h 132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76" h="132107">
                    <a:moveTo>
                      <a:pt x="221870" y="131942"/>
                    </a:moveTo>
                    <a:cubicBezTo>
                      <a:pt x="222366" y="127766"/>
                      <a:pt x="194759" y="115874"/>
                      <a:pt x="108613" y="43672"/>
                    </a:cubicBezTo>
                    <a:cubicBezTo>
                      <a:pt x="52833" y="28807"/>
                      <a:pt x="-1389" y="-4745"/>
                      <a:pt x="27" y="564"/>
                    </a:cubicBezTo>
                    <a:cubicBezTo>
                      <a:pt x="1443" y="5873"/>
                      <a:pt x="110312" y="59528"/>
                      <a:pt x="110312" y="59528"/>
                    </a:cubicBezTo>
                    <a:cubicBezTo>
                      <a:pt x="110312" y="59528"/>
                      <a:pt x="221445" y="136119"/>
                      <a:pt x="221870" y="131942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799" name="Freeform: Shape 798">
                <a:extLst>
                  <a:ext uri="{FF2B5EF4-FFF2-40B4-BE49-F238E27FC236}">
                    <a16:creationId xmlns:a16="http://schemas.microsoft.com/office/drawing/2014/main" id="{0F42A4C8-FA94-4D98-9C06-0AF8CFDAFE26}"/>
                  </a:ext>
                </a:extLst>
              </p:cNvPr>
              <p:cNvSpPr/>
              <p:nvPr/>
            </p:nvSpPr>
            <p:spPr>
              <a:xfrm>
                <a:off x="6612167" y="4393625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800" name="Freeform: Shape 799">
                <a:extLst>
                  <a:ext uri="{FF2B5EF4-FFF2-40B4-BE49-F238E27FC236}">
                    <a16:creationId xmlns:a16="http://schemas.microsoft.com/office/drawing/2014/main" id="{3402F383-F781-4F54-99E8-F57D8A841DE9}"/>
                  </a:ext>
                </a:extLst>
              </p:cNvPr>
              <p:cNvSpPr/>
              <p:nvPr/>
            </p:nvSpPr>
            <p:spPr>
              <a:xfrm>
                <a:off x="6201665" y="4156735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801" name="Freeform: Shape 800">
                <a:extLst>
                  <a:ext uri="{FF2B5EF4-FFF2-40B4-BE49-F238E27FC236}">
                    <a16:creationId xmlns:a16="http://schemas.microsoft.com/office/drawing/2014/main" id="{9EDB8D5A-C7C7-4EE2-A070-34B8D95C41BB}"/>
                  </a:ext>
                </a:extLst>
              </p:cNvPr>
              <p:cNvSpPr/>
              <p:nvPr/>
            </p:nvSpPr>
            <p:spPr>
              <a:xfrm>
                <a:off x="6081948" y="4147037"/>
                <a:ext cx="706057" cy="1813714"/>
              </a:xfrm>
              <a:custGeom>
                <a:avLst/>
                <a:gdLst>
                  <a:gd name="connsiteX0" fmla="*/ 208677 w 314360"/>
                  <a:gd name="connsiteY0" fmla="*/ 320165 h 807525"/>
                  <a:gd name="connsiteX1" fmla="*/ 246123 w 314360"/>
                  <a:gd name="connsiteY1" fmla="*/ 110638 h 807525"/>
                  <a:gd name="connsiteX2" fmla="*/ 226656 w 314360"/>
                  <a:gd name="connsiteY2" fmla="*/ 92588 h 807525"/>
                  <a:gd name="connsiteX3" fmla="*/ 146385 w 314360"/>
                  <a:gd name="connsiteY3" fmla="*/ 133502 h 807525"/>
                  <a:gd name="connsiteX4" fmla="*/ 74467 w 314360"/>
                  <a:gd name="connsiteY4" fmla="*/ 3256 h 807525"/>
                  <a:gd name="connsiteX5" fmla="*/ 54576 w 314360"/>
                  <a:gd name="connsiteY5" fmla="*/ 0 h 807525"/>
                  <a:gd name="connsiteX6" fmla="*/ 93083 w 314360"/>
                  <a:gd name="connsiteY6" fmla="*/ 253484 h 807525"/>
                  <a:gd name="connsiteX7" fmla="*/ 0 w 314360"/>
                  <a:gd name="connsiteY7" fmla="*/ 625676 h 807525"/>
                  <a:gd name="connsiteX8" fmla="*/ 149571 w 314360"/>
                  <a:gd name="connsiteY8" fmla="*/ 746012 h 807525"/>
                  <a:gd name="connsiteX9" fmla="*/ 314360 w 314360"/>
                  <a:gd name="connsiteY9" fmla="*/ 807525 h 807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4360" h="807525">
                    <a:moveTo>
                      <a:pt x="208677" y="320165"/>
                    </a:moveTo>
                    <a:lnTo>
                      <a:pt x="246123" y="110638"/>
                    </a:lnTo>
                    <a:lnTo>
                      <a:pt x="226656" y="92588"/>
                    </a:lnTo>
                    <a:cubicBezTo>
                      <a:pt x="226656" y="92588"/>
                      <a:pt x="213207" y="172080"/>
                      <a:pt x="146385" y="133502"/>
                    </a:cubicBezTo>
                    <a:cubicBezTo>
                      <a:pt x="79563" y="94924"/>
                      <a:pt x="74467" y="3256"/>
                      <a:pt x="74467" y="3256"/>
                    </a:cubicBezTo>
                    <a:lnTo>
                      <a:pt x="54576" y="0"/>
                    </a:lnTo>
                    <a:lnTo>
                      <a:pt x="93083" y="253484"/>
                    </a:lnTo>
                    <a:cubicBezTo>
                      <a:pt x="26969" y="486511"/>
                      <a:pt x="0" y="625676"/>
                      <a:pt x="0" y="625676"/>
                    </a:cubicBezTo>
                    <a:cubicBezTo>
                      <a:pt x="43339" y="673273"/>
                      <a:pt x="93796" y="713868"/>
                      <a:pt x="149571" y="746012"/>
                    </a:cubicBezTo>
                    <a:cubicBezTo>
                      <a:pt x="242725" y="799810"/>
                      <a:pt x="314360" y="807525"/>
                      <a:pt x="314360" y="807525"/>
                    </a:cubicBezTo>
                    <a:close/>
                  </a:path>
                </a:pathLst>
              </a:custGeom>
              <a:solidFill>
                <a:schemeClr val="bg2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802" name="Freeform: Shape 801">
                <a:extLst>
                  <a:ext uri="{FF2B5EF4-FFF2-40B4-BE49-F238E27FC236}">
                    <a16:creationId xmlns:a16="http://schemas.microsoft.com/office/drawing/2014/main" id="{9BCED59E-2B4E-49E8-AAC9-AF02B1468429}"/>
                  </a:ext>
                </a:extLst>
              </p:cNvPr>
              <p:cNvSpPr/>
              <p:nvPr/>
            </p:nvSpPr>
            <p:spPr>
              <a:xfrm>
                <a:off x="6136800" y="4361352"/>
                <a:ext cx="651205" cy="1598604"/>
              </a:xfrm>
              <a:custGeom>
                <a:avLst/>
                <a:gdLst>
                  <a:gd name="connsiteX0" fmla="*/ 184256 w 289938"/>
                  <a:gd name="connsiteY0" fmla="*/ 224745 h 711751"/>
                  <a:gd name="connsiteX1" fmla="*/ 221701 w 289938"/>
                  <a:gd name="connsiteY1" fmla="*/ 15219 h 711751"/>
                  <a:gd name="connsiteX2" fmla="*/ 205279 w 289938"/>
                  <a:gd name="connsiteY2" fmla="*/ 0 h 711751"/>
                  <a:gd name="connsiteX3" fmla="*/ 165497 w 289938"/>
                  <a:gd name="connsiteY3" fmla="*/ 221631 h 711751"/>
                  <a:gd name="connsiteX4" fmla="*/ 249803 w 289938"/>
                  <a:gd name="connsiteY4" fmla="*/ 685915 h 711751"/>
                  <a:gd name="connsiteX5" fmla="*/ 108727 w 289938"/>
                  <a:gd name="connsiteY5" fmla="*/ 634878 h 711751"/>
                  <a:gd name="connsiteX6" fmla="*/ 0 w 289938"/>
                  <a:gd name="connsiteY6" fmla="*/ 555598 h 711751"/>
                  <a:gd name="connsiteX7" fmla="*/ 125149 w 289938"/>
                  <a:gd name="connsiteY7" fmla="*/ 650239 h 711751"/>
                  <a:gd name="connsiteX8" fmla="*/ 289939 w 289938"/>
                  <a:gd name="connsiteY8" fmla="*/ 711752 h 71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9938" h="711751">
                    <a:moveTo>
                      <a:pt x="184256" y="224745"/>
                    </a:moveTo>
                    <a:lnTo>
                      <a:pt x="221701" y="15219"/>
                    </a:lnTo>
                    <a:lnTo>
                      <a:pt x="205279" y="0"/>
                    </a:lnTo>
                    <a:lnTo>
                      <a:pt x="165497" y="221631"/>
                    </a:lnTo>
                    <a:lnTo>
                      <a:pt x="249803" y="685915"/>
                    </a:lnTo>
                    <a:cubicBezTo>
                      <a:pt x="249803" y="685915"/>
                      <a:pt x="201881" y="688676"/>
                      <a:pt x="108727" y="634878"/>
                    </a:cubicBezTo>
                    <a:cubicBezTo>
                      <a:pt x="69837" y="612291"/>
                      <a:pt x="33399" y="585718"/>
                      <a:pt x="0" y="555598"/>
                    </a:cubicBezTo>
                    <a:cubicBezTo>
                      <a:pt x="37756" y="592067"/>
                      <a:pt x="79777" y="623843"/>
                      <a:pt x="125149" y="650239"/>
                    </a:cubicBezTo>
                    <a:cubicBezTo>
                      <a:pt x="218304" y="704036"/>
                      <a:pt x="289939" y="711752"/>
                      <a:pt x="289939" y="71175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803" name="Freeform: Shape 802">
                <a:extLst>
                  <a:ext uri="{FF2B5EF4-FFF2-40B4-BE49-F238E27FC236}">
                    <a16:creationId xmlns:a16="http://schemas.microsoft.com/office/drawing/2014/main" id="{C260782F-D8EB-48A6-93AC-9C1109361D8C}"/>
                  </a:ext>
                </a:extLst>
              </p:cNvPr>
              <p:cNvSpPr/>
              <p:nvPr/>
            </p:nvSpPr>
            <p:spPr>
              <a:xfrm>
                <a:off x="6280840" y="4649911"/>
                <a:ext cx="280132" cy="264075"/>
              </a:xfrm>
              <a:custGeom>
                <a:avLst/>
                <a:gdLst>
                  <a:gd name="connsiteX0" fmla="*/ 124725 w 124724"/>
                  <a:gd name="connsiteY0" fmla="*/ 117575 h 117575"/>
                  <a:gd name="connsiteX1" fmla="*/ 120124 w 124724"/>
                  <a:gd name="connsiteY1" fmla="*/ 96340 h 117575"/>
                  <a:gd name="connsiteX2" fmla="*/ 124512 w 124724"/>
                  <a:gd name="connsiteY2" fmla="*/ 71777 h 117575"/>
                  <a:gd name="connsiteX3" fmla="*/ 0 w 124724"/>
                  <a:gd name="connsiteY3" fmla="*/ 0 h 117575"/>
                  <a:gd name="connsiteX4" fmla="*/ 4530 w 124724"/>
                  <a:gd name="connsiteY4" fmla="*/ 29659 h 117575"/>
                  <a:gd name="connsiteX5" fmla="*/ 0 w 124724"/>
                  <a:gd name="connsiteY5" fmla="*/ 45657 h 11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4724" h="117575">
                    <a:moveTo>
                      <a:pt x="124725" y="117575"/>
                    </a:moveTo>
                    <a:lnTo>
                      <a:pt x="120124" y="96340"/>
                    </a:lnTo>
                    <a:lnTo>
                      <a:pt x="124512" y="71777"/>
                    </a:lnTo>
                    <a:lnTo>
                      <a:pt x="0" y="0"/>
                    </a:lnTo>
                    <a:lnTo>
                      <a:pt x="4530" y="29659"/>
                    </a:lnTo>
                    <a:cubicBezTo>
                      <a:pt x="3044" y="35110"/>
                      <a:pt x="1557" y="40348"/>
                      <a:pt x="0" y="45657"/>
                    </a:cubicBezTo>
                    <a:close/>
                  </a:path>
                </a:pathLst>
              </a:custGeom>
              <a:solidFill>
                <a:srgbClr val="31363A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804" name="Freeform: Shape 803">
                <a:extLst>
                  <a:ext uri="{FF2B5EF4-FFF2-40B4-BE49-F238E27FC236}">
                    <a16:creationId xmlns:a16="http://schemas.microsoft.com/office/drawing/2014/main" id="{4D39B6BF-71A5-4E26-B170-E9CEED3AC29B}"/>
                  </a:ext>
                </a:extLst>
              </p:cNvPr>
              <p:cNvSpPr/>
              <p:nvPr/>
            </p:nvSpPr>
            <p:spPr>
              <a:xfrm>
                <a:off x="6370029" y="3957462"/>
                <a:ext cx="113042" cy="289020"/>
              </a:xfrm>
              <a:custGeom>
                <a:avLst/>
                <a:gdLst>
                  <a:gd name="connsiteX0" fmla="*/ 19963 w 50330"/>
                  <a:gd name="connsiteY0" fmla="*/ 127443 h 128681"/>
                  <a:gd name="connsiteX1" fmla="*/ 21025 w 50330"/>
                  <a:gd name="connsiteY1" fmla="*/ 115055 h 128681"/>
                  <a:gd name="connsiteX2" fmla="*/ 21025 w 50330"/>
                  <a:gd name="connsiteY2" fmla="*/ 103517 h 128681"/>
                  <a:gd name="connsiteX3" fmla="*/ 26121 w 50330"/>
                  <a:gd name="connsiteY3" fmla="*/ 99624 h 128681"/>
                  <a:gd name="connsiteX4" fmla="*/ 35677 w 50330"/>
                  <a:gd name="connsiteY4" fmla="*/ 102031 h 128681"/>
                  <a:gd name="connsiteX5" fmla="*/ 36314 w 50330"/>
                  <a:gd name="connsiteY5" fmla="*/ 102031 h 128681"/>
                  <a:gd name="connsiteX6" fmla="*/ 47569 w 50330"/>
                  <a:gd name="connsiteY6" fmla="*/ 92333 h 128681"/>
                  <a:gd name="connsiteX7" fmla="*/ 50330 w 50330"/>
                  <a:gd name="connsiteY7" fmla="*/ 74636 h 128681"/>
                  <a:gd name="connsiteX8" fmla="*/ 50330 w 50330"/>
                  <a:gd name="connsiteY8" fmla="*/ 64868 h 128681"/>
                  <a:gd name="connsiteX9" fmla="*/ 49481 w 50330"/>
                  <a:gd name="connsiteY9" fmla="*/ 54958 h 128681"/>
                  <a:gd name="connsiteX10" fmla="*/ 47782 w 50330"/>
                  <a:gd name="connsiteY10" fmla="*/ 44411 h 128681"/>
                  <a:gd name="connsiteX11" fmla="*/ 44950 w 50330"/>
                  <a:gd name="connsiteY11" fmla="*/ 33651 h 128681"/>
                  <a:gd name="connsiteX12" fmla="*/ 40562 w 50330"/>
                  <a:gd name="connsiteY12" fmla="*/ 22680 h 128681"/>
                  <a:gd name="connsiteX13" fmla="*/ 34120 w 50330"/>
                  <a:gd name="connsiteY13" fmla="*/ 12274 h 128681"/>
                  <a:gd name="connsiteX14" fmla="*/ 25484 w 50330"/>
                  <a:gd name="connsiteY14" fmla="*/ 3921 h 128681"/>
                  <a:gd name="connsiteX15" fmla="*/ 16636 w 50330"/>
                  <a:gd name="connsiteY15" fmla="*/ 240 h 128681"/>
                  <a:gd name="connsiteX16" fmla="*/ 12743 w 50330"/>
                  <a:gd name="connsiteY16" fmla="*/ 240 h 128681"/>
                  <a:gd name="connsiteX17" fmla="*/ 9204 w 50330"/>
                  <a:gd name="connsiteY17" fmla="*/ 1373 h 128681"/>
                  <a:gd name="connsiteX18" fmla="*/ 3753 w 50330"/>
                  <a:gd name="connsiteY18" fmla="*/ 6328 h 128681"/>
                  <a:gd name="connsiteX19" fmla="*/ 851 w 50330"/>
                  <a:gd name="connsiteY19" fmla="*/ 14327 h 128681"/>
                  <a:gd name="connsiteX20" fmla="*/ 1 w 50330"/>
                  <a:gd name="connsiteY20" fmla="*/ 24095 h 128681"/>
                  <a:gd name="connsiteX21" fmla="*/ 3187 w 50330"/>
                  <a:gd name="connsiteY21" fmla="*/ 30466 h 128681"/>
                  <a:gd name="connsiteX22" fmla="*/ 7080 w 50330"/>
                  <a:gd name="connsiteY22" fmla="*/ 29121 h 128681"/>
                  <a:gd name="connsiteX23" fmla="*/ 7080 w 50330"/>
                  <a:gd name="connsiteY23" fmla="*/ 28484 h 128681"/>
                  <a:gd name="connsiteX24" fmla="*/ 7080 w 50330"/>
                  <a:gd name="connsiteY24" fmla="*/ 27281 h 128681"/>
                  <a:gd name="connsiteX25" fmla="*/ 6726 w 50330"/>
                  <a:gd name="connsiteY25" fmla="*/ 18716 h 128681"/>
                  <a:gd name="connsiteX26" fmla="*/ 7151 w 50330"/>
                  <a:gd name="connsiteY26" fmla="*/ 14752 h 128681"/>
                  <a:gd name="connsiteX27" fmla="*/ 8283 w 50330"/>
                  <a:gd name="connsiteY27" fmla="*/ 11425 h 128681"/>
                  <a:gd name="connsiteX28" fmla="*/ 12247 w 50330"/>
                  <a:gd name="connsiteY28" fmla="*/ 6611 h 128681"/>
                  <a:gd name="connsiteX29" fmla="*/ 14937 w 50330"/>
                  <a:gd name="connsiteY29" fmla="*/ 5337 h 128681"/>
                  <a:gd name="connsiteX30" fmla="*/ 18123 w 50330"/>
                  <a:gd name="connsiteY30" fmla="*/ 5337 h 128681"/>
                  <a:gd name="connsiteX31" fmla="*/ 25201 w 50330"/>
                  <a:gd name="connsiteY31" fmla="*/ 7956 h 128681"/>
                  <a:gd name="connsiteX32" fmla="*/ 32280 w 50330"/>
                  <a:gd name="connsiteY32" fmla="*/ 14468 h 128681"/>
                  <a:gd name="connsiteX33" fmla="*/ 37589 w 50330"/>
                  <a:gd name="connsiteY33" fmla="*/ 23671 h 128681"/>
                  <a:gd name="connsiteX34" fmla="*/ 41199 w 50330"/>
                  <a:gd name="connsiteY34" fmla="*/ 33439 h 128681"/>
                  <a:gd name="connsiteX35" fmla="*/ 43322 w 50330"/>
                  <a:gd name="connsiteY35" fmla="*/ 43349 h 128681"/>
                  <a:gd name="connsiteX36" fmla="*/ 44384 w 50330"/>
                  <a:gd name="connsiteY36" fmla="*/ 52834 h 128681"/>
                  <a:gd name="connsiteX37" fmla="*/ 44809 w 50330"/>
                  <a:gd name="connsiteY37" fmla="*/ 62249 h 128681"/>
                  <a:gd name="connsiteX38" fmla="*/ 44809 w 50330"/>
                  <a:gd name="connsiteY38" fmla="*/ 71380 h 128681"/>
                  <a:gd name="connsiteX39" fmla="*/ 42261 w 50330"/>
                  <a:gd name="connsiteY39" fmla="*/ 87449 h 128681"/>
                  <a:gd name="connsiteX40" fmla="*/ 33979 w 50330"/>
                  <a:gd name="connsiteY40" fmla="*/ 95023 h 128681"/>
                  <a:gd name="connsiteX41" fmla="*/ 34616 w 50330"/>
                  <a:gd name="connsiteY41" fmla="*/ 95023 h 128681"/>
                  <a:gd name="connsiteX42" fmla="*/ 23502 w 50330"/>
                  <a:gd name="connsiteY42" fmla="*/ 92191 h 128681"/>
                  <a:gd name="connsiteX43" fmla="*/ 18264 w 50330"/>
                  <a:gd name="connsiteY43" fmla="*/ 93536 h 128681"/>
                  <a:gd name="connsiteX44" fmla="*/ 15291 w 50330"/>
                  <a:gd name="connsiteY44" fmla="*/ 98845 h 128681"/>
                  <a:gd name="connsiteX45" fmla="*/ 15291 w 50330"/>
                  <a:gd name="connsiteY45" fmla="*/ 111870 h 128681"/>
                  <a:gd name="connsiteX46" fmla="*/ 14512 w 50330"/>
                  <a:gd name="connsiteY46" fmla="*/ 123054 h 128681"/>
                  <a:gd name="connsiteX47" fmla="*/ 16565 w 50330"/>
                  <a:gd name="connsiteY47" fmla="*/ 127867 h 128681"/>
                  <a:gd name="connsiteX48" fmla="*/ 19751 w 50330"/>
                  <a:gd name="connsiteY48" fmla="*/ 127513 h 128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50330" h="128681">
                    <a:moveTo>
                      <a:pt x="19963" y="127443"/>
                    </a:moveTo>
                    <a:cubicBezTo>
                      <a:pt x="20841" y="123375"/>
                      <a:pt x="21198" y="119212"/>
                      <a:pt x="21025" y="115055"/>
                    </a:cubicBezTo>
                    <a:cubicBezTo>
                      <a:pt x="20698" y="111216"/>
                      <a:pt x="20698" y="107357"/>
                      <a:pt x="21025" y="103517"/>
                    </a:cubicBezTo>
                    <a:cubicBezTo>
                      <a:pt x="21520" y="100544"/>
                      <a:pt x="23219" y="99553"/>
                      <a:pt x="26121" y="99624"/>
                    </a:cubicBezTo>
                    <a:cubicBezTo>
                      <a:pt x="29407" y="99954"/>
                      <a:pt x="32627" y="100766"/>
                      <a:pt x="35677" y="102031"/>
                    </a:cubicBezTo>
                    <a:lnTo>
                      <a:pt x="36314" y="102031"/>
                    </a:lnTo>
                    <a:cubicBezTo>
                      <a:pt x="42544" y="102455"/>
                      <a:pt x="45800" y="97429"/>
                      <a:pt x="47569" y="92333"/>
                    </a:cubicBezTo>
                    <a:cubicBezTo>
                      <a:pt x="49355" y="86602"/>
                      <a:pt x="50285" y="80639"/>
                      <a:pt x="50330" y="74636"/>
                    </a:cubicBezTo>
                    <a:cubicBezTo>
                      <a:pt x="50330" y="71097"/>
                      <a:pt x="50330" y="68124"/>
                      <a:pt x="50330" y="64868"/>
                    </a:cubicBezTo>
                    <a:cubicBezTo>
                      <a:pt x="50243" y="61551"/>
                      <a:pt x="49959" y="58242"/>
                      <a:pt x="49481" y="54958"/>
                    </a:cubicBezTo>
                    <a:cubicBezTo>
                      <a:pt x="48914" y="51419"/>
                      <a:pt x="48631" y="47879"/>
                      <a:pt x="47782" y="44411"/>
                    </a:cubicBezTo>
                    <a:cubicBezTo>
                      <a:pt x="46932" y="40942"/>
                      <a:pt x="46225" y="37332"/>
                      <a:pt x="44950" y="33651"/>
                    </a:cubicBezTo>
                    <a:cubicBezTo>
                      <a:pt x="43733" y="29900"/>
                      <a:pt x="42267" y="26235"/>
                      <a:pt x="40562" y="22680"/>
                    </a:cubicBezTo>
                    <a:cubicBezTo>
                      <a:pt x="38797" y="18989"/>
                      <a:pt x="36637" y="15500"/>
                      <a:pt x="34120" y="12274"/>
                    </a:cubicBezTo>
                    <a:cubicBezTo>
                      <a:pt x="31641" y="9104"/>
                      <a:pt x="28735" y="6293"/>
                      <a:pt x="25484" y="3921"/>
                    </a:cubicBezTo>
                    <a:cubicBezTo>
                      <a:pt x="22879" y="1992"/>
                      <a:pt x="19841" y="728"/>
                      <a:pt x="16636" y="240"/>
                    </a:cubicBezTo>
                    <a:cubicBezTo>
                      <a:pt x="15358" y="-80"/>
                      <a:pt x="14020" y="-80"/>
                      <a:pt x="12743" y="240"/>
                    </a:cubicBezTo>
                    <a:cubicBezTo>
                      <a:pt x="11486" y="316"/>
                      <a:pt x="10270" y="705"/>
                      <a:pt x="9204" y="1373"/>
                    </a:cubicBezTo>
                    <a:cubicBezTo>
                      <a:pt x="6948" y="2466"/>
                      <a:pt x="5055" y="4186"/>
                      <a:pt x="3753" y="6328"/>
                    </a:cubicBezTo>
                    <a:cubicBezTo>
                      <a:pt x="2365" y="8823"/>
                      <a:pt x="1385" y="11523"/>
                      <a:pt x="851" y="14327"/>
                    </a:cubicBezTo>
                    <a:cubicBezTo>
                      <a:pt x="263" y="17549"/>
                      <a:pt x="-22" y="20820"/>
                      <a:pt x="1" y="24095"/>
                    </a:cubicBezTo>
                    <a:cubicBezTo>
                      <a:pt x="-16" y="26606"/>
                      <a:pt x="1168" y="28973"/>
                      <a:pt x="3187" y="30466"/>
                    </a:cubicBezTo>
                    <a:cubicBezTo>
                      <a:pt x="5098" y="31811"/>
                      <a:pt x="6868" y="31245"/>
                      <a:pt x="7080" y="29121"/>
                    </a:cubicBezTo>
                    <a:cubicBezTo>
                      <a:pt x="7115" y="28910"/>
                      <a:pt x="7115" y="28695"/>
                      <a:pt x="7080" y="28484"/>
                    </a:cubicBezTo>
                    <a:lnTo>
                      <a:pt x="7080" y="27281"/>
                    </a:lnTo>
                    <a:cubicBezTo>
                      <a:pt x="6652" y="24447"/>
                      <a:pt x="6534" y="21575"/>
                      <a:pt x="6726" y="18716"/>
                    </a:cubicBezTo>
                    <a:cubicBezTo>
                      <a:pt x="6759" y="17385"/>
                      <a:pt x="6901" y="16059"/>
                      <a:pt x="7151" y="14752"/>
                    </a:cubicBezTo>
                    <a:lnTo>
                      <a:pt x="8283" y="11425"/>
                    </a:lnTo>
                    <a:cubicBezTo>
                      <a:pt x="9167" y="9505"/>
                      <a:pt x="10533" y="7846"/>
                      <a:pt x="12247" y="6611"/>
                    </a:cubicBezTo>
                    <a:cubicBezTo>
                      <a:pt x="12968" y="5886"/>
                      <a:pt x="13919" y="5435"/>
                      <a:pt x="14937" y="5337"/>
                    </a:cubicBezTo>
                    <a:cubicBezTo>
                      <a:pt x="15985" y="5095"/>
                      <a:pt x="17074" y="5095"/>
                      <a:pt x="18123" y="5337"/>
                    </a:cubicBezTo>
                    <a:cubicBezTo>
                      <a:pt x="20671" y="5574"/>
                      <a:pt x="23112" y="6477"/>
                      <a:pt x="25201" y="7956"/>
                    </a:cubicBezTo>
                    <a:cubicBezTo>
                      <a:pt x="27901" y="9725"/>
                      <a:pt x="30292" y="11925"/>
                      <a:pt x="32280" y="14468"/>
                    </a:cubicBezTo>
                    <a:cubicBezTo>
                      <a:pt x="34349" y="17353"/>
                      <a:pt x="36128" y="20435"/>
                      <a:pt x="37589" y="23671"/>
                    </a:cubicBezTo>
                    <a:cubicBezTo>
                      <a:pt x="39078" y="26814"/>
                      <a:pt x="40286" y="30083"/>
                      <a:pt x="41199" y="33439"/>
                    </a:cubicBezTo>
                    <a:cubicBezTo>
                      <a:pt x="42261" y="36766"/>
                      <a:pt x="42614" y="40093"/>
                      <a:pt x="43322" y="43349"/>
                    </a:cubicBezTo>
                    <a:cubicBezTo>
                      <a:pt x="43843" y="46490"/>
                      <a:pt x="44197" y="49656"/>
                      <a:pt x="44384" y="52834"/>
                    </a:cubicBezTo>
                    <a:cubicBezTo>
                      <a:pt x="44737" y="55960"/>
                      <a:pt x="44880" y="59105"/>
                      <a:pt x="44809" y="62249"/>
                    </a:cubicBezTo>
                    <a:cubicBezTo>
                      <a:pt x="44809" y="65293"/>
                      <a:pt x="44809" y="68832"/>
                      <a:pt x="44809" y="71380"/>
                    </a:cubicBezTo>
                    <a:cubicBezTo>
                      <a:pt x="44767" y="76834"/>
                      <a:pt x="43908" y="82250"/>
                      <a:pt x="42261" y="87449"/>
                    </a:cubicBezTo>
                    <a:cubicBezTo>
                      <a:pt x="40632" y="91979"/>
                      <a:pt x="37943" y="95377"/>
                      <a:pt x="33979" y="95023"/>
                    </a:cubicBezTo>
                    <a:lnTo>
                      <a:pt x="34616" y="95023"/>
                    </a:lnTo>
                    <a:cubicBezTo>
                      <a:pt x="31080" y="93511"/>
                      <a:pt x="27330" y="92556"/>
                      <a:pt x="23502" y="92191"/>
                    </a:cubicBezTo>
                    <a:cubicBezTo>
                      <a:pt x="21660" y="92096"/>
                      <a:pt x="19833" y="92565"/>
                      <a:pt x="18264" y="93536"/>
                    </a:cubicBezTo>
                    <a:cubicBezTo>
                      <a:pt x="16646" y="94873"/>
                      <a:pt x="15586" y="96767"/>
                      <a:pt x="15291" y="98845"/>
                    </a:cubicBezTo>
                    <a:cubicBezTo>
                      <a:pt x="14868" y="103177"/>
                      <a:pt x="14868" y="107538"/>
                      <a:pt x="15291" y="111870"/>
                    </a:cubicBezTo>
                    <a:cubicBezTo>
                      <a:pt x="15582" y="115616"/>
                      <a:pt x="15319" y="119384"/>
                      <a:pt x="14512" y="123054"/>
                    </a:cubicBezTo>
                    <a:cubicBezTo>
                      <a:pt x="14370" y="124897"/>
                      <a:pt x="15136" y="126694"/>
                      <a:pt x="16565" y="127867"/>
                    </a:cubicBezTo>
                    <a:cubicBezTo>
                      <a:pt x="17981" y="129071"/>
                      <a:pt x="19397" y="128929"/>
                      <a:pt x="19751" y="127513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805" name="Green dress">
              <a:extLst>
                <a:ext uri="{FF2B5EF4-FFF2-40B4-BE49-F238E27FC236}">
                  <a16:creationId xmlns:a16="http://schemas.microsoft.com/office/drawing/2014/main" id="{A8F1B3ED-B940-49B4-8834-3E4E647D563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38536" y="3408670"/>
              <a:ext cx="379971" cy="1261872"/>
              <a:chOff x="5894026" y="4081689"/>
              <a:chExt cx="607298" cy="2016819"/>
            </a:xfrm>
          </p:grpSpPr>
          <p:grpSp>
            <p:nvGrpSpPr>
              <p:cNvPr id="806" name="Group 805">
                <a:extLst>
                  <a:ext uri="{FF2B5EF4-FFF2-40B4-BE49-F238E27FC236}">
                    <a16:creationId xmlns:a16="http://schemas.microsoft.com/office/drawing/2014/main" id="{1A7F9D60-3931-4485-8A71-A5B3B7EA442C}"/>
                  </a:ext>
                </a:extLst>
              </p:cNvPr>
              <p:cNvGrpSpPr/>
              <p:nvPr/>
            </p:nvGrpSpPr>
            <p:grpSpPr>
              <a:xfrm>
                <a:off x="5894026" y="4258174"/>
                <a:ext cx="607298" cy="1840334"/>
                <a:chOff x="5894026" y="4258174"/>
                <a:chExt cx="607298" cy="1840334"/>
              </a:xfrm>
            </p:grpSpPr>
            <p:sp>
              <p:nvSpPr>
                <p:cNvPr id="808" name="Freeform: Shape 807">
                  <a:extLst>
                    <a:ext uri="{FF2B5EF4-FFF2-40B4-BE49-F238E27FC236}">
                      <a16:creationId xmlns:a16="http://schemas.microsoft.com/office/drawing/2014/main" id="{EEB70A5F-0BFC-4461-8971-93395D2F02C7}"/>
                    </a:ext>
                  </a:extLst>
                </p:cNvPr>
                <p:cNvSpPr/>
                <p:nvPr/>
              </p:nvSpPr>
              <p:spPr>
                <a:xfrm>
                  <a:off x="5992474" y="4304116"/>
                  <a:ext cx="17930" cy="197777"/>
                </a:xfrm>
                <a:custGeom>
                  <a:avLst/>
                  <a:gdLst>
                    <a:gd name="connsiteX0" fmla="*/ 410 w 7983"/>
                    <a:gd name="connsiteY0" fmla="*/ 0 h 88057"/>
                    <a:gd name="connsiteX1" fmla="*/ 1613 w 7983"/>
                    <a:gd name="connsiteY1" fmla="*/ 83315 h 88057"/>
                    <a:gd name="connsiteX2" fmla="*/ 7984 w 7983"/>
                    <a:gd name="connsiteY2" fmla="*/ 88058 h 88057"/>
                    <a:gd name="connsiteX3" fmla="*/ 4374 w 7983"/>
                    <a:gd name="connsiteY3" fmla="*/ 212 h 88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83" h="88057">
                      <a:moveTo>
                        <a:pt x="410" y="0"/>
                      </a:moveTo>
                      <a:cubicBezTo>
                        <a:pt x="410" y="0"/>
                        <a:pt x="-1077" y="21236"/>
                        <a:pt x="1613" y="83315"/>
                      </a:cubicBezTo>
                      <a:lnTo>
                        <a:pt x="7984" y="88058"/>
                      </a:lnTo>
                      <a:cubicBezTo>
                        <a:pt x="4869" y="58886"/>
                        <a:pt x="3662" y="29542"/>
                        <a:pt x="4374" y="212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09" name="Freeform: Shape 808">
                  <a:extLst>
                    <a:ext uri="{FF2B5EF4-FFF2-40B4-BE49-F238E27FC236}">
                      <a16:creationId xmlns:a16="http://schemas.microsoft.com/office/drawing/2014/main" id="{CCF61F9F-D000-4C03-9E32-9268C91C7AFE}"/>
                    </a:ext>
                  </a:extLst>
                </p:cNvPr>
                <p:cNvSpPr/>
                <p:nvPr/>
              </p:nvSpPr>
              <p:spPr>
                <a:xfrm>
                  <a:off x="6383069" y="4528763"/>
                  <a:ext cx="16818" cy="193802"/>
                </a:xfrm>
                <a:custGeom>
                  <a:avLst/>
                  <a:gdLst>
                    <a:gd name="connsiteX0" fmla="*/ 7079 w 7488"/>
                    <a:gd name="connsiteY0" fmla="*/ 4389 h 86287"/>
                    <a:gd name="connsiteX1" fmla="*/ 5875 w 7488"/>
                    <a:gd name="connsiteY1" fmla="*/ 86288 h 86287"/>
                    <a:gd name="connsiteX2" fmla="*/ 0 w 7488"/>
                    <a:gd name="connsiteY2" fmla="*/ 83669 h 86287"/>
                    <a:gd name="connsiteX3" fmla="*/ 3610 w 7488"/>
                    <a:gd name="connsiteY3" fmla="*/ 0 h 86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88" h="86287">
                      <a:moveTo>
                        <a:pt x="7079" y="4389"/>
                      </a:moveTo>
                      <a:cubicBezTo>
                        <a:pt x="7079" y="4389"/>
                        <a:pt x="8565" y="27323"/>
                        <a:pt x="5875" y="86288"/>
                      </a:cubicBezTo>
                      <a:lnTo>
                        <a:pt x="0" y="83669"/>
                      </a:lnTo>
                      <a:cubicBezTo>
                        <a:pt x="3323" y="55911"/>
                        <a:pt x="4530" y="27941"/>
                        <a:pt x="3610" y="0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0" name="Freeform: Shape 809">
                  <a:extLst>
                    <a:ext uri="{FF2B5EF4-FFF2-40B4-BE49-F238E27FC236}">
                      <a16:creationId xmlns:a16="http://schemas.microsoft.com/office/drawing/2014/main" id="{6CC1EE9A-3E5E-4534-9089-DA9D9D404C17}"/>
                    </a:ext>
                  </a:extLst>
                </p:cNvPr>
                <p:cNvSpPr/>
                <p:nvPr/>
              </p:nvSpPr>
              <p:spPr>
                <a:xfrm>
                  <a:off x="5996097" y="4490924"/>
                  <a:ext cx="400804" cy="469644"/>
                </a:xfrm>
                <a:custGeom>
                  <a:avLst/>
                  <a:gdLst>
                    <a:gd name="connsiteX0" fmla="*/ 0 w 178451"/>
                    <a:gd name="connsiteY0" fmla="*/ 0 h 209101"/>
                    <a:gd name="connsiteX1" fmla="*/ 52735 w 178451"/>
                    <a:gd name="connsiteY1" fmla="*/ 166064 h 209101"/>
                    <a:gd name="connsiteX2" fmla="*/ 127344 w 178451"/>
                    <a:gd name="connsiteY2" fmla="*/ 209101 h 209101"/>
                    <a:gd name="connsiteX3" fmla="*/ 178451 w 178451"/>
                    <a:gd name="connsiteY3" fmla="*/ 102923 h 209101"/>
                    <a:gd name="connsiteX4" fmla="*/ 89756 w 178451"/>
                    <a:gd name="connsiteY4" fmla="*/ 78148 h 209101"/>
                    <a:gd name="connsiteX5" fmla="*/ 0 w 178451"/>
                    <a:gd name="connsiteY5" fmla="*/ 0 h 2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8451" h="209101">
                      <a:moveTo>
                        <a:pt x="0" y="0"/>
                      </a:moveTo>
                      <a:lnTo>
                        <a:pt x="52735" y="166064"/>
                      </a:lnTo>
                      <a:lnTo>
                        <a:pt x="127344" y="209101"/>
                      </a:lnTo>
                      <a:cubicBezTo>
                        <a:pt x="127344" y="209101"/>
                        <a:pt x="169815" y="122884"/>
                        <a:pt x="178451" y="102923"/>
                      </a:cubicBezTo>
                      <a:cubicBezTo>
                        <a:pt x="128901" y="61938"/>
                        <a:pt x="89756" y="78148"/>
                        <a:pt x="89756" y="78148"/>
                      </a:cubicBezTo>
                      <a:cubicBezTo>
                        <a:pt x="89756" y="78148"/>
                        <a:pt x="47922" y="22227"/>
                        <a:pt x="0" y="0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1" name="Freeform: Shape 810">
                  <a:extLst>
                    <a:ext uri="{FF2B5EF4-FFF2-40B4-BE49-F238E27FC236}">
                      <a16:creationId xmlns:a16="http://schemas.microsoft.com/office/drawing/2014/main" id="{5D368DAC-77C3-476A-9036-5C17E2B9910B}"/>
                    </a:ext>
                  </a:extLst>
                </p:cNvPr>
                <p:cNvSpPr/>
                <p:nvPr/>
              </p:nvSpPr>
              <p:spPr>
                <a:xfrm>
                  <a:off x="5894026" y="4857056"/>
                  <a:ext cx="607298" cy="1239870"/>
                </a:xfrm>
                <a:custGeom>
                  <a:avLst/>
                  <a:gdLst>
                    <a:gd name="connsiteX0" fmla="*/ 98180 w 270389"/>
                    <a:gd name="connsiteY0" fmla="*/ 3191 h 552031"/>
                    <a:gd name="connsiteX1" fmla="*/ 0 w 270389"/>
                    <a:gd name="connsiteY1" fmla="*/ 396549 h 552031"/>
                    <a:gd name="connsiteX2" fmla="*/ 133927 w 270389"/>
                    <a:gd name="connsiteY2" fmla="*/ 505700 h 552031"/>
                    <a:gd name="connsiteX3" fmla="*/ 269199 w 270389"/>
                    <a:gd name="connsiteY3" fmla="*/ 551924 h 552031"/>
                    <a:gd name="connsiteX4" fmla="*/ 172788 w 270389"/>
                    <a:gd name="connsiteY4" fmla="*/ 46158 h 552031"/>
                    <a:gd name="connsiteX5" fmla="*/ 98180 w 270389"/>
                    <a:gd name="connsiteY5" fmla="*/ 3191 h 552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389" h="552031">
                      <a:moveTo>
                        <a:pt x="98180" y="3191"/>
                      </a:moveTo>
                      <a:cubicBezTo>
                        <a:pt x="-16422" y="183837"/>
                        <a:pt x="4176" y="254623"/>
                        <a:pt x="0" y="396549"/>
                      </a:cubicBezTo>
                      <a:cubicBezTo>
                        <a:pt x="0" y="396549"/>
                        <a:pt x="45940" y="454876"/>
                        <a:pt x="133927" y="505700"/>
                      </a:cubicBezTo>
                      <a:cubicBezTo>
                        <a:pt x="221914" y="556525"/>
                        <a:pt x="269199" y="551924"/>
                        <a:pt x="269199" y="551924"/>
                      </a:cubicBezTo>
                      <a:cubicBezTo>
                        <a:pt x="269199" y="471652"/>
                        <a:pt x="288382" y="343884"/>
                        <a:pt x="172788" y="46158"/>
                      </a:cubicBezTo>
                      <a:cubicBezTo>
                        <a:pt x="172788" y="46229"/>
                        <a:pt x="138245" y="-14363"/>
                        <a:pt x="98180" y="3191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2" name="Freeform: Shape 811">
                  <a:extLst>
                    <a:ext uri="{FF2B5EF4-FFF2-40B4-BE49-F238E27FC236}">
                      <a16:creationId xmlns:a16="http://schemas.microsoft.com/office/drawing/2014/main" id="{431CBC8E-A1CB-42C5-B6C2-9BCE9EBD2348}"/>
                    </a:ext>
                  </a:extLst>
                </p:cNvPr>
                <p:cNvSpPr/>
                <p:nvPr/>
              </p:nvSpPr>
              <p:spPr>
                <a:xfrm>
                  <a:off x="6049675" y="4529877"/>
                  <a:ext cx="451218" cy="1568631"/>
                </a:xfrm>
                <a:custGeom>
                  <a:avLst/>
                  <a:gdLst>
                    <a:gd name="connsiteX0" fmla="*/ 103206 w 200897"/>
                    <a:gd name="connsiteY0" fmla="*/ 192467 h 698406"/>
                    <a:gd name="connsiteX1" fmla="*/ 154313 w 200897"/>
                    <a:gd name="connsiteY1" fmla="*/ 86288 h 698406"/>
                    <a:gd name="connsiteX2" fmla="*/ 155517 w 200897"/>
                    <a:gd name="connsiteY2" fmla="*/ 4318 h 698406"/>
                    <a:gd name="connsiteX3" fmla="*/ 151623 w 200897"/>
                    <a:gd name="connsiteY3" fmla="*/ 0 h 698406"/>
                    <a:gd name="connsiteX4" fmla="*/ 148438 w 200897"/>
                    <a:gd name="connsiteY4" fmla="*/ 81758 h 698406"/>
                    <a:gd name="connsiteX5" fmla="*/ 136688 w 200897"/>
                    <a:gd name="connsiteY5" fmla="*/ 73971 h 698406"/>
                    <a:gd name="connsiteX6" fmla="*/ 85863 w 200897"/>
                    <a:gd name="connsiteY6" fmla="*/ 179513 h 698406"/>
                    <a:gd name="connsiteX7" fmla="*/ 182274 w 200897"/>
                    <a:gd name="connsiteY7" fmla="*/ 685207 h 698406"/>
                    <a:gd name="connsiteX8" fmla="*/ 47073 w 200897"/>
                    <a:gd name="connsiteY8" fmla="*/ 638913 h 698406"/>
                    <a:gd name="connsiteX9" fmla="*/ 0 w 200897"/>
                    <a:gd name="connsiteY9" fmla="*/ 608475 h 698406"/>
                    <a:gd name="connsiteX10" fmla="*/ 64557 w 200897"/>
                    <a:gd name="connsiteY10" fmla="*/ 652009 h 698406"/>
                    <a:gd name="connsiteX11" fmla="*/ 199829 w 200897"/>
                    <a:gd name="connsiteY11" fmla="*/ 698303 h 698406"/>
                    <a:gd name="connsiteX12" fmla="*/ 103206 w 200897"/>
                    <a:gd name="connsiteY12" fmla="*/ 192467 h 698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0897" h="698406">
                      <a:moveTo>
                        <a:pt x="103206" y="192467"/>
                      </a:moveTo>
                      <a:cubicBezTo>
                        <a:pt x="103206" y="192467"/>
                        <a:pt x="145677" y="106250"/>
                        <a:pt x="154313" y="86288"/>
                      </a:cubicBezTo>
                      <a:cubicBezTo>
                        <a:pt x="157074" y="27323"/>
                        <a:pt x="155517" y="4318"/>
                        <a:pt x="155517" y="4318"/>
                      </a:cubicBezTo>
                      <a:lnTo>
                        <a:pt x="151623" y="0"/>
                      </a:lnTo>
                      <a:cubicBezTo>
                        <a:pt x="152494" y="27294"/>
                        <a:pt x="151429" y="54615"/>
                        <a:pt x="148438" y="81758"/>
                      </a:cubicBezTo>
                      <a:cubicBezTo>
                        <a:pt x="144403" y="78785"/>
                        <a:pt x="140581" y="76307"/>
                        <a:pt x="136688" y="73971"/>
                      </a:cubicBezTo>
                      <a:cubicBezTo>
                        <a:pt x="127273" y="95207"/>
                        <a:pt x="85863" y="179513"/>
                        <a:pt x="85863" y="179513"/>
                      </a:cubicBezTo>
                      <a:cubicBezTo>
                        <a:pt x="201457" y="477168"/>
                        <a:pt x="182274" y="604936"/>
                        <a:pt x="182274" y="685207"/>
                      </a:cubicBezTo>
                      <a:cubicBezTo>
                        <a:pt x="182274" y="685207"/>
                        <a:pt x="134989" y="689667"/>
                        <a:pt x="47073" y="638913"/>
                      </a:cubicBezTo>
                      <a:cubicBezTo>
                        <a:pt x="29730" y="628862"/>
                        <a:pt x="14016" y="618598"/>
                        <a:pt x="0" y="608475"/>
                      </a:cubicBezTo>
                      <a:cubicBezTo>
                        <a:pt x="20465" y="624494"/>
                        <a:pt x="42038" y="639041"/>
                        <a:pt x="64557" y="652009"/>
                      </a:cubicBezTo>
                      <a:cubicBezTo>
                        <a:pt x="152544" y="702833"/>
                        <a:pt x="199829" y="698303"/>
                        <a:pt x="199829" y="698303"/>
                      </a:cubicBezTo>
                      <a:cubicBezTo>
                        <a:pt x="199616" y="617961"/>
                        <a:pt x="218799" y="490192"/>
                        <a:pt x="103206" y="192467"/>
                      </a:cubicBezTo>
                      <a:close/>
                    </a:path>
                  </a:pathLst>
                </a:custGeom>
                <a:solidFill>
                  <a:srgbClr val="199393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3" name="Freeform: Shape 812">
                  <a:extLst>
                    <a:ext uri="{FF2B5EF4-FFF2-40B4-BE49-F238E27FC236}">
                      <a16:creationId xmlns:a16="http://schemas.microsoft.com/office/drawing/2014/main" id="{AFEB612C-C4CE-4D0F-8839-D3D4001B41CA}"/>
                    </a:ext>
                  </a:extLst>
                </p:cNvPr>
                <p:cNvSpPr/>
                <p:nvPr/>
              </p:nvSpPr>
              <p:spPr>
                <a:xfrm>
                  <a:off x="5942293" y="4258174"/>
                  <a:ext cx="498184" cy="296678"/>
                </a:xfrm>
                <a:custGeom>
                  <a:avLst/>
                  <a:gdLst>
                    <a:gd name="connsiteX0" fmla="*/ 221802 w 221808"/>
                    <a:gd name="connsiteY0" fmla="*/ 131942 h 132091"/>
                    <a:gd name="connsiteX1" fmla="*/ 108545 w 221808"/>
                    <a:gd name="connsiteY1" fmla="*/ 43672 h 132091"/>
                    <a:gd name="connsiteX2" fmla="*/ 30 w 221808"/>
                    <a:gd name="connsiteY2" fmla="*/ 564 h 132091"/>
                    <a:gd name="connsiteX3" fmla="*/ 109536 w 221808"/>
                    <a:gd name="connsiteY3" fmla="*/ 59599 h 132091"/>
                    <a:gd name="connsiteX4" fmla="*/ 221802 w 221808"/>
                    <a:gd name="connsiteY4" fmla="*/ 131942 h 132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808" h="132091">
                      <a:moveTo>
                        <a:pt x="221802" y="131942"/>
                      </a:moveTo>
                      <a:cubicBezTo>
                        <a:pt x="222298" y="127766"/>
                        <a:pt x="194620" y="115874"/>
                        <a:pt x="108545" y="43672"/>
                      </a:cubicBezTo>
                      <a:cubicBezTo>
                        <a:pt x="52836" y="28807"/>
                        <a:pt x="-1457" y="-4745"/>
                        <a:pt x="30" y="564"/>
                      </a:cubicBezTo>
                      <a:cubicBezTo>
                        <a:pt x="1516" y="5873"/>
                        <a:pt x="109536" y="59599"/>
                        <a:pt x="109536" y="59599"/>
                      </a:cubicBezTo>
                      <a:cubicBezTo>
                        <a:pt x="109536" y="59599"/>
                        <a:pt x="221307" y="135906"/>
                        <a:pt x="221802" y="131942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4" name="Freeform: Shape 813">
                  <a:extLst>
                    <a:ext uri="{FF2B5EF4-FFF2-40B4-BE49-F238E27FC236}">
                      <a16:creationId xmlns:a16="http://schemas.microsoft.com/office/drawing/2014/main" id="{F25D75F8-436B-4948-A9C7-3DF3AD2E10B6}"/>
                    </a:ext>
                  </a:extLst>
                </p:cNvPr>
                <p:cNvSpPr/>
                <p:nvPr/>
              </p:nvSpPr>
              <p:spPr>
                <a:xfrm>
                  <a:off x="6387042" y="4517793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15" name="Freeform: Shape 814">
                  <a:extLst>
                    <a:ext uri="{FF2B5EF4-FFF2-40B4-BE49-F238E27FC236}">
                      <a16:creationId xmlns:a16="http://schemas.microsoft.com/office/drawing/2014/main" id="{90026959-8E01-46EB-8EAA-D0740864B44D}"/>
                    </a:ext>
                  </a:extLst>
                </p:cNvPr>
                <p:cNvSpPr/>
                <p:nvPr/>
              </p:nvSpPr>
              <p:spPr>
                <a:xfrm>
                  <a:off x="5976700" y="4280904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  <p:sp>
            <p:nvSpPr>
              <p:cNvPr id="807" name="Freeform: Shape 806">
                <a:extLst>
                  <a:ext uri="{FF2B5EF4-FFF2-40B4-BE49-F238E27FC236}">
                    <a16:creationId xmlns:a16="http://schemas.microsoft.com/office/drawing/2014/main" id="{E8657557-B892-4928-9174-801A7C3950F2}"/>
                  </a:ext>
                </a:extLst>
              </p:cNvPr>
              <p:cNvSpPr/>
              <p:nvPr/>
            </p:nvSpPr>
            <p:spPr>
              <a:xfrm>
                <a:off x="6144590" y="4081689"/>
                <a:ext cx="112561" cy="289002"/>
              </a:xfrm>
              <a:custGeom>
                <a:avLst/>
                <a:gdLst>
                  <a:gd name="connsiteX0" fmla="*/ 19820 w 50116"/>
                  <a:gd name="connsiteY0" fmla="*/ 127417 h 128673"/>
                  <a:gd name="connsiteX1" fmla="*/ 20811 w 50116"/>
                  <a:gd name="connsiteY1" fmla="*/ 115029 h 128673"/>
                  <a:gd name="connsiteX2" fmla="*/ 20811 w 50116"/>
                  <a:gd name="connsiteY2" fmla="*/ 103491 h 128673"/>
                  <a:gd name="connsiteX3" fmla="*/ 25837 w 50116"/>
                  <a:gd name="connsiteY3" fmla="*/ 99598 h 128673"/>
                  <a:gd name="connsiteX4" fmla="*/ 35393 w 50116"/>
                  <a:gd name="connsiteY4" fmla="*/ 102005 h 128673"/>
                  <a:gd name="connsiteX5" fmla="*/ 36030 w 50116"/>
                  <a:gd name="connsiteY5" fmla="*/ 102005 h 128673"/>
                  <a:gd name="connsiteX6" fmla="*/ 47356 w 50116"/>
                  <a:gd name="connsiteY6" fmla="*/ 92307 h 128673"/>
                  <a:gd name="connsiteX7" fmla="*/ 50117 w 50116"/>
                  <a:gd name="connsiteY7" fmla="*/ 74610 h 128673"/>
                  <a:gd name="connsiteX8" fmla="*/ 50117 w 50116"/>
                  <a:gd name="connsiteY8" fmla="*/ 64842 h 128673"/>
                  <a:gd name="connsiteX9" fmla="*/ 49338 w 50116"/>
                  <a:gd name="connsiteY9" fmla="*/ 54932 h 128673"/>
                  <a:gd name="connsiteX10" fmla="*/ 47568 w 50116"/>
                  <a:gd name="connsiteY10" fmla="*/ 44385 h 128673"/>
                  <a:gd name="connsiteX11" fmla="*/ 44737 w 50116"/>
                  <a:gd name="connsiteY11" fmla="*/ 33625 h 128673"/>
                  <a:gd name="connsiteX12" fmla="*/ 40419 w 50116"/>
                  <a:gd name="connsiteY12" fmla="*/ 22724 h 128673"/>
                  <a:gd name="connsiteX13" fmla="*/ 34261 w 50116"/>
                  <a:gd name="connsiteY13" fmla="*/ 12107 h 128673"/>
                  <a:gd name="connsiteX14" fmla="*/ 25837 w 50116"/>
                  <a:gd name="connsiteY14" fmla="*/ 3895 h 128673"/>
                  <a:gd name="connsiteX15" fmla="*/ 17060 w 50116"/>
                  <a:gd name="connsiteY15" fmla="*/ 214 h 128673"/>
                  <a:gd name="connsiteX16" fmla="*/ 13096 w 50116"/>
                  <a:gd name="connsiteY16" fmla="*/ 214 h 128673"/>
                  <a:gd name="connsiteX17" fmla="*/ 9627 w 50116"/>
                  <a:gd name="connsiteY17" fmla="*/ 1347 h 128673"/>
                  <a:gd name="connsiteX18" fmla="*/ 4177 w 50116"/>
                  <a:gd name="connsiteY18" fmla="*/ 6302 h 128673"/>
                  <a:gd name="connsiteX19" fmla="*/ 1204 w 50116"/>
                  <a:gd name="connsiteY19" fmla="*/ 14301 h 128673"/>
                  <a:gd name="connsiteX20" fmla="*/ 0 w 50116"/>
                  <a:gd name="connsiteY20" fmla="*/ 24282 h 128673"/>
                  <a:gd name="connsiteX21" fmla="*/ 3186 w 50116"/>
                  <a:gd name="connsiteY21" fmla="*/ 30652 h 128673"/>
                  <a:gd name="connsiteX22" fmla="*/ 7150 w 50116"/>
                  <a:gd name="connsiteY22" fmla="*/ 29307 h 128673"/>
                  <a:gd name="connsiteX23" fmla="*/ 7150 w 50116"/>
                  <a:gd name="connsiteY23" fmla="*/ 27467 h 128673"/>
                  <a:gd name="connsiteX24" fmla="*/ 7150 w 50116"/>
                  <a:gd name="connsiteY24" fmla="*/ 18902 h 128673"/>
                  <a:gd name="connsiteX25" fmla="*/ 7645 w 50116"/>
                  <a:gd name="connsiteY25" fmla="*/ 14938 h 128673"/>
                  <a:gd name="connsiteX26" fmla="*/ 8778 w 50116"/>
                  <a:gd name="connsiteY26" fmla="*/ 11611 h 128673"/>
                  <a:gd name="connsiteX27" fmla="*/ 12671 w 50116"/>
                  <a:gd name="connsiteY27" fmla="*/ 6798 h 128673"/>
                  <a:gd name="connsiteX28" fmla="*/ 15432 w 50116"/>
                  <a:gd name="connsiteY28" fmla="*/ 5523 h 128673"/>
                  <a:gd name="connsiteX29" fmla="*/ 18546 w 50116"/>
                  <a:gd name="connsiteY29" fmla="*/ 5523 h 128673"/>
                  <a:gd name="connsiteX30" fmla="*/ 25625 w 50116"/>
                  <a:gd name="connsiteY30" fmla="*/ 8072 h 128673"/>
                  <a:gd name="connsiteX31" fmla="*/ 32703 w 50116"/>
                  <a:gd name="connsiteY31" fmla="*/ 14584 h 128673"/>
                  <a:gd name="connsiteX32" fmla="*/ 37941 w 50116"/>
                  <a:gd name="connsiteY32" fmla="*/ 23786 h 128673"/>
                  <a:gd name="connsiteX33" fmla="*/ 41552 w 50116"/>
                  <a:gd name="connsiteY33" fmla="*/ 33696 h 128673"/>
                  <a:gd name="connsiteX34" fmla="*/ 43746 w 50116"/>
                  <a:gd name="connsiteY34" fmla="*/ 43535 h 128673"/>
                  <a:gd name="connsiteX35" fmla="*/ 44808 w 50116"/>
                  <a:gd name="connsiteY35" fmla="*/ 53021 h 128673"/>
                  <a:gd name="connsiteX36" fmla="*/ 45232 w 50116"/>
                  <a:gd name="connsiteY36" fmla="*/ 62506 h 128673"/>
                  <a:gd name="connsiteX37" fmla="*/ 45232 w 50116"/>
                  <a:gd name="connsiteY37" fmla="*/ 71637 h 128673"/>
                  <a:gd name="connsiteX38" fmla="*/ 42472 w 50116"/>
                  <a:gd name="connsiteY38" fmla="*/ 87423 h 128673"/>
                  <a:gd name="connsiteX39" fmla="*/ 34261 w 50116"/>
                  <a:gd name="connsiteY39" fmla="*/ 94997 h 128673"/>
                  <a:gd name="connsiteX40" fmla="*/ 34898 w 50116"/>
                  <a:gd name="connsiteY40" fmla="*/ 94997 h 128673"/>
                  <a:gd name="connsiteX41" fmla="*/ 23784 w 50116"/>
                  <a:gd name="connsiteY41" fmla="*/ 92236 h 128673"/>
                  <a:gd name="connsiteX42" fmla="*/ 18475 w 50116"/>
                  <a:gd name="connsiteY42" fmla="*/ 93510 h 128673"/>
                  <a:gd name="connsiteX43" fmla="*/ 15573 w 50116"/>
                  <a:gd name="connsiteY43" fmla="*/ 98819 h 128673"/>
                  <a:gd name="connsiteX44" fmla="*/ 15573 w 50116"/>
                  <a:gd name="connsiteY44" fmla="*/ 111915 h 128673"/>
                  <a:gd name="connsiteX45" fmla="*/ 14794 w 50116"/>
                  <a:gd name="connsiteY45" fmla="*/ 123028 h 128673"/>
                  <a:gd name="connsiteX46" fmla="*/ 16776 w 50116"/>
                  <a:gd name="connsiteY46" fmla="*/ 127912 h 128673"/>
                  <a:gd name="connsiteX47" fmla="*/ 20033 w 50116"/>
                  <a:gd name="connsiteY47" fmla="*/ 127558 h 128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0116" h="128673">
                    <a:moveTo>
                      <a:pt x="19820" y="127417"/>
                    </a:moveTo>
                    <a:cubicBezTo>
                      <a:pt x="20677" y="123347"/>
                      <a:pt x="21009" y="119184"/>
                      <a:pt x="20811" y="115029"/>
                    </a:cubicBezTo>
                    <a:cubicBezTo>
                      <a:pt x="20481" y="111190"/>
                      <a:pt x="20481" y="107330"/>
                      <a:pt x="20811" y="103491"/>
                    </a:cubicBezTo>
                    <a:cubicBezTo>
                      <a:pt x="21236" y="100589"/>
                      <a:pt x="23006" y="99527"/>
                      <a:pt x="25837" y="99598"/>
                    </a:cubicBezTo>
                    <a:cubicBezTo>
                      <a:pt x="29123" y="99928"/>
                      <a:pt x="32343" y="100740"/>
                      <a:pt x="35393" y="102005"/>
                    </a:cubicBezTo>
                    <a:lnTo>
                      <a:pt x="36030" y="102005"/>
                    </a:lnTo>
                    <a:cubicBezTo>
                      <a:pt x="42330" y="102429"/>
                      <a:pt x="45516" y="97403"/>
                      <a:pt x="47356" y="92307"/>
                    </a:cubicBezTo>
                    <a:cubicBezTo>
                      <a:pt x="49142" y="86576"/>
                      <a:pt x="50072" y="80613"/>
                      <a:pt x="50117" y="74610"/>
                    </a:cubicBezTo>
                    <a:cubicBezTo>
                      <a:pt x="50117" y="71142"/>
                      <a:pt x="50117" y="68098"/>
                      <a:pt x="50117" y="64842"/>
                    </a:cubicBezTo>
                    <a:cubicBezTo>
                      <a:pt x="50088" y="61524"/>
                      <a:pt x="49827" y="58213"/>
                      <a:pt x="49338" y="54932"/>
                    </a:cubicBezTo>
                    <a:cubicBezTo>
                      <a:pt x="48701" y="51393"/>
                      <a:pt x="48488" y="47853"/>
                      <a:pt x="47568" y="44385"/>
                    </a:cubicBezTo>
                    <a:cubicBezTo>
                      <a:pt x="46648" y="40916"/>
                      <a:pt x="46082" y="37306"/>
                      <a:pt x="44737" y="33625"/>
                    </a:cubicBezTo>
                    <a:cubicBezTo>
                      <a:pt x="43556" y="29894"/>
                      <a:pt x="42114" y="26252"/>
                      <a:pt x="40419" y="22724"/>
                    </a:cubicBezTo>
                    <a:cubicBezTo>
                      <a:pt x="38697" y="19003"/>
                      <a:pt x="36635" y="15449"/>
                      <a:pt x="34261" y="12107"/>
                    </a:cubicBezTo>
                    <a:cubicBezTo>
                      <a:pt x="31852" y="8987"/>
                      <a:pt x="29017" y="6223"/>
                      <a:pt x="25837" y="3895"/>
                    </a:cubicBezTo>
                    <a:cubicBezTo>
                      <a:pt x="23263" y="1959"/>
                      <a:pt x="20246" y="693"/>
                      <a:pt x="17060" y="214"/>
                    </a:cubicBezTo>
                    <a:cubicBezTo>
                      <a:pt x="15754" y="-71"/>
                      <a:pt x="14402" y="-71"/>
                      <a:pt x="13096" y="214"/>
                    </a:cubicBezTo>
                    <a:cubicBezTo>
                      <a:pt x="11865" y="309"/>
                      <a:pt x="10676" y="698"/>
                      <a:pt x="9627" y="1347"/>
                    </a:cubicBezTo>
                    <a:cubicBezTo>
                      <a:pt x="7405" y="2489"/>
                      <a:pt x="5524" y="4198"/>
                      <a:pt x="4177" y="6302"/>
                    </a:cubicBezTo>
                    <a:cubicBezTo>
                      <a:pt x="2765" y="8792"/>
                      <a:pt x="1761" y="11493"/>
                      <a:pt x="1204" y="14301"/>
                    </a:cubicBezTo>
                    <a:cubicBezTo>
                      <a:pt x="486" y="17582"/>
                      <a:pt x="84" y="20924"/>
                      <a:pt x="0" y="24282"/>
                    </a:cubicBezTo>
                    <a:cubicBezTo>
                      <a:pt x="-17" y="26792"/>
                      <a:pt x="1167" y="29160"/>
                      <a:pt x="3186" y="30652"/>
                    </a:cubicBezTo>
                    <a:cubicBezTo>
                      <a:pt x="5168" y="32068"/>
                      <a:pt x="6937" y="31431"/>
                      <a:pt x="7150" y="29307"/>
                    </a:cubicBezTo>
                    <a:lnTo>
                      <a:pt x="7150" y="27467"/>
                    </a:lnTo>
                    <a:cubicBezTo>
                      <a:pt x="6873" y="24619"/>
                      <a:pt x="6873" y="21750"/>
                      <a:pt x="7150" y="18902"/>
                    </a:cubicBezTo>
                    <a:cubicBezTo>
                      <a:pt x="7240" y="17573"/>
                      <a:pt x="7405" y="16249"/>
                      <a:pt x="7645" y="14938"/>
                    </a:cubicBezTo>
                    <a:lnTo>
                      <a:pt x="8778" y="11611"/>
                    </a:lnTo>
                    <a:cubicBezTo>
                      <a:pt x="9655" y="9708"/>
                      <a:pt x="10993" y="8053"/>
                      <a:pt x="12671" y="6798"/>
                    </a:cubicBezTo>
                    <a:cubicBezTo>
                      <a:pt x="13417" y="6068"/>
                      <a:pt x="14392" y="5618"/>
                      <a:pt x="15432" y="5523"/>
                    </a:cubicBezTo>
                    <a:cubicBezTo>
                      <a:pt x="16450" y="5236"/>
                      <a:pt x="17527" y="5236"/>
                      <a:pt x="18546" y="5523"/>
                    </a:cubicBezTo>
                    <a:cubicBezTo>
                      <a:pt x="21097" y="5698"/>
                      <a:pt x="23549" y="6580"/>
                      <a:pt x="25625" y="8072"/>
                    </a:cubicBezTo>
                    <a:cubicBezTo>
                      <a:pt x="28306" y="9865"/>
                      <a:pt x="30694" y="12061"/>
                      <a:pt x="32703" y="14584"/>
                    </a:cubicBezTo>
                    <a:cubicBezTo>
                      <a:pt x="34735" y="17479"/>
                      <a:pt x="36489" y="20560"/>
                      <a:pt x="37941" y="23786"/>
                    </a:cubicBezTo>
                    <a:cubicBezTo>
                      <a:pt x="39477" y="26959"/>
                      <a:pt x="40687" y="30279"/>
                      <a:pt x="41552" y="33696"/>
                    </a:cubicBezTo>
                    <a:cubicBezTo>
                      <a:pt x="42477" y="36930"/>
                      <a:pt x="43210" y="40215"/>
                      <a:pt x="43746" y="43535"/>
                    </a:cubicBezTo>
                    <a:cubicBezTo>
                      <a:pt x="44383" y="46862"/>
                      <a:pt x="44383" y="49906"/>
                      <a:pt x="44808" y="53021"/>
                    </a:cubicBezTo>
                    <a:cubicBezTo>
                      <a:pt x="45126" y="56172"/>
                      <a:pt x="45268" y="59339"/>
                      <a:pt x="45232" y="62506"/>
                    </a:cubicBezTo>
                    <a:cubicBezTo>
                      <a:pt x="45232" y="65479"/>
                      <a:pt x="45232" y="69089"/>
                      <a:pt x="45232" y="71637"/>
                    </a:cubicBezTo>
                    <a:cubicBezTo>
                      <a:pt x="45095" y="77007"/>
                      <a:pt x="44165" y="82325"/>
                      <a:pt x="42472" y="87423"/>
                    </a:cubicBezTo>
                    <a:cubicBezTo>
                      <a:pt x="40914" y="91953"/>
                      <a:pt x="38154" y="95351"/>
                      <a:pt x="34261" y="94997"/>
                    </a:cubicBezTo>
                    <a:lnTo>
                      <a:pt x="34898" y="94997"/>
                    </a:lnTo>
                    <a:cubicBezTo>
                      <a:pt x="31356" y="93515"/>
                      <a:pt x="27608" y="92584"/>
                      <a:pt x="23784" y="92236"/>
                    </a:cubicBezTo>
                    <a:cubicBezTo>
                      <a:pt x="21927" y="92119"/>
                      <a:pt x="20077" y="92562"/>
                      <a:pt x="18475" y="93510"/>
                    </a:cubicBezTo>
                    <a:cubicBezTo>
                      <a:pt x="16878" y="94855"/>
                      <a:pt x="15843" y="96749"/>
                      <a:pt x="15573" y="98819"/>
                    </a:cubicBezTo>
                    <a:cubicBezTo>
                      <a:pt x="15114" y="103173"/>
                      <a:pt x="15114" y="107561"/>
                      <a:pt x="15573" y="111915"/>
                    </a:cubicBezTo>
                    <a:cubicBezTo>
                      <a:pt x="15790" y="115637"/>
                      <a:pt x="15528" y="119372"/>
                      <a:pt x="14794" y="123028"/>
                    </a:cubicBezTo>
                    <a:cubicBezTo>
                      <a:pt x="14611" y="124883"/>
                      <a:pt x="15352" y="126710"/>
                      <a:pt x="16776" y="127912"/>
                    </a:cubicBezTo>
                    <a:cubicBezTo>
                      <a:pt x="18192" y="129045"/>
                      <a:pt x="19608" y="128903"/>
                      <a:pt x="20033" y="127558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816" name="Orange Dress">
              <a:extLst>
                <a:ext uri="{FF2B5EF4-FFF2-40B4-BE49-F238E27FC236}">
                  <a16:creationId xmlns:a16="http://schemas.microsoft.com/office/drawing/2014/main" id="{52E89507-03E1-45CF-B03A-7D8A847AC78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46079" y="3408670"/>
              <a:ext cx="445022" cy="1261872"/>
              <a:chOff x="6236802" y="3862231"/>
              <a:chExt cx="706215" cy="2002491"/>
            </a:xfrm>
          </p:grpSpPr>
          <p:sp>
            <p:nvSpPr>
              <p:cNvPr id="817" name="Freeform: Shape 816">
                <a:extLst>
                  <a:ext uri="{FF2B5EF4-FFF2-40B4-BE49-F238E27FC236}">
                    <a16:creationId xmlns:a16="http://schemas.microsoft.com/office/drawing/2014/main" id="{5969995F-2DF3-448C-AD25-A2FA395178A2}"/>
                  </a:ext>
                </a:extLst>
              </p:cNvPr>
              <p:cNvSpPr/>
              <p:nvPr/>
            </p:nvSpPr>
            <p:spPr>
              <a:xfrm>
                <a:off x="6356676" y="4060709"/>
                <a:ext cx="20668" cy="32909"/>
              </a:xfrm>
              <a:custGeom>
                <a:avLst/>
                <a:gdLst>
                  <a:gd name="connsiteX0" fmla="*/ 0 w 9202"/>
                  <a:gd name="connsiteY0" fmla="*/ 9344 h 14652"/>
                  <a:gd name="connsiteX1" fmla="*/ 9202 w 9202"/>
                  <a:gd name="connsiteY1" fmla="*/ 14653 h 14652"/>
                  <a:gd name="connsiteX2" fmla="*/ 9202 w 9202"/>
                  <a:gd name="connsiteY2" fmla="*/ 5309 h 14652"/>
                  <a:gd name="connsiteX3" fmla="*/ 0 w 9202"/>
                  <a:gd name="connsiteY3" fmla="*/ 0 h 14652"/>
                  <a:gd name="connsiteX4" fmla="*/ 0 w 9202"/>
                  <a:gd name="connsiteY4" fmla="*/ 9344 h 1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02" h="14652">
                    <a:moveTo>
                      <a:pt x="0" y="9344"/>
                    </a:moveTo>
                    <a:lnTo>
                      <a:pt x="9202" y="14653"/>
                    </a:lnTo>
                    <a:lnTo>
                      <a:pt x="9202" y="5309"/>
                    </a:lnTo>
                    <a:lnTo>
                      <a:pt x="0" y="0"/>
                    </a:lnTo>
                    <a:lnTo>
                      <a:pt x="0" y="9344"/>
                    </a:ln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grpSp>
            <p:nvGrpSpPr>
              <p:cNvPr id="818" name="orange dress">
                <a:extLst>
                  <a:ext uri="{FF2B5EF4-FFF2-40B4-BE49-F238E27FC236}">
                    <a16:creationId xmlns:a16="http://schemas.microsoft.com/office/drawing/2014/main" id="{A93C90AE-3D66-42E5-983B-0EEF7855EFD3}"/>
                  </a:ext>
                </a:extLst>
              </p:cNvPr>
              <p:cNvGrpSpPr/>
              <p:nvPr/>
            </p:nvGrpSpPr>
            <p:grpSpPr>
              <a:xfrm>
                <a:off x="6236802" y="3862231"/>
                <a:ext cx="706215" cy="2002491"/>
                <a:chOff x="6236802" y="3862231"/>
                <a:chExt cx="706215" cy="2002491"/>
              </a:xfrm>
            </p:grpSpPr>
            <p:grpSp>
              <p:nvGrpSpPr>
                <p:cNvPr id="819" name="Group 818">
                  <a:extLst>
                    <a:ext uri="{FF2B5EF4-FFF2-40B4-BE49-F238E27FC236}">
                      <a16:creationId xmlns:a16="http://schemas.microsoft.com/office/drawing/2014/main" id="{388BCB94-DDFA-4455-AA4E-27F2E6B056B5}"/>
                    </a:ext>
                  </a:extLst>
                </p:cNvPr>
                <p:cNvGrpSpPr/>
                <p:nvPr/>
              </p:nvGrpSpPr>
              <p:grpSpPr>
                <a:xfrm>
                  <a:off x="6236802" y="4037532"/>
                  <a:ext cx="706215" cy="1827190"/>
                  <a:chOff x="6236802" y="4037532"/>
                  <a:chExt cx="706215" cy="1827190"/>
                </a:xfrm>
              </p:grpSpPr>
              <p:sp>
                <p:nvSpPr>
                  <p:cNvPr id="821" name="Freeform: Shape 820">
                    <a:extLst>
                      <a:ext uri="{FF2B5EF4-FFF2-40B4-BE49-F238E27FC236}">
                        <a16:creationId xmlns:a16="http://schemas.microsoft.com/office/drawing/2014/main" id="{3ACF0832-203E-4833-811B-4E47C05AAB1D}"/>
                      </a:ext>
                    </a:extLst>
                  </p:cNvPr>
                  <p:cNvSpPr/>
                  <p:nvPr/>
                </p:nvSpPr>
                <p:spPr>
                  <a:xfrm>
                    <a:off x="6322899" y="4037532"/>
                    <a:ext cx="497555" cy="296840"/>
                  </a:xfrm>
                  <a:custGeom>
                    <a:avLst/>
                    <a:gdLst>
                      <a:gd name="connsiteX0" fmla="*/ 221522 w 221528"/>
                      <a:gd name="connsiteY0" fmla="*/ 131999 h 132163"/>
                      <a:gd name="connsiteX1" fmla="*/ 108264 w 221528"/>
                      <a:gd name="connsiteY1" fmla="*/ 43658 h 132163"/>
                      <a:gd name="connsiteX2" fmla="*/ 33 w 221528"/>
                      <a:gd name="connsiteY2" fmla="*/ 550 h 132163"/>
                      <a:gd name="connsiteX3" fmla="*/ 109609 w 221528"/>
                      <a:gd name="connsiteY3" fmla="*/ 59585 h 132163"/>
                      <a:gd name="connsiteX4" fmla="*/ 221522 w 221528"/>
                      <a:gd name="connsiteY4" fmla="*/ 131999 h 1321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1528" h="132163">
                        <a:moveTo>
                          <a:pt x="221522" y="131999"/>
                        </a:moveTo>
                        <a:cubicBezTo>
                          <a:pt x="222017" y="127823"/>
                          <a:pt x="194340" y="115860"/>
                          <a:pt x="108264" y="43658"/>
                        </a:cubicBezTo>
                        <a:cubicBezTo>
                          <a:pt x="52839" y="28864"/>
                          <a:pt x="-1525" y="-4688"/>
                          <a:pt x="33" y="550"/>
                        </a:cubicBezTo>
                        <a:cubicBezTo>
                          <a:pt x="1590" y="5788"/>
                          <a:pt x="109609" y="59585"/>
                          <a:pt x="109609" y="59585"/>
                        </a:cubicBezTo>
                        <a:cubicBezTo>
                          <a:pt x="109609" y="59585"/>
                          <a:pt x="221026" y="136175"/>
                          <a:pt x="221522" y="131999"/>
                        </a:cubicBezTo>
                        <a:close/>
                      </a:path>
                    </a:pathLst>
                  </a:custGeom>
                  <a:solidFill>
                    <a:srgbClr val="2E475E"/>
                  </a:solidFill>
                  <a:ln w="70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765"/>
                  </a:p>
                </p:txBody>
              </p:sp>
              <p:grpSp>
                <p:nvGrpSpPr>
                  <p:cNvPr id="822" name="Group 821">
                    <a:extLst>
                      <a:ext uri="{FF2B5EF4-FFF2-40B4-BE49-F238E27FC236}">
                        <a16:creationId xmlns:a16="http://schemas.microsoft.com/office/drawing/2014/main" id="{129C1A78-7C31-4AFE-8C1E-F319F15BB7C2}"/>
                      </a:ext>
                    </a:extLst>
                  </p:cNvPr>
                  <p:cNvGrpSpPr/>
                  <p:nvPr/>
                </p:nvGrpSpPr>
                <p:grpSpPr>
                  <a:xfrm>
                    <a:off x="6236802" y="4051011"/>
                    <a:ext cx="706215" cy="1813711"/>
                    <a:chOff x="6236802" y="4051011"/>
                    <a:chExt cx="706215" cy="1813711"/>
                  </a:xfrm>
                </p:grpSpPr>
                <p:sp>
                  <p:nvSpPr>
                    <p:cNvPr id="823" name="Freeform: Shape 822">
                      <a:extLst>
                        <a:ext uri="{FF2B5EF4-FFF2-40B4-BE49-F238E27FC236}">
                          <a16:creationId xmlns:a16="http://schemas.microsoft.com/office/drawing/2014/main" id="{43A54C12-2831-4657-8F80-8FEE618848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36802" y="4051011"/>
                      <a:ext cx="706215" cy="1812919"/>
                    </a:xfrm>
                    <a:custGeom>
                      <a:avLst/>
                      <a:gdLst>
                        <a:gd name="connsiteX0" fmla="*/ 208748 w 314430"/>
                        <a:gd name="connsiteY0" fmla="*/ 320235 h 807171"/>
                        <a:gd name="connsiteX1" fmla="*/ 246193 w 314430"/>
                        <a:gd name="connsiteY1" fmla="*/ 110921 h 807171"/>
                        <a:gd name="connsiteX2" fmla="*/ 226727 w 314430"/>
                        <a:gd name="connsiteY2" fmla="*/ 92871 h 807171"/>
                        <a:gd name="connsiteX3" fmla="*/ 146385 w 314430"/>
                        <a:gd name="connsiteY3" fmla="*/ 133715 h 807171"/>
                        <a:gd name="connsiteX4" fmla="*/ 74538 w 314430"/>
                        <a:gd name="connsiteY4" fmla="*/ 3256 h 807171"/>
                        <a:gd name="connsiteX5" fmla="*/ 54647 w 314430"/>
                        <a:gd name="connsiteY5" fmla="*/ 0 h 807171"/>
                        <a:gd name="connsiteX6" fmla="*/ 93437 w 314430"/>
                        <a:gd name="connsiteY6" fmla="*/ 253484 h 807171"/>
                        <a:gd name="connsiteX7" fmla="*/ 0 w 314430"/>
                        <a:gd name="connsiteY7" fmla="*/ 625676 h 807171"/>
                        <a:gd name="connsiteX8" fmla="*/ 149571 w 314430"/>
                        <a:gd name="connsiteY8" fmla="*/ 745658 h 807171"/>
                        <a:gd name="connsiteX9" fmla="*/ 314431 w 314430"/>
                        <a:gd name="connsiteY9" fmla="*/ 807171 h 8071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314430" h="807171">
                          <a:moveTo>
                            <a:pt x="208748" y="320235"/>
                          </a:moveTo>
                          <a:lnTo>
                            <a:pt x="246193" y="110921"/>
                          </a:lnTo>
                          <a:lnTo>
                            <a:pt x="226727" y="92871"/>
                          </a:lnTo>
                          <a:cubicBezTo>
                            <a:pt x="226727" y="92871"/>
                            <a:pt x="213207" y="172293"/>
                            <a:pt x="146385" y="133715"/>
                          </a:cubicBezTo>
                          <a:cubicBezTo>
                            <a:pt x="79563" y="95136"/>
                            <a:pt x="74538" y="3256"/>
                            <a:pt x="74538" y="3256"/>
                          </a:cubicBezTo>
                          <a:lnTo>
                            <a:pt x="54647" y="0"/>
                          </a:lnTo>
                          <a:lnTo>
                            <a:pt x="93437" y="253484"/>
                          </a:lnTo>
                          <a:cubicBezTo>
                            <a:pt x="26969" y="486511"/>
                            <a:pt x="0" y="625676"/>
                            <a:pt x="0" y="625676"/>
                          </a:cubicBezTo>
                          <a:cubicBezTo>
                            <a:pt x="43390" y="673124"/>
                            <a:pt x="93841" y="713592"/>
                            <a:pt x="149571" y="745658"/>
                          </a:cubicBezTo>
                          <a:cubicBezTo>
                            <a:pt x="242796" y="799456"/>
                            <a:pt x="314431" y="807171"/>
                            <a:pt x="314431" y="807171"/>
                          </a:cubicBezTo>
                          <a:close/>
                        </a:path>
                      </a:pathLst>
                    </a:custGeom>
                    <a:solidFill>
                      <a:srgbClr val="FC9D2B"/>
                    </a:solidFill>
                    <a:ln w="701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765"/>
                    </a:p>
                  </p:txBody>
                </p:sp>
                <p:sp>
                  <p:nvSpPr>
                    <p:cNvPr id="824" name="Freeform: Shape 823">
                      <a:extLst>
                        <a:ext uri="{FF2B5EF4-FFF2-40B4-BE49-F238E27FC236}">
                          <a16:creationId xmlns:a16="http://schemas.microsoft.com/office/drawing/2014/main" id="{597F4CAA-BC0A-4CD6-BDFB-C899CFFBB5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91652" y="4265959"/>
                      <a:ext cx="651365" cy="1598763"/>
                    </a:xfrm>
                    <a:custGeom>
                      <a:avLst/>
                      <a:gdLst>
                        <a:gd name="connsiteX0" fmla="*/ 184326 w 290009"/>
                        <a:gd name="connsiteY0" fmla="*/ 224674 h 711822"/>
                        <a:gd name="connsiteX1" fmla="*/ 221772 w 290009"/>
                        <a:gd name="connsiteY1" fmla="*/ 15219 h 711822"/>
                        <a:gd name="connsiteX2" fmla="*/ 205350 w 290009"/>
                        <a:gd name="connsiteY2" fmla="*/ 0 h 711822"/>
                        <a:gd name="connsiteX3" fmla="*/ 165568 w 290009"/>
                        <a:gd name="connsiteY3" fmla="*/ 221701 h 711822"/>
                        <a:gd name="connsiteX4" fmla="*/ 249874 w 290009"/>
                        <a:gd name="connsiteY4" fmla="*/ 686057 h 711822"/>
                        <a:gd name="connsiteX5" fmla="*/ 108727 w 290009"/>
                        <a:gd name="connsiteY5" fmla="*/ 635020 h 711822"/>
                        <a:gd name="connsiteX6" fmla="*/ 0 w 290009"/>
                        <a:gd name="connsiteY6" fmla="*/ 555740 h 711822"/>
                        <a:gd name="connsiteX7" fmla="*/ 125149 w 290009"/>
                        <a:gd name="connsiteY7" fmla="*/ 650310 h 711822"/>
                        <a:gd name="connsiteX8" fmla="*/ 290010 w 290009"/>
                        <a:gd name="connsiteY8" fmla="*/ 711823 h 7118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90009" h="711822">
                          <a:moveTo>
                            <a:pt x="184326" y="224674"/>
                          </a:moveTo>
                          <a:lnTo>
                            <a:pt x="221772" y="15219"/>
                          </a:lnTo>
                          <a:lnTo>
                            <a:pt x="205350" y="0"/>
                          </a:lnTo>
                          <a:lnTo>
                            <a:pt x="165568" y="221701"/>
                          </a:lnTo>
                          <a:lnTo>
                            <a:pt x="249874" y="686057"/>
                          </a:lnTo>
                          <a:cubicBezTo>
                            <a:pt x="249874" y="686057"/>
                            <a:pt x="201952" y="688817"/>
                            <a:pt x="108727" y="635020"/>
                          </a:cubicBezTo>
                          <a:cubicBezTo>
                            <a:pt x="69876" y="612369"/>
                            <a:pt x="33444" y="585803"/>
                            <a:pt x="0" y="555740"/>
                          </a:cubicBezTo>
                          <a:cubicBezTo>
                            <a:pt x="37758" y="592188"/>
                            <a:pt x="79779" y="623942"/>
                            <a:pt x="125149" y="650310"/>
                          </a:cubicBezTo>
                          <a:cubicBezTo>
                            <a:pt x="218374" y="704107"/>
                            <a:pt x="290010" y="711823"/>
                            <a:pt x="290010" y="711823"/>
                          </a:cubicBezTo>
                          <a:close/>
                        </a:path>
                      </a:pathLst>
                    </a:custGeom>
                    <a:solidFill>
                      <a:srgbClr val="E87D1C"/>
                    </a:solidFill>
                    <a:ln w="701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765"/>
                    </a:p>
                  </p:txBody>
                </p:sp>
              </p:grpSp>
            </p:grpSp>
            <p:sp>
              <p:nvSpPr>
                <p:cNvPr id="820" name="Freeform: Shape 819">
                  <a:extLst>
                    <a:ext uri="{FF2B5EF4-FFF2-40B4-BE49-F238E27FC236}">
                      <a16:creationId xmlns:a16="http://schemas.microsoft.com/office/drawing/2014/main" id="{F3FC3A15-8EA0-4652-9BDA-39E4D194B4BD}"/>
                    </a:ext>
                  </a:extLst>
                </p:cNvPr>
                <p:cNvSpPr/>
                <p:nvPr/>
              </p:nvSpPr>
              <p:spPr>
                <a:xfrm>
                  <a:off x="6524880" y="3862231"/>
                  <a:ext cx="112566" cy="289204"/>
                </a:xfrm>
                <a:custGeom>
                  <a:avLst/>
                  <a:gdLst>
                    <a:gd name="connsiteX0" fmla="*/ 19680 w 50118"/>
                    <a:gd name="connsiteY0" fmla="*/ 127089 h 128763"/>
                    <a:gd name="connsiteX1" fmla="*/ 20671 w 50118"/>
                    <a:gd name="connsiteY1" fmla="*/ 114701 h 128763"/>
                    <a:gd name="connsiteX2" fmla="*/ 20671 w 50118"/>
                    <a:gd name="connsiteY2" fmla="*/ 103234 h 128763"/>
                    <a:gd name="connsiteX3" fmla="*/ 25124 w 50118"/>
                    <a:gd name="connsiteY3" fmla="*/ 99202 h 128763"/>
                    <a:gd name="connsiteX4" fmla="*/ 25697 w 50118"/>
                    <a:gd name="connsiteY4" fmla="*/ 99270 h 128763"/>
                    <a:gd name="connsiteX5" fmla="*/ 35324 w 50118"/>
                    <a:gd name="connsiteY5" fmla="*/ 101677 h 128763"/>
                    <a:gd name="connsiteX6" fmla="*/ 35324 w 50118"/>
                    <a:gd name="connsiteY6" fmla="*/ 101677 h 128763"/>
                    <a:gd name="connsiteX7" fmla="*/ 35820 w 50118"/>
                    <a:gd name="connsiteY7" fmla="*/ 101677 h 128763"/>
                    <a:gd name="connsiteX8" fmla="*/ 47075 w 50118"/>
                    <a:gd name="connsiteY8" fmla="*/ 91908 h 128763"/>
                    <a:gd name="connsiteX9" fmla="*/ 50118 w 50118"/>
                    <a:gd name="connsiteY9" fmla="*/ 74636 h 128763"/>
                    <a:gd name="connsiteX10" fmla="*/ 50118 w 50118"/>
                    <a:gd name="connsiteY10" fmla="*/ 64868 h 128763"/>
                    <a:gd name="connsiteX11" fmla="*/ 49340 w 50118"/>
                    <a:gd name="connsiteY11" fmla="*/ 54958 h 128763"/>
                    <a:gd name="connsiteX12" fmla="*/ 47570 w 50118"/>
                    <a:gd name="connsiteY12" fmla="*/ 44482 h 128763"/>
                    <a:gd name="connsiteX13" fmla="*/ 44739 w 50118"/>
                    <a:gd name="connsiteY13" fmla="*/ 33651 h 128763"/>
                    <a:gd name="connsiteX14" fmla="*/ 40421 w 50118"/>
                    <a:gd name="connsiteY14" fmla="*/ 22750 h 128763"/>
                    <a:gd name="connsiteX15" fmla="*/ 34262 w 50118"/>
                    <a:gd name="connsiteY15" fmla="*/ 12203 h 128763"/>
                    <a:gd name="connsiteX16" fmla="*/ 25556 w 50118"/>
                    <a:gd name="connsiteY16" fmla="*/ 3851 h 128763"/>
                    <a:gd name="connsiteX17" fmla="*/ 16707 w 50118"/>
                    <a:gd name="connsiteY17" fmla="*/ 240 h 128763"/>
                    <a:gd name="connsiteX18" fmla="*/ 12743 w 50118"/>
                    <a:gd name="connsiteY18" fmla="*/ 240 h 128763"/>
                    <a:gd name="connsiteX19" fmla="*/ 9275 w 50118"/>
                    <a:gd name="connsiteY19" fmla="*/ 1373 h 128763"/>
                    <a:gd name="connsiteX20" fmla="*/ 3824 w 50118"/>
                    <a:gd name="connsiteY20" fmla="*/ 6328 h 128763"/>
                    <a:gd name="connsiteX21" fmla="*/ 922 w 50118"/>
                    <a:gd name="connsiteY21" fmla="*/ 14256 h 128763"/>
                    <a:gd name="connsiteX22" fmla="*/ 2 w 50118"/>
                    <a:gd name="connsiteY22" fmla="*/ 24025 h 128763"/>
                    <a:gd name="connsiteX23" fmla="*/ 3187 w 50118"/>
                    <a:gd name="connsiteY23" fmla="*/ 30395 h 128763"/>
                    <a:gd name="connsiteX24" fmla="*/ 7151 w 50118"/>
                    <a:gd name="connsiteY24" fmla="*/ 29050 h 128763"/>
                    <a:gd name="connsiteX25" fmla="*/ 7151 w 50118"/>
                    <a:gd name="connsiteY25" fmla="*/ 27210 h 128763"/>
                    <a:gd name="connsiteX26" fmla="*/ 6727 w 50118"/>
                    <a:gd name="connsiteY26" fmla="*/ 18645 h 128763"/>
                    <a:gd name="connsiteX27" fmla="*/ 7222 w 50118"/>
                    <a:gd name="connsiteY27" fmla="*/ 14752 h 128763"/>
                    <a:gd name="connsiteX28" fmla="*/ 8355 w 50118"/>
                    <a:gd name="connsiteY28" fmla="*/ 11354 h 128763"/>
                    <a:gd name="connsiteX29" fmla="*/ 12319 w 50118"/>
                    <a:gd name="connsiteY29" fmla="*/ 6611 h 128763"/>
                    <a:gd name="connsiteX30" fmla="*/ 15009 w 50118"/>
                    <a:gd name="connsiteY30" fmla="*/ 5337 h 128763"/>
                    <a:gd name="connsiteX31" fmla="*/ 18194 w 50118"/>
                    <a:gd name="connsiteY31" fmla="*/ 5337 h 128763"/>
                    <a:gd name="connsiteX32" fmla="*/ 25273 w 50118"/>
                    <a:gd name="connsiteY32" fmla="*/ 7885 h 128763"/>
                    <a:gd name="connsiteX33" fmla="*/ 32351 w 50118"/>
                    <a:gd name="connsiteY33" fmla="*/ 14398 h 128763"/>
                    <a:gd name="connsiteX34" fmla="*/ 37589 w 50118"/>
                    <a:gd name="connsiteY34" fmla="*/ 23600 h 128763"/>
                    <a:gd name="connsiteX35" fmla="*/ 41270 w 50118"/>
                    <a:gd name="connsiteY35" fmla="*/ 33510 h 128763"/>
                    <a:gd name="connsiteX36" fmla="*/ 43394 w 50118"/>
                    <a:gd name="connsiteY36" fmla="*/ 43420 h 128763"/>
                    <a:gd name="connsiteX37" fmla="*/ 44455 w 50118"/>
                    <a:gd name="connsiteY37" fmla="*/ 52905 h 128763"/>
                    <a:gd name="connsiteX38" fmla="*/ 44880 w 50118"/>
                    <a:gd name="connsiteY38" fmla="*/ 62320 h 128763"/>
                    <a:gd name="connsiteX39" fmla="*/ 44880 w 50118"/>
                    <a:gd name="connsiteY39" fmla="*/ 71451 h 128763"/>
                    <a:gd name="connsiteX40" fmla="*/ 42332 w 50118"/>
                    <a:gd name="connsiteY40" fmla="*/ 87449 h 128763"/>
                    <a:gd name="connsiteX41" fmla="*/ 34050 w 50118"/>
                    <a:gd name="connsiteY41" fmla="*/ 95094 h 128763"/>
                    <a:gd name="connsiteX42" fmla="*/ 34687 w 50118"/>
                    <a:gd name="connsiteY42" fmla="*/ 95094 h 128763"/>
                    <a:gd name="connsiteX43" fmla="*/ 23574 w 50118"/>
                    <a:gd name="connsiteY43" fmla="*/ 92262 h 128763"/>
                    <a:gd name="connsiteX44" fmla="*/ 18265 w 50118"/>
                    <a:gd name="connsiteY44" fmla="*/ 93536 h 128763"/>
                    <a:gd name="connsiteX45" fmla="*/ 15362 w 50118"/>
                    <a:gd name="connsiteY45" fmla="*/ 98916 h 128763"/>
                    <a:gd name="connsiteX46" fmla="*/ 15362 w 50118"/>
                    <a:gd name="connsiteY46" fmla="*/ 111941 h 128763"/>
                    <a:gd name="connsiteX47" fmla="*/ 14584 w 50118"/>
                    <a:gd name="connsiteY47" fmla="*/ 123054 h 128763"/>
                    <a:gd name="connsiteX48" fmla="*/ 16637 w 50118"/>
                    <a:gd name="connsiteY48" fmla="*/ 127938 h 128763"/>
                    <a:gd name="connsiteX49" fmla="*/ 19822 w 50118"/>
                    <a:gd name="connsiteY49" fmla="*/ 127938 h 128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50118" h="128763">
                      <a:moveTo>
                        <a:pt x="19680" y="127089"/>
                      </a:moveTo>
                      <a:cubicBezTo>
                        <a:pt x="20572" y="123024"/>
                        <a:pt x="20905" y="118856"/>
                        <a:pt x="20671" y="114701"/>
                      </a:cubicBezTo>
                      <a:cubicBezTo>
                        <a:pt x="20339" y="110886"/>
                        <a:pt x="20339" y="107049"/>
                        <a:pt x="20671" y="103234"/>
                      </a:cubicBezTo>
                      <a:cubicBezTo>
                        <a:pt x="20785" y="100891"/>
                        <a:pt x="22781" y="99086"/>
                        <a:pt x="25124" y="99202"/>
                      </a:cubicBezTo>
                      <a:cubicBezTo>
                        <a:pt x="25315" y="99212"/>
                        <a:pt x="25506" y="99235"/>
                        <a:pt x="25697" y="99270"/>
                      </a:cubicBezTo>
                      <a:cubicBezTo>
                        <a:pt x="29003" y="99608"/>
                        <a:pt x="32245" y="100418"/>
                        <a:pt x="35324" y="101677"/>
                      </a:cubicBezTo>
                      <a:lnTo>
                        <a:pt x="35324" y="101677"/>
                      </a:lnTo>
                      <a:lnTo>
                        <a:pt x="35820" y="101677"/>
                      </a:lnTo>
                      <a:cubicBezTo>
                        <a:pt x="42049" y="101677"/>
                        <a:pt x="45234" y="97076"/>
                        <a:pt x="47075" y="91908"/>
                      </a:cubicBezTo>
                      <a:cubicBezTo>
                        <a:pt x="48929" y="86330"/>
                        <a:pt x="49948" y="80512"/>
                        <a:pt x="50118" y="74636"/>
                      </a:cubicBezTo>
                      <a:cubicBezTo>
                        <a:pt x="50118" y="71168"/>
                        <a:pt x="50118" y="68195"/>
                        <a:pt x="50118" y="64868"/>
                      </a:cubicBezTo>
                      <a:cubicBezTo>
                        <a:pt x="50090" y="61550"/>
                        <a:pt x="49828" y="58239"/>
                        <a:pt x="49340" y="54958"/>
                      </a:cubicBezTo>
                      <a:cubicBezTo>
                        <a:pt x="48703" y="51419"/>
                        <a:pt x="48490" y="47879"/>
                        <a:pt x="47570" y="44482"/>
                      </a:cubicBezTo>
                      <a:cubicBezTo>
                        <a:pt x="46650" y="41084"/>
                        <a:pt x="46084" y="37403"/>
                        <a:pt x="44739" y="33651"/>
                      </a:cubicBezTo>
                      <a:cubicBezTo>
                        <a:pt x="43542" y="29925"/>
                        <a:pt x="42105" y="26283"/>
                        <a:pt x="40421" y="22750"/>
                      </a:cubicBezTo>
                      <a:cubicBezTo>
                        <a:pt x="38715" y="19044"/>
                        <a:pt x="36648" y="15512"/>
                        <a:pt x="34262" y="12203"/>
                      </a:cubicBezTo>
                      <a:cubicBezTo>
                        <a:pt x="31757" y="9032"/>
                        <a:pt x="28826" y="6221"/>
                        <a:pt x="25556" y="3851"/>
                      </a:cubicBezTo>
                      <a:cubicBezTo>
                        <a:pt x="22944" y="1941"/>
                        <a:pt x="19907" y="701"/>
                        <a:pt x="16707" y="240"/>
                      </a:cubicBezTo>
                      <a:cubicBezTo>
                        <a:pt x="15405" y="-80"/>
                        <a:pt x="14045" y="-80"/>
                        <a:pt x="12743" y="240"/>
                      </a:cubicBezTo>
                      <a:cubicBezTo>
                        <a:pt x="11508" y="308"/>
                        <a:pt x="10312" y="699"/>
                        <a:pt x="9275" y="1373"/>
                      </a:cubicBezTo>
                      <a:cubicBezTo>
                        <a:pt x="7019" y="2466"/>
                        <a:pt x="5127" y="4186"/>
                        <a:pt x="3824" y="6328"/>
                      </a:cubicBezTo>
                      <a:cubicBezTo>
                        <a:pt x="2395" y="8778"/>
                        <a:pt x="1412" y="11462"/>
                        <a:pt x="922" y="14256"/>
                      </a:cubicBezTo>
                      <a:cubicBezTo>
                        <a:pt x="281" y="17472"/>
                        <a:pt x="-28" y="20746"/>
                        <a:pt x="2" y="24025"/>
                      </a:cubicBezTo>
                      <a:cubicBezTo>
                        <a:pt x="-38" y="26540"/>
                        <a:pt x="1150" y="28918"/>
                        <a:pt x="3187" y="30395"/>
                      </a:cubicBezTo>
                      <a:cubicBezTo>
                        <a:pt x="5169" y="31811"/>
                        <a:pt x="6939" y="31174"/>
                        <a:pt x="7151" y="29050"/>
                      </a:cubicBezTo>
                      <a:lnTo>
                        <a:pt x="7151" y="27210"/>
                      </a:lnTo>
                      <a:cubicBezTo>
                        <a:pt x="6699" y="24378"/>
                        <a:pt x="6557" y="21507"/>
                        <a:pt x="6727" y="18645"/>
                      </a:cubicBezTo>
                      <a:cubicBezTo>
                        <a:pt x="6813" y="17338"/>
                        <a:pt x="6979" y="16038"/>
                        <a:pt x="7222" y="14752"/>
                      </a:cubicBezTo>
                      <a:lnTo>
                        <a:pt x="8355" y="11354"/>
                      </a:lnTo>
                      <a:cubicBezTo>
                        <a:pt x="9217" y="9440"/>
                        <a:pt x="10588" y="7800"/>
                        <a:pt x="12319" y="6611"/>
                      </a:cubicBezTo>
                      <a:cubicBezTo>
                        <a:pt x="13029" y="5871"/>
                        <a:pt x="13986" y="5417"/>
                        <a:pt x="15009" y="5337"/>
                      </a:cubicBezTo>
                      <a:cubicBezTo>
                        <a:pt x="16056" y="5095"/>
                        <a:pt x="17146" y="5095"/>
                        <a:pt x="18194" y="5337"/>
                      </a:cubicBezTo>
                      <a:cubicBezTo>
                        <a:pt x="20735" y="5569"/>
                        <a:pt x="23170" y="6446"/>
                        <a:pt x="25273" y="7885"/>
                      </a:cubicBezTo>
                      <a:cubicBezTo>
                        <a:pt x="27934" y="9700"/>
                        <a:pt x="30320" y="11893"/>
                        <a:pt x="32351" y="14398"/>
                      </a:cubicBezTo>
                      <a:cubicBezTo>
                        <a:pt x="34383" y="17293"/>
                        <a:pt x="36138" y="20374"/>
                        <a:pt x="37589" y="23600"/>
                      </a:cubicBezTo>
                      <a:cubicBezTo>
                        <a:pt x="39118" y="26784"/>
                        <a:pt x="40350" y="30101"/>
                        <a:pt x="41270" y="33510"/>
                      </a:cubicBezTo>
                      <a:cubicBezTo>
                        <a:pt x="42148" y="36774"/>
                        <a:pt x="42856" y="40082"/>
                        <a:pt x="43394" y="43420"/>
                      </a:cubicBezTo>
                      <a:cubicBezTo>
                        <a:pt x="44031" y="46676"/>
                        <a:pt x="44031" y="49720"/>
                        <a:pt x="44455" y="52905"/>
                      </a:cubicBezTo>
                      <a:cubicBezTo>
                        <a:pt x="44774" y="56033"/>
                        <a:pt x="44916" y="59176"/>
                        <a:pt x="44880" y="62320"/>
                      </a:cubicBezTo>
                      <a:cubicBezTo>
                        <a:pt x="44880" y="65363"/>
                        <a:pt x="44880" y="68903"/>
                        <a:pt x="44880" y="71451"/>
                      </a:cubicBezTo>
                      <a:cubicBezTo>
                        <a:pt x="44831" y="76881"/>
                        <a:pt x="43974" y="82273"/>
                        <a:pt x="42332" y="87449"/>
                      </a:cubicBezTo>
                      <a:cubicBezTo>
                        <a:pt x="40704" y="91979"/>
                        <a:pt x="37943" y="95447"/>
                        <a:pt x="34050" y="95094"/>
                      </a:cubicBezTo>
                      <a:lnTo>
                        <a:pt x="34687" y="95094"/>
                      </a:lnTo>
                      <a:cubicBezTo>
                        <a:pt x="31148" y="93590"/>
                        <a:pt x="27403" y="92635"/>
                        <a:pt x="23574" y="92262"/>
                      </a:cubicBezTo>
                      <a:cubicBezTo>
                        <a:pt x="21719" y="92153"/>
                        <a:pt x="19872" y="92596"/>
                        <a:pt x="18265" y="93536"/>
                      </a:cubicBezTo>
                      <a:cubicBezTo>
                        <a:pt x="16693" y="94931"/>
                        <a:pt x="15667" y="96837"/>
                        <a:pt x="15362" y="98916"/>
                      </a:cubicBezTo>
                      <a:cubicBezTo>
                        <a:pt x="14938" y="103247"/>
                        <a:pt x="14938" y="107609"/>
                        <a:pt x="15362" y="111941"/>
                      </a:cubicBezTo>
                      <a:cubicBezTo>
                        <a:pt x="15617" y="115663"/>
                        <a:pt x="15355" y="119403"/>
                        <a:pt x="14584" y="123054"/>
                      </a:cubicBezTo>
                      <a:cubicBezTo>
                        <a:pt x="14391" y="124926"/>
                        <a:pt x="15164" y="126766"/>
                        <a:pt x="16637" y="127938"/>
                      </a:cubicBezTo>
                      <a:cubicBezTo>
                        <a:pt x="18052" y="129142"/>
                        <a:pt x="19468" y="128929"/>
                        <a:pt x="19822" y="127938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</p:grpSp>
        <p:grpSp>
          <p:nvGrpSpPr>
            <p:cNvPr id="825" name="Blue Dress">
              <a:extLst>
                <a:ext uri="{FF2B5EF4-FFF2-40B4-BE49-F238E27FC236}">
                  <a16:creationId xmlns:a16="http://schemas.microsoft.com/office/drawing/2014/main" id="{B3157F55-E662-45C9-BE59-A02C9B0066F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08398" y="3408670"/>
              <a:ext cx="378742" cy="1261872"/>
              <a:chOff x="5596405" y="4264366"/>
              <a:chExt cx="607298" cy="2023364"/>
            </a:xfrm>
          </p:grpSpPr>
          <p:grpSp>
            <p:nvGrpSpPr>
              <p:cNvPr id="826" name="Group 825">
                <a:extLst>
                  <a:ext uri="{FF2B5EF4-FFF2-40B4-BE49-F238E27FC236}">
                    <a16:creationId xmlns:a16="http://schemas.microsoft.com/office/drawing/2014/main" id="{3F634BB3-961A-4541-A5BD-8E03C3C5E838}"/>
                  </a:ext>
                </a:extLst>
              </p:cNvPr>
              <p:cNvGrpSpPr/>
              <p:nvPr/>
            </p:nvGrpSpPr>
            <p:grpSpPr>
              <a:xfrm>
                <a:off x="5596405" y="4439738"/>
                <a:ext cx="607298" cy="1847992"/>
                <a:chOff x="5596405" y="4439738"/>
                <a:chExt cx="607298" cy="1847992"/>
              </a:xfrm>
            </p:grpSpPr>
            <p:sp>
              <p:nvSpPr>
                <p:cNvPr id="828" name="Freeform: Shape 827">
                  <a:extLst>
                    <a:ext uri="{FF2B5EF4-FFF2-40B4-BE49-F238E27FC236}">
                      <a16:creationId xmlns:a16="http://schemas.microsoft.com/office/drawing/2014/main" id="{7EFECBB7-61C2-46A5-9803-60C2AED11397}"/>
                    </a:ext>
                  </a:extLst>
                </p:cNvPr>
                <p:cNvSpPr/>
                <p:nvPr/>
              </p:nvSpPr>
              <p:spPr>
                <a:xfrm>
                  <a:off x="5694852" y="4493469"/>
                  <a:ext cx="17930" cy="197777"/>
                </a:xfrm>
                <a:custGeom>
                  <a:avLst/>
                  <a:gdLst>
                    <a:gd name="connsiteX0" fmla="*/ 410 w 7983"/>
                    <a:gd name="connsiteY0" fmla="*/ 0 h 88057"/>
                    <a:gd name="connsiteX1" fmla="*/ 1613 w 7983"/>
                    <a:gd name="connsiteY1" fmla="*/ 83315 h 88057"/>
                    <a:gd name="connsiteX2" fmla="*/ 7984 w 7983"/>
                    <a:gd name="connsiteY2" fmla="*/ 88058 h 88057"/>
                    <a:gd name="connsiteX3" fmla="*/ 4374 w 7983"/>
                    <a:gd name="connsiteY3" fmla="*/ 212 h 88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83" h="88057">
                      <a:moveTo>
                        <a:pt x="410" y="0"/>
                      </a:moveTo>
                      <a:cubicBezTo>
                        <a:pt x="410" y="0"/>
                        <a:pt x="-1077" y="21236"/>
                        <a:pt x="1613" y="83315"/>
                      </a:cubicBezTo>
                      <a:lnTo>
                        <a:pt x="7984" y="88058"/>
                      </a:lnTo>
                      <a:cubicBezTo>
                        <a:pt x="4869" y="58886"/>
                        <a:pt x="3662" y="29542"/>
                        <a:pt x="4374" y="212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29" name="Freeform: Shape 828">
                  <a:extLst>
                    <a:ext uri="{FF2B5EF4-FFF2-40B4-BE49-F238E27FC236}">
                      <a16:creationId xmlns:a16="http://schemas.microsoft.com/office/drawing/2014/main" id="{C23C42E7-1E4B-40AF-A0FA-D1554BE6FC17}"/>
                    </a:ext>
                  </a:extLst>
                </p:cNvPr>
                <p:cNvSpPr/>
                <p:nvPr/>
              </p:nvSpPr>
              <p:spPr>
                <a:xfrm>
                  <a:off x="6084969" y="4718275"/>
                  <a:ext cx="17993" cy="193645"/>
                </a:xfrm>
                <a:custGeom>
                  <a:avLst/>
                  <a:gdLst>
                    <a:gd name="connsiteX0" fmla="*/ 7574 w 8011"/>
                    <a:gd name="connsiteY0" fmla="*/ 4318 h 86217"/>
                    <a:gd name="connsiteX1" fmla="*/ 6371 w 8011"/>
                    <a:gd name="connsiteY1" fmla="*/ 86217 h 86217"/>
                    <a:gd name="connsiteX2" fmla="*/ 0 w 8011"/>
                    <a:gd name="connsiteY2" fmla="*/ 83598 h 86217"/>
                    <a:gd name="connsiteX3" fmla="*/ 3610 w 8011"/>
                    <a:gd name="connsiteY3" fmla="*/ 0 h 86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1" h="86217">
                      <a:moveTo>
                        <a:pt x="7574" y="4318"/>
                      </a:moveTo>
                      <a:cubicBezTo>
                        <a:pt x="7574" y="4318"/>
                        <a:pt x="9131" y="27323"/>
                        <a:pt x="6371" y="86217"/>
                      </a:cubicBezTo>
                      <a:lnTo>
                        <a:pt x="0" y="83598"/>
                      </a:lnTo>
                      <a:cubicBezTo>
                        <a:pt x="3322" y="55864"/>
                        <a:pt x="4529" y="27917"/>
                        <a:pt x="3610" y="0"/>
                      </a:cubicBezTo>
                      <a:close/>
                    </a:path>
                  </a:pathLst>
                </a:custGeom>
                <a:solidFill>
                  <a:srgbClr val="FC9D2B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0" name="Freeform: Shape 829">
                  <a:extLst>
                    <a:ext uri="{FF2B5EF4-FFF2-40B4-BE49-F238E27FC236}">
                      <a16:creationId xmlns:a16="http://schemas.microsoft.com/office/drawing/2014/main" id="{8F9A5C06-5A21-45BE-9638-5DE36910D49E}"/>
                    </a:ext>
                  </a:extLst>
                </p:cNvPr>
                <p:cNvSpPr/>
                <p:nvPr/>
              </p:nvSpPr>
              <p:spPr>
                <a:xfrm>
                  <a:off x="5698475" y="4680596"/>
                  <a:ext cx="400804" cy="469804"/>
                </a:xfrm>
                <a:custGeom>
                  <a:avLst/>
                  <a:gdLst>
                    <a:gd name="connsiteX0" fmla="*/ 0 w 178451"/>
                    <a:gd name="connsiteY0" fmla="*/ 0 h 209172"/>
                    <a:gd name="connsiteX1" fmla="*/ 52806 w 178451"/>
                    <a:gd name="connsiteY1" fmla="*/ 166134 h 209172"/>
                    <a:gd name="connsiteX2" fmla="*/ 127344 w 178451"/>
                    <a:gd name="connsiteY2" fmla="*/ 209172 h 209172"/>
                    <a:gd name="connsiteX3" fmla="*/ 178451 w 178451"/>
                    <a:gd name="connsiteY3" fmla="*/ 102993 h 209172"/>
                    <a:gd name="connsiteX4" fmla="*/ 89756 w 178451"/>
                    <a:gd name="connsiteY4" fmla="*/ 78218 h 209172"/>
                    <a:gd name="connsiteX5" fmla="*/ 0 w 178451"/>
                    <a:gd name="connsiteY5" fmla="*/ 0 h 209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8451" h="209172">
                      <a:moveTo>
                        <a:pt x="0" y="0"/>
                      </a:moveTo>
                      <a:lnTo>
                        <a:pt x="52806" y="166134"/>
                      </a:lnTo>
                      <a:lnTo>
                        <a:pt x="127344" y="209172"/>
                      </a:lnTo>
                      <a:cubicBezTo>
                        <a:pt x="127344" y="209172"/>
                        <a:pt x="169815" y="122884"/>
                        <a:pt x="178451" y="102993"/>
                      </a:cubicBezTo>
                      <a:cubicBezTo>
                        <a:pt x="128901" y="62008"/>
                        <a:pt x="89756" y="78218"/>
                        <a:pt x="89756" y="78218"/>
                      </a:cubicBezTo>
                      <a:cubicBezTo>
                        <a:pt x="89756" y="78218"/>
                        <a:pt x="47922" y="22085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1" name="Freeform: Shape 830">
                  <a:extLst>
                    <a:ext uri="{FF2B5EF4-FFF2-40B4-BE49-F238E27FC236}">
                      <a16:creationId xmlns:a16="http://schemas.microsoft.com/office/drawing/2014/main" id="{A56A5E95-4943-4036-AC45-5EB15565F626}"/>
                    </a:ext>
                  </a:extLst>
                </p:cNvPr>
                <p:cNvSpPr/>
                <p:nvPr/>
              </p:nvSpPr>
              <p:spPr>
                <a:xfrm>
                  <a:off x="5596405" y="5046292"/>
                  <a:ext cx="607298" cy="1240614"/>
                </a:xfrm>
                <a:custGeom>
                  <a:avLst/>
                  <a:gdLst>
                    <a:gd name="connsiteX0" fmla="*/ 98251 w 270389"/>
                    <a:gd name="connsiteY0" fmla="*/ 3315 h 552362"/>
                    <a:gd name="connsiteX1" fmla="*/ 0 w 270389"/>
                    <a:gd name="connsiteY1" fmla="*/ 396884 h 552362"/>
                    <a:gd name="connsiteX2" fmla="*/ 133927 w 270389"/>
                    <a:gd name="connsiteY2" fmla="*/ 505965 h 552362"/>
                    <a:gd name="connsiteX3" fmla="*/ 269199 w 270389"/>
                    <a:gd name="connsiteY3" fmla="*/ 552259 h 552362"/>
                    <a:gd name="connsiteX4" fmla="*/ 172788 w 270389"/>
                    <a:gd name="connsiteY4" fmla="*/ 46565 h 552362"/>
                    <a:gd name="connsiteX5" fmla="*/ 98251 w 270389"/>
                    <a:gd name="connsiteY5" fmla="*/ 3315 h 552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389" h="552362">
                      <a:moveTo>
                        <a:pt x="98251" y="3315"/>
                      </a:moveTo>
                      <a:cubicBezTo>
                        <a:pt x="-16422" y="183818"/>
                        <a:pt x="4176" y="254746"/>
                        <a:pt x="0" y="396884"/>
                      </a:cubicBezTo>
                      <a:cubicBezTo>
                        <a:pt x="0" y="396884"/>
                        <a:pt x="46011" y="455141"/>
                        <a:pt x="133927" y="505965"/>
                      </a:cubicBezTo>
                      <a:cubicBezTo>
                        <a:pt x="221843" y="556789"/>
                        <a:pt x="269199" y="552259"/>
                        <a:pt x="269199" y="552259"/>
                      </a:cubicBezTo>
                      <a:cubicBezTo>
                        <a:pt x="269199" y="471988"/>
                        <a:pt x="288382" y="344219"/>
                        <a:pt x="172788" y="46565"/>
                      </a:cubicBezTo>
                      <a:cubicBezTo>
                        <a:pt x="172788" y="46352"/>
                        <a:pt x="138245" y="-14665"/>
                        <a:pt x="98251" y="3315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2" name="Freeform: Shape 831">
                  <a:extLst>
                    <a:ext uri="{FF2B5EF4-FFF2-40B4-BE49-F238E27FC236}">
                      <a16:creationId xmlns:a16="http://schemas.microsoft.com/office/drawing/2014/main" id="{F51039A4-6317-487D-9373-476C778900D5}"/>
                    </a:ext>
                  </a:extLst>
                </p:cNvPr>
                <p:cNvSpPr/>
                <p:nvPr/>
              </p:nvSpPr>
              <p:spPr>
                <a:xfrm>
                  <a:off x="5752211" y="4719865"/>
                  <a:ext cx="451492" cy="1567865"/>
                </a:xfrm>
                <a:custGeom>
                  <a:avLst/>
                  <a:gdLst>
                    <a:gd name="connsiteX0" fmla="*/ 103418 w 201019"/>
                    <a:gd name="connsiteY0" fmla="*/ 192467 h 698065"/>
                    <a:gd name="connsiteX1" fmla="*/ 154526 w 201019"/>
                    <a:gd name="connsiteY1" fmla="*/ 86288 h 698065"/>
                    <a:gd name="connsiteX2" fmla="*/ 155729 w 201019"/>
                    <a:gd name="connsiteY2" fmla="*/ 4318 h 698065"/>
                    <a:gd name="connsiteX3" fmla="*/ 151765 w 201019"/>
                    <a:gd name="connsiteY3" fmla="*/ 0 h 698065"/>
                    <a:gd name="connsiteX4" fmla="*/ 148438 w 201019"/>
                    <a:gd name="connsiteY4" fmla="*/ 81545 h 698065"/>
                    <a:gd name="connsiteX5" fmla="*/ 136688 w 201019"/>
                    <a:gd name="connsiteY5" fmla="*/ 73759 h 698065"/>
                    <a:gd name="connsiteX6" fmla="*/ 85863 w 201019"/>
                    <a:gd name="connsiteY6" fmla="*/ 179301 h 698065"/>
                    <a:gd name="connsiteX7" fmla="*/ 182274 w 201019"/>
                    <a:gd name="connsiteY7" fmla="*/ 684995 h 698065"/>
                    <a:gd name="connsiteX8" fmla="*/ 47073 w 201019"/>
                    <a:gd name="connsiteY8" fmla="*/ 638701 h 698065"/>
                    <a:gd name="connsiteX9" fmla="*/ 0 w 201019"/>
                    <a:gd name="connsiteY9" fmla="*/ 608263 h 698065"/>
                    <a:gd name="connsiteX10" fmla="*/ 64557 w 201019"/>
                    <a:gd name="connsiteY10" fmla="*/ 651796 h 698065"/>
                    <a:gd name="connsiteX11" fmla="*/ 199829 w 201019"/>
                    <a:gd name="connsiteY11" fmla="*/ 697949 h 698065"/>
                    <a:gd name="connsiteX12" fmla="*/ 103418 w 201019"/>
                    <a:gd name="connsiteY12" fmla="*/ 192467 h 698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1019" h="698065">
                      <a:moveTo>
                        <a:pt x="103418" y="192467"/>
                      </a:moveTo>
                      <a:cubicBezTo>
                        <a:pt x="103418" y="192467"/>
                        <a:pt x="145890" y="106250"/>
                        <a:pt x="154526" y="86288"/>
                      </a:cubicBezTo>
                      <a:cubicBezTo>
                        <a:pt x="157286" y="27323"/>
                        <a:pt x="155729" y="4318"/>
                        <a:pt x="155729" y="4318"/>
                      </a:cubicBezTo>
                      <a:lnTo>
                        <a:pt x="151765" y="0"/>
                      </a:lnTo>
                      <a:cubicBezTo>
                        <a:pt x="152602" y="27226"/>
                        <a:pt x="151490" y="54478"/>
                        <a:pt x="148438" y="81545"/>
                      </a:cubicBezTo>
                      <a:cubicBezTo>
                        <a:pt x="144403" y="78572"/>
                        <a:pt x="140510" y="76095"/>
                        <a:pt x="136688" y="73759"/>
                      </a:cubicBezTo>
                      <a:cubicBezTo>
                        <a:pt x="127273" y="94995"/>
                        <a:pt x="85863" y="179301"/>
                        <a:pt x="85863" y="179301"/>
                      </a:cubicBezTo>
                      <a:cubicBezTo>
                        <a:pt x="201457" y="476955"/>
                        <a:pt x="182274" y="604724"/>
                        <a:pt x="182274" y="684995"/>
                      </a:cubicBezTo>
                      <a:cubicBezTo>
                        <a:pt x="182274" y="684995"/>
                        <a:pt x="134989" y="689454"/>
                        <a:pt x="47073" y="638701"/>
                      </a:cubicBezTo>
                      <a:cubicBezTo>
                        <a:pt x="30874" y="629364"/>
                        <a:pt x="15163" y="619207"/>
                        <a:pt x="0" y="608263"/>
                      </a:cubicBezTo>
                      <a:cubicBezTo>
                        <a:pt x="20465" y="624282"/>
                        <a:pt x="42038" y="638828"/>
                        <a:pt x="64557" y="651796"/>
                      </a:cubicBezTo>
                      <a:cubicBezTo>
                        <a:pt x="152544" y="702691"/>
                        <a:pt x="199829" y="697949"/>
                        <a:pt x="199829" y="697949"/>
                      </a:cubicBezTo>
                      <a:cubicBezTo>
                        <a:pt x="199829" y="617961"/>
                        <a:pt x="219012" y="490192"/>
                        <a:pt x="103418" y="19246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3" name="Freeform: Shape 832">
                  <a:extLst>
                    <a:ext uri="{FF2B5EF4-FFF2-40B4-BE49-F238E27FC236}">
                      <a16:creationId xmlns:a16="http://schemas.microsoft.com/office/drawing/2014/main" id="{041E1F82-B90F-4C99-BAFF-06B4DD9578B3}"/>
                    </a:ext>
                  </a:extLst>
                </p:cNvPr>
                <p:cNvSpPr/>
                <p:nvPr/>
              </p:nvSpPr>
              <p:spPr>
                <a:xfrm>
                  <a:off x="5637197" y="4439738"/>
                  <a:ext cx="498184" cy="296703"/>
                </a:xfrm>
                <a:custGeom>
                  <a:avLst/>
                  <a:gdLst>
                    <a:gd name="connsiteX0" fmla="*/ 221802 w 221808"/>
                    <a:gd name="connsiteY0" fmla="*/ 131942 h 132102"/>
                    <a:gd name="connsiteX1" fmla="*/ 108545 w 221808"/>
                    <a:gd name="connsiteY1" fmla="*/ 43672 h 132102"/>
                    <a:gd name="connsiteX2" fmla="*/ 30 w 221808"/>
                    <a:gd name="connsiteY2" fmla="*/ 564 h 132102"/>
                    <a:gd name="connsiteX3" fmla="*/ 109890 w 221808"/>
                    <a:gd name="connsiteY3" fmla="*/ 59599 h 132102"/>
                    <a:gd name="connsiteX4" fmla="*/ 221802 w 221808"/>
                    <a:gd name="connsiteY4" fmla="*/ 131942 h 132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808" h="132102">
                      <a:moveTo>
                        <a:pt x="221802" y="131942"/>
                      </a:moveTo>
                      <a:cubicBezTo>
                        <a:pt x="222297" y="127766"/>
                        <a:pt x="194691" y="115874"/>
                        <a:pt x="108545" y="43672"/>
                      </a:cubicBezTo>
                      <a:cubicBezTo>
                        <a:pt x="52836" y="28807"/>
                        <a:pt x="-1457" y="-4745"/>
                        <a:pt x="30" y="564"/>
                      </a:cubicBezTo>
                      <a:cubicBezTo>
                        <a:pt x="1516" y="5873"/>
                        <a:pt x="109890" y="59599"/>
                        <a:pt x="109890" y="59599"/>
                      </a:cubicBezTo>
                      <a:cubicBezTo>
                        <a:pt x="109890" y="59599"/>
                        <a:pt x="221377" y="136048"/>
                        <a:pt x="221802" y="131942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4" name="Freeform: Shape 833">
                  <a:extLst>
                    <a:ext uri="{FF2B5EF4-FFF2-40B4-BE49-F238E27FC236}">
                      <a16:creationId xmlns:a16="http://schemas.microsoft.com/office/drawing/2014/main" id="{0F2E2912-25AC-4360-8425-2A7BB8376088}"/>
                    </a:ext>
                  </a:extLst>
                </p:cNvPr>
                <p:cNvSpPr/>
                <p:nvPr/>
              </p:nvSpPr>
              <p:spPr>
                <a:xfrm>
                  <a:off x="6082108" y="4699833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35" name="Freeform: Shape 834">
                  <a:extLst>
                    <a:ext uri="{FF2B5EF4-FFF2-40B4-BE49-F238E27FC236}">
                      <a16:creationId xmlns:a16="http://schemas.microsoft.com/office/drawing/2014/main" id="{FC23A956-3CFB-4A27-A773-5B9761E12633}"/>
                    </a:ext>
                  </a:extLst>
                </p:cNvPr>
                <p:cNvSpPr/>
                <p:nvPr/>
              </p:nvSpPr>
              <p:spPr>
                <a:xfrm>
                  <a:off x="5671606" y="4462943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  <p:sp>
            <p:nvSpPr>
              <p:cNvPr id="827" name="Freeform: Shape 826">
                <a:extLst>
                  <a:ext uri="{FF2B5EF4-FFF2-40B4-BE49-F238E27FC236}">
                    <a16:creationId xmlns:a16="http://schemas.microsoft.com/office/drawing/2014/main" id="{5AB34CB1-5868-4FAF-9983-B4224E290A52}"/>
                  </a:ext>
                </a:extLst>
              </p:cNvPr>
              <p:cNvSpPr/>
              <p:nvPr/>
            </p:nvSpPr>
            <p:spPr>
              <a:xfrm>
                <a:off x="5840605" y="4264366"/>
                <a:ext cx="111611" cy="289040"/>
              </a:xfrm>
              <a:custGeom>
                <a:avLst/>
                <a:gdLst>
                  <a:gd name="connsiteX0" fmla="*/ 19326 w 49693"/>
                  <a:gd name="connsiteY0" fmla="*/ 127132 h 128690"/>
                  <a:gd name="connsiteX1" fmla="*/ 20388 w 49693"/>
                  <a:gd name="connsiteY1" fmla="*/ 115028 h 128690"/>
                  <a:gd name="connsiteX2" fmla="*/ 20388 w 49693"/>
                  <a:gd name="connsiteY2" fmla="*/ 103490 h 128690"/>
                  <a:gd name="connsiteX3" fmla="*/ 25484 w 49693"/>
                  <a:gd name="connsiteY3" fmla="*/ 99597 h 128690"/>
                  <a:gd name="connsiteX4" fmla="*/ 35040 w 49693"/>
                  <a:gd name="connsiteY4" fmla="*/ 102004 h 128690"/>
                  <a:gd name="connsiteX5" fmla="*/ 35677 w 49693"/>
                  <a:gd name="connsiteY5" fmla="*/ 102004 h 128690"/>
                  <a:gd name="connsiteX6" fmla="*/ 46932 w 49693"/>
                  <a:gd name="connsiteY6" fmla="*/ 92306 h 128690"/>
                  <a:gd name="connsiteX7" fmla="*/ 49693 w 49693"/>
                  <a:gd name="connsiteY7" fmla="*/ 74609 h 128690"/>
                  <a:gd name="connsiteX8" fmla="*/ 49693 w 49693"/>
                  <a:gd name="connsiteY8" fmla="*/ 64841 h 128690"/>
                  <a:gd name="connsiteX9" fmla="*/ 48844 w 49693"/>
                  <a:gd name="connsiteY9" fmla="*/ 54931 h 128690"/>
                  <a:gd name="connsiteX10" fmla="*/ 47145 w 49693"/>
                  <a:gd name="connsiteY10" fmla="*/ 44384 h 128690"/>
                  <a:gd name="connsiteX11" fmla="*/ 44313 w 49693"/>
                  <a:gd name="connsiteY11" fmla="*/ 33624 h 128690"/>
                  <a:gd name="connsiteX12" fmla="*/ 39995 w 49693"/>
                  <a:gd name="connsiteY12" fmla="*/ 22653 h 128690"/>
                  <a:gd name="connsiteX13" fmla="*/ 33766 w 49693"/>
                  <a:gd name="connsiteY13" fmla="*/ 12105 h 128690"/>
                  <a:gd name="connsiteX14" fmla="*/ 25413 w 49693"/>
                  <a:gd name="connsiteY14" fmla="*/ 3894 h 128690"/>
                  <a:gd name="connsiteX15" fmla="*/ 16565 w 49693"/>
                  <a:gd name="connsiteY15" fmla="*/ 213 h 128690"/>
                  <a:gd name="connsiteX16" fmla="*/ 12672 w 49693"/>
                  <a:gd name="connsiteY16" fmla="*/ 213 h 128690"/>
                  <a:gd name="connsiteX17" fmla="*/ 9133 w 49693"/>
                  <a:gd name="connsiteY17" fmla="*/ 1346 h 128690"/>
                  <a:gd name="connsiteX18" fmla="*/ 3753 w 49693"/>
                  <a:gd name="connsiteY18" fmla="*/ 6301 h 128690"/>
                  <a:gd name="connsiteX19" fmla="*/ 851 w 49693"/>
                  <a:gd name="connsiteY19" fmla="*/ 14229 h 128690"/>
                  <a:gd name="connsiteX20" fmla="*/ 1 w 49693"/>
                  <a:gd name="connsiteY20" fmla="*/ 23997 h 128690"/>
                  <a:gd name="connsiteX21" fmla="*/ 3187 w 49693"/>
                  <a:gd name="connsiteY21" fmla="*/ 30368 h 128690"/>
                  <a:gd name="connsiteX22" fmla="*/ 7151 w 49693"/>
                  <a:gd name="connsiteY22" fmla="*/ 29023 h 128690"/>
                  <a:gd name="connsiteX23" fmla="*/ 7151 w 49693"/>
                  <a:gd name="connsiteY23" fmla="*/ 27183 h 128690"/>
                  <a:gd name="connsiteX24" fmla="*/ 6797 w 49693"/>
                  <a:gd name="connsiteY24" fmla="*/ 18618 h 128690"/>
                  <a:gd name="connsiteX25" fmla="*/ 7221 w 49693"/>
                  <a:gd name="connsiteY25" fmla="*/ 14654 h 128690"/>
                  <a:gd name="connsiteX26" fmla="*/ 8425 w 49693"/>
                  <a:gd name="connsiteY26" fmla="*/ 11327 h 128690"/>
                  <a:gd name="connsiteX27" fmla="*/ 12318 w 49693"/>
                  <a:gd name="connsiteY27" fmla="*/ 6513 h 128690"/>
                  <a:gd name="connsiteX28" fmla="*/ 15008 w 49693"/>
                  <a:gd name="connsiteY28" fmla="*/ 5239 h 128690"/>
                  <a:gd name="connsiteX29" fmla="*/ 18193 w 49693"/>
                  <a:gd name="connsiteY29" fmla="*/ 5239 h 128690"/>
                  <a:gd name="connsiteX30" fmla="*/ 25272 w 49693"/>
                  <a:gd name="connsiteY30" fmla="*/ 7858 h 128690"/>
                  <a:gd name="connsiteX31" fmla="*/ 32350 w 49693"/>
                  <a:gd name="connsiteY31" fmla="*/ 14371 h 128690"/>
                  <a:gd name="connsiteX32" fmla="*/ 37659 w 49693"/>
                  <a:gd name="connsiteY32" fmla="*/ 23573 h 128690"/>
                  <a:gd name="connsiteX33" fmla="*/ 41269 w 49693"/>
                  <a:gd name="connsiteY33" fmla="*/ 33412 h 128690"/>
                  <a:gd name="connsiteX34" fmla="*/ 43393 w 49693"/>
                  <a:gd name="connsiteY34" fmla="*/ 43322 h 128690"/>
                  <a:gd name="connsiteX35" fmla="*/ 44455 w 49693"/>
                  <a:gd name="connsiteY35" fmla="*/ 52807 h 128690"/>
                  <a:gd name="connsiteX36" fmla="*/ 44880 w 49693"/>
                  <a:gd name="connsiteY36" fmla="*/ 62222 h 128690"/>
                  <a:gd name="connsiteX37" fmla="*/ 44880 w 49693"/>
                  <a:gd name="connsiteY37" fmla="*/ 71424 h 128690"/>
                  <a:gd name="connsiteX38" fmla="*/ 42331 w 49693"/>
                  <a:gd name="connsiteY38" fmla="*/ 87422 h 128690"/>
                  <a:gd name="connsiteX39" fmla="*/ 34049 w 49693"/>
                  <a:gd name="connsiteY39" fmla="*/ 94996 h 128690"/>
                  <a:gd name="connsiteX40" fmla="*/ 34686 w 49693"/>
                  <a:gd name="connsiteY40" fmla="*/ 94996 h 128690"/>
                  <a:gd name="connsiteX41" fmla="*/ 23573 w 49693"/>
                  <a:gd name="connsiteY41" fmla="*/ 92235 h 128690"/>
                  <a:gd name="connsiteX42" fmla="*/ 18335 w 49693"/>
                  <a:gd name="connsiteY42" fmla="*/ 93509 h 128690"/>
                  <a:gd name="connsiteX43" fmla="*/ 15433 w 49693"/>
                  <a:gd name="connsiteY43" fmla="*/ 98818 h 128690"/>
                  <a:gd name="connsiteX44" fmla="*/ 15433 w 49693"/>
                  <a:gd name="connsiteY44" fmla="*/ 111843 h 128690"/>
                  <a:gd name="connsiteX45" fmla="*/ 14725 w 49693"/>
                  <a:gd name="connsiteY45" fmla="*/ 123027 h 128690"/>
                  <a:gd name="connsiteX46" fmla="*/ 16707 w 49693"/>
                  <a:gd name="connsiteY46" fmla="*/ 127840 h 128690"/>
                  <a:gd name="connsiteX47" fmla="*/ 19892 w 49693"/>
                  <a:gd name="connsiteY47" fmla="*/ 127840 h 12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9693" h="128690">
                    <a:moveTo>
                      <a:pt x="19326" y="127132"/>
                    </a:moveTo>
                    <a:cubicBezTo>
                      <a:pt x="20216" y="123163"/>
                      <a:pt x="20574" y="119092"/>
                      <a:pt x="20388" y="115028"/>
                    </a:cubicBezTo>
                    <a:cubicBezTo>
                      <a:pt x="20062" y="111189"/>
                      <a:pt x="20062" y="107329"/>
                      <a:pt x="20388" y="103490"/>
                    </a:cubicBezTo>
                    <a:cubicBezTo>
                      <a:pt x="20883" y="100517"/>
                      <a:pt x="22582" y="99526"/>
                      <a:pt x="25484" y="99597"/>
                    </a:cubicBezTo>
                    <a:cubicBezTo>
                      <a:pt x="28770" y="99927"/>
                      <a:pt x="31989" y="100739"/>
                      <a:pt x="35040" y="102004"/>
                    </a:cubicBezTo>
                    <a:lnTo>
                      <a:pt x="35677" y="102004"/>
                    </a:lnTo>
                    <a:cubicBezTo>
                      <a:pt x="41977" y="102428"/>
                      <a:pt x="45163" y="97402"/>
                      <a:pt x="46932" y="92306"/>
                    </a:cubicBezTo>
                    <a:cubicBezTo>
                      <a:pt x="48718" y="86575"/>
                      <a:pt x="49648" y="80612"/>
                      <a:pt x="49693" y="74609"/>
                    </a:cubicBezTo>
                    <a:cubicBezTo>
                      <a:pt x="49693" y="71070"/>
                      <a:pt x="49693" y="68097"/>
                      <a:pt x="49693" y="64841"/>
                    </a:cubicBezTo>
                    <a:cubicBezTo>
                      <a:pt x="49604" y="61524"/>
                      <a:pt x="49320" y="58215"/>
                      <a:pt x="48844" y="54931"/>
                    </a:cubicBezTo>
                    <a:cubicBezTo>
                      <a:pt x="48277" y="51392"/>
                      <a:pt x="48065" y="47852"/>
                      <a:pt x="47145" y="44384"/>
                    </a:cubicBezTo>
                    <a:cubicBezTo>
                      <a:pt x="46225" y="40915"/>
                      <a:pt x="45658" y="37305"/>
                      <a:pt x="44313" y="33624"/>
                    </a:cubicBezTo>
                    <a:cubicBezTo>
                      <a:pt x="43089" y="29886"/>
                      <a:pt x="41648" y="26222"/>
                      <a:pt x="39995" y="22653"/>
                    </a:cubicBezTo>
                    <a:cubicBezTo>
                      <a:pt x="38275" y="18938"/>
                      <a:pt x="36188" y="15405"/>
                      <a:pt x="33766" y="12105"/>
                    </a:cubicBezTo>
                    <a:cubicBezTo>
                      <a:pt x="31364" y="9004"/>
                      <a:pt x="28555" y="6242"/>
                      <a:pt x="25413" y="3894"/>
                    </a:cubicBezTo>
                    <a:cubicBezTo>
                      <a:pt x="22808" y="1965"/>
                      <a:pt x="19770" y="701"/>
                      <a:pt x="16565" y="213"/>
                    </a:cubicBezTo>
                    <a:cubicBezTo>
                      <a:pt x="15283" y="-71"/>
                      <a:pt x="13954" y="-71"/>
                      <a:pt x="12672" y="213"/>
                    </a:cubicBezTo>
                    <a:cubicBezTo>
                      <a:pt x="11416" y="288"/>
                      <a:pt x="10199" y="678"/>
                      <a:pt x="9133" y="1346"/>
                    </a:cubicBezTo>
                    <a:cubicBezTo>
                      <a:pt x="6884" y="2422"/>
                      <a:pt x="5010" y="4148"/>
                      <a:pt x="3753" y="6301"/>
                    </a:cubicBezTo>
                    <a:cubicBezTo>
                      <a:pt x="2343" y="8760"/>
                      <a:pt x="1362" y="11441"/>
                      <a:pt x="851" y="14229"/>
                    </a:cubicBezTo>
                    <a:cubicBezTo>
                      <a:pt x="263" y="17451"/>
                      <a:pt x="-22" y="20722"/>
                      <a:pt x="1" y="23997"/>
                    </a:cubicBezTo>
                    <a:cubicBezTo>
                      <a:pt x="-16" y="26508"/>
                      <a:pt x="1168" y="28875"/>
                      <a:pt x="3187" y="30368"/>
                    </a:cubicBezTo>
                    <a:cubicBezTo>
                      <a:pt x="5098" y="31713"/>
                      <a:pt x="6868" y="31147"/>
                      <a:pt x="7151" y="29023"/>
                    </a:cubicBezTo>
                    <a:lnTo>
                      <a:pt x="7151" y="27183"/>
                    </a:lnTo>
                    <a:cubicBezTo>
                      <a:pt x="6720" y="24349"/>
                      <a:pt x="6602" y="21478"/>
                      <a:pt x="6797" y="18618"/>
                    </a:cubicBezTo>
                    <a:cubicBezTo>
                      <a:pt x="6864" y="17290"/>
                      <a:pt x="7006" y="15966"/>
                      <a:pt x="7221" y="14654"/>
                    </a:cubicBezTo>
                    <a:lnTo>
                      <a:pt x="8425" y="11327"/>
                    </a:lnTo>
                    <a:cubicBezTo>
                      <a:pt x="9260" y="9398"/>
                      <a:pt x="10606" y="7733"/>
                      <a:pt x="12318" y="6513"/>
                    </a:cubicBezTo>
                    <a:cubicBezTo>
                      <a:pt x="13039" y="5789"/>
                      <a:pt x="13990" y="5338"/>
                      <a:pt x="15008" y="5239"/>
                    </a:cubicBezTo>
                    <a:cubicBezTo>
                      <a:pt x="16056" y="4997"/>
                      <a:pt x="17145" y="4997"/>
                      <a:pt x="18193" y="5239"/>
                    </a:cubicBezTo>
                    <a:cubicBezTo>
                      <a:pt x="20742" y="5476"/>
                      <a:pt x="23183" y="6379"/>
                      <a:pt x="25272" y="7858"/>
                    </a:cubicBezTo>
                    <a:cubicBezTo>
                      <a:pt x="27972" y="9627"/>
                      <a:pt x="30363" y="11827"/>
                      <a:pt x="32350" y="14371"/>
                    </a:cubicBezTo>
                    <a:cubicBezTo>
                      <a:pt x="34420" y="17255"/>
                      <a:pt x="36198" y="20337"/>
                      <a:pt x="37659" y="23573"/>
                    </a:cubicBezTo>
                    <a:cubicBezTo>
                      <a:pt x="39152" y="26739"/>
                      <a:pt x="40361" y="30031"/>
                      <a:pt x="41269" y="33412"/>
                    </a:cubicBezTo>
                    <a:cubicBezTo>
                      <a:pt x="42331" y="36739"/>
                      <a:pt x="42685" y="40066"/>
                      <a:pt x="43393" y="43322"/>
                    </a:cubicBezTo>
                    <a:cubicBezTo>
                      <a:pt x="43914" y="46463"/>
                      <a:pt x="44268" y="49629"/>
                      <a:pt x="44455" y="52807"/>
                    </a:cubicBezTo>
                    <a:cubicBezTo>
                      <a:pt x="44808" y="55933"/>
                      <a:pt x="44950" y="59078"/>
                      <a:pt x="44880" y="62222"/>
                    </a:cubicBezTo>
                    <a:cubicBezTo>
                      <a:pt x="44880" y="65266"/>
                      <a:pt x="44880" y="68805"/>
                      <a:pt x="44880" y="71424"/>
                    </a:cubicBezTo>
                    <a:cubicBezTo>
                      <a:pt x="44831" y="76854"/>
                      <a:pt x="43973" y="82246"/>
                      <a:pt x="42331" y="87422"/>
                    </a:cubicBezTo>
                    <a:cubicBezTo>
                      <a:pt x="40774" y="91952"/>
                      <a:pt x="38013" y="95350"/>
                      <a:pt x="34049" y="94996"/>
                    </a:cubicBezTo>
                    <a:lnTo>
                      <a:pt x="34686" y="94996"/>
                    </a:lnTo>
                    <a:cubicBezTo>
                      <a:pt x="31147" y="93506"/>
                      <a:pt x="27398" y="92574"/>
                      <a:pt x="23573" y="92235"/>
                    </a:cubicBezTo>
                    <a:cubicBezTo>
                      <a:pt x="21738" y="92114"/>
                      <a:pt x="19909" y="92559"/>
                      <a:pt x="18335" y="93509"/>
                    </a:cubicBezTo>
                    <a:cubicBezTo>
                      <a:pt x="16715" y="94836"/>
                      <a:pt x="15675" y="96739"/>
                      <a:pt x="15433" y="98818"/>
                    </a:cubicBezTo>
                    <a:cubicBezTo>
                      <a:pt x="14975" y="103147"/>
                      <a:pt x="14975" y="107513"/>
                      <a:pt x="15433" y="111843"/>
                    </a:cubicBezTo>
                    <a:cubicBezTo>
                      <a:pt x="15710" y="115586"/>
                      <a:pt x="15472" y="119349"/>
                      <a:pt x="14725" y="123027"/>
                    </a:cubicBezTo>
                    <a:cubicBezTo>
                      <a:pt x="14553" y="124860"/>
                      <a:pt x="15294" y="126660"/>
                      <a:pt x="16707" y="127840"/>
                    </a:cubicBezTo>
                    <a:cubicBezTo>
                      <a:pt x="18122" y="129044"/>
                      <a:pt x="19538" y="128902"/>
                      <a:pt x="19892" y="127840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836" name="Red dress">
              <a:extLst>
                <a:ext uri="{FF2B5EF4-FFF2-40B4-BE49-F238E27FC236}">
                  <a16:creationId xmlns:a16="http://schemas.microsoft.com/office/drawing/2014/main" id="{E695C98E-57F9-4E6D-9808-19FA8AFAAEC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71889" y="3408670"/>
              <a:ext cx="381971" cy="1263545"/>
              <a:chOff x="5256969" y="4439827"/>
              <a:chExt cx="607300" cy="2008927"/>
            </a:xfrm>
          </p:grpSpPr>
          <p:grpSp>
            <p:nvGrpSpPr>
              <p:cNvPr id="837" name="dress">
                <a:extLst>
                  <a:ext uri="{FF2B5EF4-FFF2-40B4-BE49-F238E27FC236}">
                    <a16:creationId xmlns:a16="http://schemas.microsoft.com/office/drawing/2014/main" id="{BDDF7A5F-2A6B-40B1-9A8B-EFAA133565C7}"/>
                  </a:ext>
                </a:extLst>
              </p:cNvPr>
              <p:cNvGrpSpPr/>
              <p:nvPr/>
            </p:nvGrpSpPr>
            <p:grpSpPr>
              <a:xfrm>
                <a:off x="5256969" y="4638622"/>
                <a:ext cx="607300" cy="1810132"/>
                <a:chOff x="5256969" y="4638622"/>
                <a:chExt cx="607300" cy="1810132"/>
              </a:xfrm>
            </p:grpSpPr>
            <p:sp>
              <p:nvSpPr>
                <p:cNvPr id="842" name="Freeform: Shape 841">
                  <a:extLst>
                    <a:ext uri="{FF2B5EF4-FFF2-40B4-BE49-F238E27FC236}">
                      <a16:creationId xmlns:a16="http://schemas.microsoft.com/office/drawing/2014/main" id="{ABB7B75C-E61B-46A8-9AE2-0CA80F37076D}"/>
                    </a:ext>
                  </a:extLst>
                </p:cNvPr>
                <p:cNvSpPr/>
                <p:nvPr/>
              </p:nvSpPr>
              <p:spPr>
                <a:xfrm>
                  <a:off x="5355439" y="4655793"/>
                  <a:ext cx="17907" cy="197777"/>
                </a:xfrm>
                <a:custGeom>
                  <a:avLst/>
                  <a:gdLst>
                    <a:gd name="connsiteX0" fmla="*/ 400 w 7973"/>
                    <a:gd name="connsiteY0" fmla="*/ 0 h 88057"/>
                    <a:gd name="connsiteX1" fmla="*/ 1674 w 7973"/>
                    <a:gd name="connsiteY1" fmla="*/ 83315 h 88057"/>
                    <a:gd name="connsiteX2" fmla="*/ 7974 w 7973"/>
                    <a:gd name="connsiteY2" fmla="*/ 88058 h 88057"/>
                    <a:gd name="connsiteX3" fmla="*/ 4505 w 7973"/>
                    <a:gd name="connsiteY3" fmla="*/ 212 h 88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73" h="88057">
                      <a:moveTo>
                        <a:pt x="400" y="0"/>
                      </a:moveTo>
                      <a:cubicBezTo>
                        <a:pt x="400" y="0"/>
                        <a:pt x="-1087" y="21236"/>
                        <a:pt x="1674" y="83315"/>
                      </a:cubicBezTo>
                      <a:lnTo>
                        <a:pt x="7974" y="88058"/>
                      </a:lnTo>
                      <a:cubicBezTo>
                        <a:pt x="4906" y="58883"/>
                        <a:pt x="3747" y="29538"/>
                        <a:pt x="4505" y="212"/>
                      </a:cubicBezTo>
                      <a:close/>
                    </a:path>
                  </a:pathLst>
                </a:custGeom>
                <a:solidFill>
                  <a:srgbClr val="BA274A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3" name="Freeform: Shape 842">
                  <a:extLst>
                    <a:ext uri="{FF2B5EF4-FFF2-40B4-BE49-F238E27FC236}">
                      <a16:creationId xmlns:a16="http://schemas.microsoft.com/office/drawing/2014/main" id="{89831E27-BD9F-463F-AA31-8C10ED9F1749}"/>
                    </a:ext>
                  </a:extLst>
                </p:cNvPr>
                <p:cNvSpPr/>
                <p:nvPr/>
              </p:nvSpPr>
              <p:spPr>
                <a:xfrm>
                  <a:off x="5359198" y="4842920"/>
                  <a:ext cx="400644" cy="469804"/>
                </a:xfrm>
                <a:custGeom>
                  <a:avLst/>
                  <a:gdLst>
                    <a:gd name="connsiteX0" fmla="*/ 0 w 178380"/>
                    <a:gd name="connsiteY0" fmla="*/ 0 h 209172"/>
                    <a:gd name="connsiteX1" fmla="*/ 52735 w 178380"/>
                    <a:gd name="connsiteY1" fmla="*/ 166134 h 209172"/>
                    <a:gd name="connsiteX2" fmla="*/ 127273 w 178380"/>
                    <a:gd name="connsiteY2" fmla="*/ 209172 h 209172"/>
                    <a:gd name="connsiteX3" fmla="*/ 178380 w 178380"/>
                    <a:gd name="connsiteY3" fmla="*/ 102993 h 209172"/>
                    <a:gd name="connsiteX4" fmla="*/ 89686 w 178380"/>
                    <a:gd name="connsiteY4" fmla="*/ 78218 h 209172"/>
                    <a:gd name="connsiteX5" fmla="*/ 0 w 178380"/>
                    <a:gd name="connsiteY5" fmla="*/ 0 h 209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8380" h="209172">
                      <a:moveTo>
                        <a:pt x="0" y="0"/>
                      </a:moveTo>
                      <a:lnTo>
                        <a:pt x="52735" y="166134"/>
                      </a:lnTo>
                      <a:lnTo>
                        <a:pt x="127273" y="209172"/>
                      </a:lnTo>
                      <a:cubicBezTo>
                        <a:pt x="127273" y="209172"/>
                        <a:pt x="169745" y="122955"/>
                        <a:pt x="178380" y="102993"/>
                      </a:cubicBezTo>
                      <a:cubicBezTo>
                        <a:pt x="128830" y="62008"/>
                        <a:pt x="89686" y="78218"/>
                        <a:pt x="89686" y="78218"/>
                      </a:cubicBezTo>
                      <a:cubicBezTo>
                        <a:pt x="89686" y="78218"/>
                        <a:pt x="47851" y="22085"/>
                        <a:pt x="0" y="0"/>
                      </a:cubicBezTo>
                      <a:close/>
                    </a:path>
                  </a:pathLst>
                </a:custGeom>
                <a:solidFill>
                  <a:srgbClr val="7F220F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4" name="Freeform: Shape 843">
                  <a:extLst>
                    <a:ext uri="{FF2B5EF4-FFF2-40B4-BE49-F238E27FC236}">
                      <a16:creationId xmlns:a16="http://schemas.microsoft.com/office/drawing/2014/main" id="{78784C28-A6B2-416D-9FD6-2BCE341F9023}"/>
                    </a:ext>
                  </a:extLst>
                </p:cNvPr>
                <p:cNvSpPr/>
                <p:nvPr/>
              </p:nvSpPr>
              <p:spPr>
                <a:xfrm>
                  <a:off x="5256969" y="5208616"/>
                  <a:ext cx="607298" cy="1240138"/>
                </a:xfrm>
                <a:custGeom>
                  <a:avLst/>
                  <a:gdLst>
                    <a:gd name="connsiteX0" fmla="*/ 98251 w 270389"/>
                    <a:gd name="connsiteY0" fmla="*/ 3315 h 552150"/>
                    <a:gd name="connsiteX1" fmla="*/ 0 w 270389"/>
                    <a:gd name="connsiteY1" fmla="*/ 396672 h 552150"/>
                    <a:gd name="connsiteX2" fmla="*/ 133927 w 270389"/>
                    <a:gd name="connsiteY2" fmla="*/ 505753 h 552150"/>
                    <a:gd name="connsiteX3" fmla="*/ 269199 w 270389"/>
                    <a:gd name="connsiteY3" fmla="*/ 552047 h 552150"/>
                    <a:gd name="connsiteX4" fmla="*/ 172788 w 270389"/>
                    <a:gd name="connsiteY4" fmla="*/ 46353 h 552150"/>
                    <a:gd name="connsiteX5" fmla="*/ 98251 w 270389"/>
                    <a:gd name="connsiteY5" fmla="*/ 3315 h 552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389" h="552150">
                      <a:moveTo>
                        <a:pt x="98251" y="3315"/>
                      </a:moveTo>
                      <a:cubicBezTo>
                        <a:pt x="-16422" y="183819"/>
                        <a:pt x="4176" y="254746"/>
                        <a:pt x="0" y="396672"/>
                      </a:cubicBezTo>
                      <a:cubicBezTo>
                        <a:pt x="0" y="396672"/>
                        <a:pt x="46011" y="454929"/>
                        <a:pt x="133927" y="505753"/>
                      </a:cubicBezTo>
                      <a:cubicBezTo>
                        <a:pt x="221843" y="556577"/>
                        <a:pt x="269199" y="552047"/>
                        <a:pt x="269199" y="552047"/>
                      </a:cubicBezTo>
                      <a:cubicBezTo>
                        <a:pt x="269199" y="471847"/>
                        <a:pt x="288382" y="344007"/>
                        <a:pt x="172788" y="46353"/>
                      </a:cubicBezTo>
                      <a:cubicBezTo>
                        <a:pt x="172788" y="46353"/>
                        <a:pt x="138245" y="-14665"/>
                        <a:pt x="98251" y="3315"/>
                      </a:cubicBezTo>
                      <a:close/>
                    </a:path>
                  </a:pathLst>
                </a:custGeom>
                <a:solidFill>
                  <a:srgbClr val="7F220F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5" name="Freeform: Shape 844">
                  <a:extLst>
                    <a:ext uri="{FF2B5EF4-FFF2-40B4-BE49-F238E27FC236}">
                      <a16:creationId xmlns:a16="http://schemas.microsoft.com/office/drawing/2014/main" id="{EFB9DDF6-71FA-47B7-9091-67E36977CDCA}"/>
                    </a:ext>
                  </a:extLst>
                </p:cNvPr>
                <p:cNvSpPr/>
                <p:nvPr/>
              </p:nvSpPr>
              <p:spPr>
                <a:xfrm>
                  <a:off x="5412777" y="4880599"/>
                  <a:ext cx="451492" cy="1567667"/>
                </a:xfrm>
                <a:custGeom>
                  <a:avLst/>
                  <a:gdLst>
                    <a:gd name="connsiteX0" fmla="*/ 103418 w 201019"/>
                    <a:gd name="connsiteY0" fmla="*/ 192396 h 697977"/>
                    <a:gd name="connsiteX1" fmla="*/ 154526 w 201019"/>
                    <a:gd name="connsiteY1" fmla="*/ 86217 h 697977"/>
                    <a:gd name="connsiteX2" fmla="*/ 155729 w 201019"/>
                    <a:gd name="connsiteY2" fmla="*/ 4318 h 697977"/>
                    <a:gd name="connsiteX3" fmla="*/ 151765 w 201019"/>
                    <a:gd name="connsiteY3" fmla="*/ 0 h 697977"/>
                    <a:gd name="connsiteX4" fmla="*/ 148438 w 201019"/>
                    <a:gd name="connsiteY4" fmla="*/ 81333 h 697977"/>
                    <a:gd name="connsiteX5" fmla="*/ 136688 w 201019"/>
                    <a:gd name="connsiteY5" fmla="*/ 73547 h 697977"/>
                    <a:gd name="connsiteX6" fmla="*/ 85863 w 201019"/>
                    <a:gd name="connsiteY6" fmla="*/ 179017 h 697977"/>
                    <a:gd name="connsiteX7" fmla="*/ 182274 w 201019"/>
                    <a:gd name="connsiteY7" fmla="*/ 684712 h 697977"/>
                    <a:gd name="connsiteX8" fmla="*/ 47073 w 201019"/>
                    <a:gd name="connsiteY8" fmla="*/ 638418 h 697977"/>
                    <a:gd name="connsiteX9" fmla="*/ 0 w 201019"/>
                    <a:gd name="connsiteY9" fmla="*/ 608051 h 697977"/>
                    <a:gd name="connsiteX10" fmla="*/ 64557 w 201019"/>
                    <a:gd name="connsiteY10" fmla="*/ 651584 h 697977"/>
                    <a:gd name="connsiteX11" fmla="*/ 199829 w 201019"/>
                    <a:gd name="connsiteY11" fmla="*/ 697878 h 697977"/>
                    <a:gd name="connsiteX12" fmla="*/ 103418 w 201019"/>
                    <a:gd name="connsiteY12" fmla="*/ 192396 h 697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1019" h="697977">
                      <a:moveTo>
                        <a:pt x="103418" y="192396"/>
                      </a:moveTo>
                      <a:cubicBezTo>
                        <a:pt x="103418" y="192396"/>
                        <a:pt x="145890" y="106179"/>
                        <a:pt x="154526" y="86217"/>
                      </a:cubicBezTo>
                      <a:cubicBezTo>
                        <a:pt x="157286" y="27323"/>
                        <a:pt x="155729" y="4318"/>
                        <a:pt x="155729" y="4318"/>
                      </a:cubicBezTo>
                      <a:lnTo>
                        <a:pt x="151765" y="0"/>
                      </a:lnTo>
                      <a:cubicBezTo>
                        <a:pt x="152589" y="27156"/>
                        <a:pt x="151478" y="54335"/>
                        <a:pt x="148438" y="81333"/>
                      </a:cubicBezTo>
                      <a:cubicBezTo>
                        <a:pt x="144666" y="78526"/>
                        <a:pt x="140743" y="75926"/>
                        <a:pt x="136688" y="73547"/>
                      </a:cubicBezTo>
                      <a:cubicBezTo>
                        <a:pt x="127273" y="94782"/>
                        <a:pt x="85863" y="179017"/>
                        <a:pt x="85863" y="179017"/>
                      </a:cubicBezTo>
                      <a:cubicBezTo>
                        <a:pt x="201457" y="476672"/>
                        <a:pt x="182274" y="604511"/>
                        <a:pt x="182274" y="684712"/>
                      </a:cubicBezTo>
                      <a:cubicBezTo>
                        <a:pt x="182274" y="684712"/>
                        <a:pt x="134989" y="689242"/>
                        <a:pt x="47073" y="638418"/>
                      </a:cubicBezTo>
                      <a:cubicBezTo>
                        <a:pt x="29730" y="628437"/>
                        <a:pt x="14016" y="618102"/>
                        <a:pt x="0" y="608051"/>
                      </a:cubicBezTo>
                      <a:cubicBezTo>
                        <a:pt x="20500" y="624020"/>
                        <a:pt x="42069" y="638566"/>
                        <a:pt x="64557" y="651584"/>
                      </a:cubicBezTo>
                      <a:cubicBezTo>
                        <a:pt x="152544" y="702337"/>
                        <a:pt x="199829" y="697878"/>
                        <a:pt x="199829" y="697878"/>
                      </a:cubicBezTo>
                      <a:cubicBezTo>
                        <a:pt x="199829" y="617890"/>
                        <a:pt x="219012" y="490051"/>
                        <a:pt x="103418" y="192396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6" name="Freeform: Shape 845">
                  <a:extLst>
                    <a:ext uri="{FF2B5EF4-FFF2-40B4-BE49-F238E27FC236}">
                      <a16:creationId xmlns:a16="http://schemas.microsoft.com/office/drawing/2014/main" id="{3921DA21-FE03-48A4-865F-6D13755B5700}"/>
                    </a:ext>
                  </a:extLst>
                </p:cNvPr>
                <p:cNvSpPr/>
                <p:nvPr/>
              </p:nvSpPr>
              <p:spPr>
                <a:xfrm>
                  <a:off x="5343139" y="4638622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  <p:grpSp>
            <p:nvGrpSpPr>
              <p:cNvPr id="838" name="hanger">
                <a:extLst>
                  <a:ext uri="{FF2B5EF4-FFF2-40B4-BE49-F238E27FC236}">
                    <a16:creationId xmlns:a16="http://schemas.microsoft.com/office/drawing/2014/main" id="{5A1AC886-907A-49C2-A1A2-B76D383210A6}"/>
                  </a:ext>
                </a:extLst>
              </p:cNvPr>
              <p:cNvGrpSpPr/>
              <p:nvPr/>
            </p:nvGrpSpPr>
            <p:grpSpPr>
              <a:xfrm>
                <a:off x="5308733" y="4439827"/>
                <a:ext cx="498180" cy="472461"/>
                <a:chOff x="5308733" y="4439827"/>
                <a:chExt cx="498180" cy="472461"/>
              </a:xfrm>
            </p:grpSpPr>
            <p:sp>
              <p:nvSpPr>
                <p:cNvPr id="839" name="Freeform: Shape 838">
                  <a:extLst>
                    <a:ext uri="{FF2B5EF4-FFF2-40B4-BE49-F238E27FC236}">
                      <a16:creationId xmlns:a16="http://schemas.microsoft.com/office/drawing/2014/main" id="{D9D4BD8B-3025-42FB-B49F-82F4F0788427}"/>
                    </a:ext>
                  </a:extLst>
                </p:cNvPr>
                <p:cNvSpPr/>
                <p:nvPr/>
              </p:nvSpPr>
              <p:spPr>
                <a:xfrm>
                  <a:off x="5753484" y="4875512"/>
                  <a:ext cx="20668" cy="33068"/>
                </a:xfrm>
                <a:custGeom>
                  <a:avLst/>
                  <a:gdLst>
                    <a:gd name="connsiteX0" fmla="*/ 0 w 9202"/>
                    <a:gd name="connsiteY0" fmla="*/ 9344 h 14723"/>
                    <a:gd name="connsiteX1" fmla="*/ 9202 w 9202"/>
                    <a:gd name="connsiteY1" fmla="*/ 14723 h 14723"/>
                    <a:gd name="connsiteX2" fmla="*/ 9202 w 9202"/>
                    <a:gd name="connsiteY2" fmla="*/ 5309 h 14723"/>
                    <a:gd name="connsiteX3" fmla="*/ 0 w 9202"/>
                    <a:gd name="connsiteY3" fmla="*/ 0 h 14723"/>
                    <a:gd name="connsiteX4" fmla="*/ 0 w 9202"/>
                    <a:gd name="connsiteY4" fmla="*/ 9344 h 14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723">
                      <a:moveTo>
                        <a:pt x="0" y="9344"/>
                      </a:moveTo>
                      <a:lnTo>
                        <a:pt x="9202" y="1472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0" name="Freeform: Shape 839">
                  <a:extLst>
                    <a:ext uri="{FF2B5EF4-FFF2-40B4-BE49-F238E27FC236}">
                      <a16:creationId xmlns:a16="http://schemas.microsoft.com/office/drawing/2014/main" id="{C4967EC2-47D7-4CA6-A42F-D9390B4BD905}"/>
                    </a:ext>
                  </a:extLst>
                </p:cNvPr>
                <p:cNvSpPr/>
                <p:nvPr/>
              </p:nvSpPr>
              <p:spPr>
                <a:xfrm>
                  <a:off x="5308733" y="4615448"/>
                  <a:ext cx="498180" cy="296840"/>
                </a:xfrm>
                <a:custGeom>
                  <a:avLst/>
                  <a:gdLst>
                    <a:gd name="connsiteX0" fmla="*/ 221802 w 221806"/>
                    <a:gd name="connsiteY0" fmla="*/ 131999 h 132163"/>
                    <a:gd name="connsiteX1" fmla="*/ 108545 w 221806"/>
                    <a:gd name="connsiteY1" fmla="*/ 43658 h 132163"/>
                    <a:gd name="connsiteX2" fmla="*/ 30 w 221806"/>
                    <a:gd name="connsiteY2" fmla="*/ 550 h 132163"/>
                    <a:gd name="connsiteX3" fmla="*/ 109536 w 221806"/>
                    <a:gd name="connsiteY3" fmla="*/ 59585 h 132163"/>
                    <a:gd name="connsiteX4" fmla="*/ 221802 w 221806"/>
                    <a:gd name="connsiteY4" fmla="*/ 131999 h 132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806" h="132163">
                      <a:moveTo>
                        <a:pt x="221802" y="131999"/>
                      </a:moveTo>
                      <a:cubicBezTo>
                        <a:pt x="222227" y="127823"/>
                        <a:pt x="194620" y="115860"/>
                        <a:pt x="108545" y="43658"/>
                      </a:cubicBezTo>
                      <a:cubicBezTo>
                        <a:pt x="52836" y="28864"/>
                        <a:pt x="-1457" y="-4688"/>
                        <a:pt x="30" y="550"/>
                      </a:cubicBezTo>
                      <a:cubicBezTo>
                        <a:pt x="1516" y="5788"/>
                        <a:pt x="109536" y="59585"/>
                        <a:pt x="109536" y="59585"/>
                      </a:cubicBezTo>
                      <a:cubicBezTo>
                        <a:pt x="109536" y="59585"/>
                        <a:pt x="221306" y="136175"/>
                        <a:pt x="221802" y="131999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841" name="Freeform: Shape 840">
                  <a:extLst>
                    <a:ext uri="{FF2B5EF4-FFF2-40B4-BE49-F238E27FC236}">
                      <a16:creationId xmlns:a16="http://schemas.microsoft.com/office/drawing/2014/main" id="{3B16C45A-0FD3-4C6C-80D6-681D681E726D}"/>
                    </a:ext>
                  </a:extLst>
                </p:cNvPr>
                <p:cNvSpPr/>
                <p:nvPr/>
              </p:nvSpPr>
              <p:spPr>
                <a:xfrm>
                  <a:off x="5512141" y="4439827"/>
                  <a:ext cx="110814" cy="289204"/>
                </a:xfrm>
                <a:custGeom>
                  <a:avLst/>
                  <a:gdLst>
                    <a:gd name="connsiteX0" fmla="*/ 19255 w 49338"/>
                    <a:gd name="connsiteY0" fmla="*/ 127230 h 128763"/>
                    <a:gd name="connsiteX1" fmla="*/ 20317 w 49338"/>
                    <a:gd name="connsiteY1" fmla="*/ 114772 h 128763"/>
                    <a:gd name="connsiteX2" fmla="*/ 20317 w 49338"/>
                    <a:gd name="connsiteY2" fmla="*/ 103305 h 128763"/>
                    <a:gd name="connsiteX3" fmla="*/ 25342 w 49338"/>
                    <a:gd name="connsiteY3" fmla="*/ 99341 h 128763"/>
                    <a:gd name="connsiteX4" fmla="*/ 34898 w 49338"/>
                    <a:gd name="connsiteY4" fmla="*/ 101747 h 128763"/>
                    <a:gd name="connsiteX5" fmla="*/ 34898 w 49338"/>
                    <a:gd name="connsiteY5" fmla="*/ 101747 h 128763"/>
                    <a:gd name="connsiteX6" fmla="*/ 35323 w 49338"/>
                    <a:gd name="connsiteY6" fmla="*/ 101747 h 128763"/>
                    <a:gd name="connsiteX7" fmla="*/ 46578 w 49338"/>
                    <a:gd name="connsiteY7" fmla="*/ 91979 h 128763"/>
                    <a:gd name="connsiteX8" fmla="*/ 49339 w 49338"/>
                    <a:gd name="connsiteY8" fmla="*/ 74283 h 128763"/>
                    <a:gd name="connsiteX9" fmla="*/ 49339 w 49338"/>
                    <a:gd name="connsiteY9" fmla="*/ 64514 h 128763"/>
                    <a:gd name="connsiteX10" fmla="*/ 48489 w 49338"/>
                    <a:gd name="connsiteY10" fmla="*/ 54604 h 128763"/>
                    <a:gd name="connsiteX11" fmla="*/ 46790 w 49338"/>
                    <a:gd name="connsiteY11" fmla="*/ 44128 h 128763"/>
                    <a:gd name="connsiteX12" fmla="*/ 43959 w 49338"/>
                    <a:gd name="connsiteY12" fmla="*/ 33298 h 128763"/>
                    <a:gd name="connsiteX13" fmla="*/ 39712 w 49338"/>
                    <a:gd name="connsiteY13" fmla="*/ 22750 h 128763"/>
                    <a:gd name="connsiteX14" fmla="*/ 33837 w 49338"/>
                    <a:gd name="connsiteY14" fmla="*/ 12133 h 128763"/>
                    <a:gd name="connsiteX15" fmla="*/ 25484 w 49338"/>
                    <a:gd name="connsiteY15" fmla="*/ 3851 h 128763"/>
                    <a:gd name="connsiteX16" fmla="*/ 16706 w 49338"/>
                    <a:gd name="connsiteY16" fmla="*/ 240 h 128763"/>
                    <a:gd name="connsiteX17" fmla="*/ 12742 w 49338"/>
                    <a:gd name="connsiteY17" fmla="*/ 240 h 128763"/>
                    <a:gd name="connsiteX18" fmla="*/ 9203 w 49338"/>
                    <a:gd name="connsiteY18" fmla="*/ 1373 h 128763"/>
                    <a:gd name="connsiteX19" fmla="*/ 3823 w 49338"/>
                    <a:gd name="connsiteY19" fmla="*/ 6328 h 128763"/>
                    <a:gd name="connsiteX20" fmla="*/ 850 w 49338"/>
                    <a:gd name="connsiteY20" fmla="*/ 14256 h 128763"/>
                    <a:gd name="connsiteX21" fmla="*/ 1 w 49338"/>
                    <a:gd name="connsiteY21" fmla="*/ 24025 h 128763"/>
                    <a:gd name="connsiteX22" fmla="*/ 3186 w 49338"/>
                    <a:gd name="connsiteY22" fmla="*/ 30395 h 128763"/>
                    <a:gd name="connsiteX23" fmla="*/ 7150 w 49338"/>
                    <a:gd name="connsiteY23" fmla="*/ 29050 h 128763"/>
                    <a:gd name="connsiteX24" fmla="*/ 7150 w 49338"/>
                    <a:gd name="connsiteY24" fmla="*/ 27210 h 128763"/>
                    <a:gd name="connsiteX25" fmla="*/ 6796 w 49338"/>
                    <a:gd name="connsiteY25" fmla="*/ 18645 h 128763"/>
                    <a:gd name="connsiteX26" fmla="*/ 7221 w 49338"/>
                    <a:gd name="connsiteY26" fmla="*/ 14752 h 128763"/>
                    <a:gd name="connsiteX27" fmla="*/ 8425 w 49338"/>
                    <a:gd name="connsiteY27" fmla="*/ 11354 h 128763"/>
                    <a:gd name="connsiteX28" fmla="*/ 12318 w 49338"/>
                    <a:gd name="connsiteY28" fmla="*/ 6611 h 128763"/>
                    <a:gd name="connsiteX29" fmla="*/ 15078 w 49338"/>
                    <a:gd name="connsiteY29" fmla="*/ 5337 h 128763"/>
                    <a:gd name="connsiteX30" fmla="*/ 18193 w 49338"/>
                    <a:gd name="connsiteY30" fmla="*/ 5337 h 128763"/>
                    <a:gd name="connsiteX31" fmla="*/ 25272 w 49338"/>
                    <a:gd name="connsiteY31" fmla="*/ 7885 h 128763"/>
                    <a:gd name="connsiteX32" fmla="*/ 32350 w 49338"/>
                    <a:gd name="connsiteY32" fmla="*/ 14398 h 128763"/>
                    <a:gd name="connsiteX33" fmla="*/ 37588 w 49338"/>
                    <a:gd name="connsiteY33" fmla="*/ 23600 h 128763"/>
                    <a:gd name="connsiteX34" fmla="*/ 41198 w 49338"/>
                    <a:gd name="connsiteY34" fmla="*/ 33510 h 128763"/>
                    <a:gd name="connsiteX35" fmla="*/ 43393 w 49338"/>
                    <a:gd name="connsiteY35" fmla="*/ 43420 h 128763"/>
                    <a:gd name="connsiteX36" fmla="*/ 44384 w 49338"/>
                    <a:gd name="connsiteY36" fmla="*/ 52905 h 128763"/>
                    <a:gd name="connsiteX37" fmla="*/ 44879 w 49338"/>
                    <a:gd name="connsiteY37" fmla="*/ 62320 h 128763"/>
                    <a:gd name="connsiteX38" fmla="*/ 44879 w 49338"/>
                    <a:gd name="connsiteY38" fmla="*/ 71451 h 128763"/>
                    <a:gd name="connsiteX39" fmla="*/ 42331 w 49338"/>
                    <a:gd name="connsiteY39" fmla="*/ 87449 h 128763"/>
                    <a:gd name="connsiteX40" fmla="*/ 34049 w 49338"/>
                    <a:gd name="connsiteY40" fmla="*/ 95094 h 128763"/>
                    <a:gd name="connsiteX41" fmla="*/ 34686 w 49338"/>
                    <a:gd name="connsiteY41" fmla="*/ 95094 h 128763"/>
                    <a:gd name="connsiteX42" fmla="*/ 23573 w 49338"/>
                    <a:gd name="connsiteY42" fmla="*/ 92262 h 128763"/>
                    <a:gd name="connsiteX43" fmla="*/ 18335 w 49338"/>
                    <a:gd name="connsiteY43" fmla="*/ 93536 h 128763"/>
                    <a:gd name="connsiteX44" fmla="*/ 15432 w 49338"/>
                    <a:gd name="connsiteY44" fmla="*/ 98916 h 128763"/>
                    <a:gd name="connsiteX45" fmla="*/ 15432 w 49338"/>
                    <a:gd name="connsiteY45" fmla="*/ 111941 h 128763"/>
                    <a:gd name="connsiteX46" fmla="*/ 14724 w 49338"/>
                    <a:gd name="connsiteY46" fmla="*/ 123054 h 128763"/>
                    <a:gd name="connsiteX47" fmla="*/ 16706 w 49338"/>
                    <a:gd name="connsiteY47" fmla="*/ 127938 h 128763"/>
                    <a:gd name="connsiteX48" fmla="*/ 19892 w 49338"/>
                    <a:gd name="connsiteY48" fmla="*/ 127938 h 1287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9338" h="128763">
                      <a:moveTo>
                        <a:pt x="19255" y="127230"/>
                      </a:moveTo>
                      <a:cubicBezTo>
                        <a:pt x="20181" y="123147"/>
                        <a:pt x="20538" y="118954"/>
                        <a:pt x="20317" y="114772"/>
                      </a:cubicBezTo>
                      <a:cubicBezTo>
                        <a:pt x="19951" y="110958"/>
                        <a:pt x="19951" y="107119"/>
                        <a:pt x="20317" y="103305"/>
                      </a:cubicBezTo>
                      <a:cubicBezTo>
                        <a:pt x="20741" y="100332"/>
                        <a:pt x="22440" y="99270"/>
                        <a:pt x="25342" y="99341"/>
                      </a:cubicBezTo>
                      <a:cubicBezTo>
                        <a:pt x="28628" y="99671"/>
                        <a:pt x="31848" y="100482"/>
                        <a:pt x="34898" y="101747"/>
                      </a:cubicBezTo>
                      <a:lnTo>
                        <a:pt x="34898" y="101747"/>
                      </a:lnTo>
                      <a:lnTo>
                        <a:pt x="35323" y="101747"/>
                      </a:lnTo>
                      <a:cubicBezTo>
                        <a:pt x="41623" y="101747"/>
                        <a:pt x="44808" y="97146"/>
                        <a:pt x="46578" y="91979"/>
                      </a:cubicBezTo>
                      <a:cubicBezTo>
                        <a:pt x="48409" y="86259"/>
                        <a:pt x="49341" y="80289"/>
                        <a:pt x="49339" y="74283"/>
                      </a:cubicBezTo>
                      <a:cubicBezTo>
                        <a:pt x="49339" y="70814"/>
                        <a:pt x="49339" y="67841"/>
                        <a:pt x="49339" y="64514"/>
                      </a:cubicBezTo>
                      <a:cubicBezTo>
                        <a:pt x="49284" y="61195"/>
                        <a:pt x="49000" y="57884"/>
                        <a:pt x="48489" y="54604"/>
                      </a:cubicBezTo>
                      <a:cubicBezTo>
                        <a:pt x="47923" y="51065"/>
                        <a:pt x="47711" y="47525"/>
                        <a:pt x="46790" y="44128"/>
                      </a:cubicBezTo>
                      <a:cubicBezTo>
                        <a:pt x="45870" y="40730"/>
                        <a:pt x="45304" y="37049"/>
                        <a:pt x="43959" y="33298"/>
                      </a:cubicBezTo>
                      <a:cubicBezTo>
                        <a:pt x="42775" y="29693"/>
                        <a:pt x="41356" y="26170"/>
                        <a:pt x="39712" y="22750"/>
                      </a:cubicBezTo>
                      <a:cubicBezTo>
                        <a:pt x="38124" y="19019"/>
                        <a:pt x="36155" y="15460"/>
                        <a:pt x="33837" y="12133"/>
                      </a:cubicBezTo>
                      <a:cubicBezTo>
                        <a:pt x="31436" y="9010"/>
                        <a:pt x="28627" y="6225"/>
                        <a:pt x="25484" y="3851"/>
                      </a:cubicBezTo>
                      <a:cubicBezTo>
                        <a:pt x="22894" y="1954"/>
                        <a:pt x="19881" y="715"/>
                        <a:pt x="16706" y="240"/>
                      </a:cubicBezTo>
                      <a:cubicBezTo>
                        <a:pt x="15405" y="-80"/>
                        <a:pt x="14044" y="-80"/>
                        <a:pt x="12742" y="240"/>
                      </a:cubicBezTo>
                      <a:cubicBezTo>
                        <a:pt x="11487" y="316"/>
                        <a:pt x="10269" y="705"/>
                        <a:pt x="9203" y="1373"/>
                      </a:cubicBezTo>
                      <a:cubicBezTo>
                        <a:pt x="6969" y="2470"/>
                        <a:pt x="5100" y="4191"/>
                        <a:pt x="3823" y="6328"/>
                      </a:cubicBezTo>
                      <a:cubicBezTo>
                        <a:pt x="2370" y="8774"/>
                        <a:pt x="1364" y="11458"/>
                        <a:pt x="850" y="14256"/>
                      </a:cubicBezTo>
                      <a:cubicBezTo>
                        <a:pt x="268" y="17479"/>
                        <a:pt x="-16" y="20749"/>
                        <a:pt x="1" y="24025"/>
                      </a:cubicBezTo>
                      <a:cubicBezTo>
                        <a:pt x="-39" y="26540"/>
                        <a:pt x="1149" y="28918"/>
                        <a:pt x="3186" y="30395"/>
                      </a:cubicBezTo>
                      <a:cubicBezTo>
                        <a:pt x="5168" y="31811"/>
                        <a:pt x="6938" y="31174"/>
                        <a:pt x="7150" y="29050"/>
                      </a:cubicBezTo>
                      <a:lnTo>
                        <a:pt x="7150" y="27210"/>
                      </a:lnTo>
                      <a:cubicBezTo>
                        <a:pt x="6756" y="24373"/>
                        <a:pt x="6637" y="21505"/>
                        <a:pt x="6796" y="18645"/>
                      </a:cubicBezTo>
                      <a:cubicBezTo>
                        <a:pt x="6860" y="17340"/>
                        <a:pt x="7002" y="16040"/>
                        <a:pt x="7221" y="14752"/>
                      </a:cubicBezTo>
                      <a:lnTo>
                        <a:pt x="8425" y="11354"/>
                      </a:lnTo>
                      <a:cubicBezTo>
                        <a:pt x="9261" y="9445"/>
                        <a:pt x="10608" y="7804"/>
                        <a:pt x="12318" y="6611"/>
                      </a:cubicBezTo>
                      <a:cubicBezTo>
                        <a:pt x="13057" y="5871"/>
                        <a:pt x="14036" y="5419"/>
                        <a:pt x="15078" y="5337"/>
                      </a:cubicBezTo>
                      <a:cubicBezTo>
                        <a:pt x="16101" y="5082"/>
                        <a:pt x="17170" y="5082"/>
                        <a:pt x="18193" y="5337"/>
                      </a:cubicBezTo>
                      <a:cubicBezTo>
                        <a:pt x="20729" y="5578"/>
                        <a:pt x="23164" y="6454"/>
                        <a:pt x="25272" y="7885"/>
                      </a:cubicBezTo>
                      <a:cubicBezTo>
                        <a:pt x="27920" y="9719"/>
                        <a:pt x="30302" y="11910"/>
                        <a:pt x="32350" y="14398"/>
                      </a:cubicBezTo>
                      <a:cubicBezTo>
                        <a:pt x="34382" y="17293"/>
                        <a:pt x="36136" y="20374"/>
                        <a:pt x="37588" y="23600"/>
                      </a:cubicBezTo>
                      <a:cubicBezTo>
                        <a:pt x="39124" y="26772"/>
                        <a:pt x="40333" y="30093"/>
                        <a:pt x="41198" y="33510"/>
                      </a:cubicBezTo>
                      <a:cubicBezTo>
                        <a:pt x="42260" y="36837"/>
                        <a:pt x="42614" y="40093"/>
                        <a:pt x="43393" y="43420"/>
                      </a:cubicBezTo>
                      <a:cubicBezTo>
                        <a:pt x="44171" y="46747"/>
                        <a:pt x="44030" y="49720"/>
                        <a:pt x="44384" y="52905"/>
                      </a:cubicBezTo>
                      <a:cubicBezTo>
                        <a:pt x="44725" y="56032"/>
                        <a:pt x="44891" y="59175"/>
                        <a:pt x="44879" y="62320"/>
                      </a:cubicBezTo>
                      <a:cubicBezTo>
                        <a:pt x="44879" y="65363"/>
                        <a:pt x="44879" y="68903"/>
                        <a:pt x="44879" y="71451"/>
                      </a:cubicBezTo>
                      <a:cubicBezTo>
                        <a:pt x="44831" y="76881"/>
                        <a:pt x="43972" y="82273"/>
                        <a:pt x="42331" y="87449"/>
                      </a:cubicBezTo>
                      <a:cubicBezTo>
                        <a:pt x="40774" y="91979"/>
                        <a:pt x="38013" y="95447"/>
                        <a:pt x="34049" y="95094"/>
                      </a:cubicBezTo>
                      <a:lnTo>
                        <a:pt x="34686" y="95094"/>
                      </a:lnTo>
                      <a:cubicBezTo>
                        <a:pt x="31150" y="93582"/>
                        <a:pt x="27401" y="92627"/>
                        <a:pt x="23573" y="92262"/>
                      </a:cubicBezTo>
                      <a:cubicBezTo>
                        <a:pt x="21737" y="92141"/>
                        <a:pt x="19909" y="92586"/>
                        <a:pt x="18335" y="93536"/>
                      </a:cubicBezTo>
                      <a:cubicBezTo>
                        <a:pt x="16711" y="94889"/>
                        <a:pt x="15672" y="96816"/>
                        <a:pt x="15432" y="98916"/>
                      </a:cubicBezTo>
                      <a:cubicBezTo>
                        <a:pt x="14974" y="103245"/>
                        <a:pt x="14974" y="107611"/>
                        <a:pt x="15432" y="111941"/>
                      </a:cubicBezTo>
                      <a:cubicBezTo>
                        <a:pt x="15708" y="115660"/>
                        <a:pt x="15469" y="119399"/>
                        <a:pt x="14724" y="123054"/>
                      </a:cubicBezTo>
                      <a:cubicBezTo>
                        <a:pt x="14528" y="124911"/>
                        <a:pt x="15272" y="126743"/>
                        <a:pt x="16706" y="127938"/>
                      </a:cubicBezTo>
                      <a:cubicBezTo>
                        <a:pt x="18122" y="129142"/>
                        <a:pt x="19538" y="128929"/>
                        <a:pt x="19892" y="127938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</p:grpSp>
      </p:grpSp>
      <p:grpSp>
        <p:nvGrpSpPr>
          <p:cNvPr id="848" name="3 Customer - walks TO MIRROR">
            <a:extLst>
              <a:ext uri="{FF2B5EF4-FFF2-40B4-BE49-F238E27FC236}">
                <a16:creationId xmlns:a16="http://schemas.microsoft.com/office/drawing/2014/main" id="{3EE2A1EB-D264-4285-9892-185A4B884954}"/>
              </a:ext>
            </a:extLst>
          </p:cNvPr>
          <p:cNvGrpSpPr/>
          <p:nvPr/>
        </p:nvGrpSpPr>
        <p:grpSpPr>
          <a:xfrm>
            <a:off x="5220654" y="2681040"/>
            <a:ext cx="538964" cy="2573747"/>
            <a:chOff x="718877" y="1766194"/>
            <a:chExt cx="465864" cy="2224672"/>
          </a:xfrm>
          <a:solidFill>
            <a:schemeClr val="accent1"/>
          </a:solidFill>
        </p:grpSpPr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1C49F742-D87A-4387-ADBA-0320D953E53D}"/>
                </a:ext>
              </a:extLst>
            </p:cNvPr>
            <p:cNvSpPr/>
            <p:nvPr/>
          </p:nvSpPr>
          <p:spPr>
            <a:xfrm>
              <a:off x="741639" y="2465000"/>
              <a:ext cx="68543" cy="366331"/>
            </a:xfrm>
            <a:custGeom>
              <a:avLst/>
              <a:gdLst>
                <a:gd name="connsiteX0" fmla="*/ 0 w 68543"/>
                <a:gd name="connsiteY0" fmla="*/ 6001 h 366331"/>
                <a:gd name="connsiteX1" fmla="*/ 38576 w 68543"/>
                <a:gd name="connsiteY1" fmla="*/ 366332 h 366331"/>
                <a:gd name="connsiteX2" fmla="*/ 50578 w 68543"/>
                <a:gd name="connsiteY2" fmla="*/ 366332 h 366331"/>
                <a:gd name="connsiteX3" fmla="*/ 63532 w 68543"/>
                <a:gd name="connsiteY3" fmla="*/ 0 h 36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43" h="366331">
                  <a:moveTo>
                    <a:pt x="0" y="6001"/>
                  </a:moveTo>
                  <a:cubicBezTo>
                    <a:pt x="0" y="6001"/>
                    <a:pt x="2477" y="222123"/>
                    <a:pt x="38576" y="366332"/>
                  </a:cubicBezTo>
                  <a:lnTo>
                    <a:pt x="50578" y="366332"/>
                  </a:lnTo>
                  <a:cubicBezTo>
                    <a:pt x="50578" y="366332"/>
                    <a:pt x="80010" y="167926"/>
                    <a:pt x="635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D3CBF2E5-2E2E-4AF4-AFE8-0D8DBF70BCEA}"/>
                </a:ext>
              </a:extLst>
            </p:cNvPr>
            <p:cNvSpPr/>
            <p:nvPr/>
          </p:nvSpPr>
          <p:spPr>
            <a:xfrm>
              <a:off x="732315" y="2077428"/>
              <a:ext cx="90960" cy="443934"/>
            </a:xfrm>
            <a:custGeom>
              <a:avLst/>
              <a:gdLst>
                <a:gd name="connsiteX0" fmla="*/ 37232 w 90960"/>
                <a:gd name="connsiteY0" fmla="*/ 0 h 443934"/>
                <a:gd name="connsiteX1" fmla="*/ 2942 w 90960"/>
                <a:gd name="connsiteY1" fmla="*/ 75248 h 443934"/>
                <a:gd name="connsiteX2" fmla="*/ 28660 w 90960"/>
                <a:gd name="connsiteY2" fmla="*/ 442341 h 443934"/>
                <a:gd name="connsiteX3" fmla="*/ 89048 w 90960"/>
                <a:gd name="connsiteY3" fmla="*/ 167545 h 443934"/>
                <a:gd name="connsiteX4" fmla="*/ 37232 w 90960"/>
                <a:gd name="connsiteY4" fmla="*/ 0 h 44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960" h="443934">
                  <a:moveTo>
                    <a:pt x="37232" y="0"/>
                  </a:moveTo>
                  <a:cubicBezTo>
                    <a:pt x="37232" y="0"/>
                    <a:pt x="5609" y="11906"/>
                    <a:pt x="2942" y="75248"/>
                  </a:cubicBezTo>
                  <a:cubicBezTo>
                    <a:pt x="-1535" y="186976"/>
                    <a:pt x="-5630" y="429006"/>
                    <a:pt x="28660" y="442341"/>
                  </a:cubicBezTo>
                  <a:cubicBezTo>
                    <a:pt x="95335" y="468344"/>
                    <a:pt x="89048" y="167545"/>
                    <a:pt x="89048" y="167545"/>
                  </a:cubicBezTo>
                  <a:cubicBezTo>
                    <a:pt x="89048" y="167545"/>
                    <a:pt x="106288" y="16478"/>
                    <a:pt x="372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5CA7F01-014C-4D93-BD32-4DD8E199A40D}"/>
                </a:ext>
              </a:extLst>
            </p:cNvPr>
            <p:cNvSpPr/>
            <p:nvPr/>
          </p:nvSpPr>
          <p:spPr>
            <a:xfrm>
              <a:off x="765119" y="3122415"/>
              <a:ext cx="159399" cy="729043"/>
            </a:xfrm>
            <a:custGeom>
              <a:avLst/>
              <a:gdLst>
                <a:gd name="connsiteX0" fmla="*/ 159400 w 159399"/>
                <a:gd name="connsiteY0" fmla="*/ 52388 h 729043"/>
                <a:gd name="connsiteX1" fmla="*/ 125777 w 159399"/>
                <a:gd name="connsiteY1" fmla="*/ 349187 h 729043"/>
                <a:gd name="connsiteX2" fmla="*/ 90439 w 159399"/>
                <a:gd name="connsiteY2" fmla="*/ 729043 h 729043"/>
                <a:gd name="connsiteX3" fmla="*/ 62721 w 159399"/>
                <a:gd name="connsiteY3" fmla="*/ 723424 h 729043"/>
                <a:gd name="connsiteX4" fmla="*/ 142 w 159399"/>
                <a:gd name="connsiteY4" fmla="*/ 318611 h 729043"/>
                <a:gd name="connsiteX5" fmla="*/ 52625 w 159399"/>
                <a:gd name="connsiteY5" fmla="*/ 139160 h 729043"/>
                <a:gd name="connsiteX6" fmla="*/ 37385 w 159399"/>
                <a:gd name="connsiteY6" fmla="*/ 0 h 72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99" h="729043">
                  <a:moveTo>
                    <a:pt x="159400" y="52388"/>
                  </a:moveTo>
                  <a:cubicBezTo>
                    <a:pt x="159400" y="52388"/>
                    <a:pt x="142541" y="177260"/>
                    <a:pt x="125777" y="349187"/>
                  </a:cubicBezTo>
                  <a:cubicBezTo>
                    <a:pt x="113204" y="478060"/>
                    <a:pt x="90248" y="572072"/>
                    <a:pt x="90439" y="729043"/>
                  </a:cubicBezTo>
                  <a:cubicBezTo>
                    <a:pt x="90439" y="729043"/>
                    <a:pt x="92439" y="723424"/>
                    <a:pt x="62721" y="723424"/>
                  </a:cubicBezTo>
                  <a:cubicBezTo>
                    <a:pt x="50053" y="664559"/>
                    <a:pt x="-3097" y="379190"/>
                    <a:pt x="142" y="318611"/>
                  </a:cubicBezTo>
                  <a:cubicBezTo>
                    <a:pt x="3380" y="258032"/>
                    <a:pt x="52625" y="139160"/>
                    <a:pt x="52625" y="139160"/>
                  </a:cubicBezTo>
                  <a:lnTo>
                    <a:pt x="37385" y="0"/>
                  </a:ln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CD6FDB81-DF46-4C72-9CC9-65FC1D41F55A}"/>
                </a:ext>
              </a:extLst>
            </p:cNvPr>
            <p:cNvSpPr/>
            <p:nvPr/>
          </p:nvSpPr>
          <p:spPr>
            <a:xfrm>
              <a:off x="830127" y="3887555"/>
              <a:ext cx="47720" cy="42961"/>
            </a:xfrm>
            <a:custGeom>
              <a:avLst/>
              <a:gdLst>
                <a:gd name="connsiteX0" fmla="*/ 47720 w 47720"/>
                <a:gd name="connsiteY0" fmla="*/ 42962 h 42961"/>
                <a:gd name="connsiteX1" fmla="*/ 25336 w 47720"/>
                <a:gd name="connsiteY1" fmla="*/ 28579 h 42961"/>
                <a:gd name="connsiteX2" fmla="*/ 0 w 47720"/>
                <a:gd name="connsiteY2" fmla="*/ 4 h 42961"/>
                <a:gd name="connsiteX3" fmla="*/ 47720 w 47720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" h="42961">
                  <a:moveTo>
                    <a:pt x="47720" y="42962"/>
                  </a:moveTo>
                  <a:cubicBezTo>
                    <a:pt x="39772" y="38971"/>
                    <a:pt x="32268" y="34151"/>
                    <a:pt x="25336" y="28579"/>
                  </a:cubicBezTo>
                  <a:cubicBezTo>
                    <a:pt x="25336" y="28579"/>
                    <a:pt x="23717" y="14863"/>
                    <a:pt x="0" y="4"/>
                  </a:cubicBezTo>
                  <a:cubicBezTo>
                    <a:pt x="0" y="-282"/>
                    <a:pt x="45529" y="15149"/>
                    <a:pt x="47720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B76951CF-6B1E-4529-944E-56288C0E8650}"/>
                </a:ext>
              </a:extLst>
            </p:cNvPr>
            <p:cNvSpPr/>
            <p:nvPr/>
          </p:nvSpPr>
          <p:spPr>
            <a:xfrm>
              <a:off x="820598" y="3841553"/>
              <a:ext cx="88993" cy="88963"/>
            </a:xfrm>
            <a:custGeom>
              <a:avLst/>
              <a:gdLst>
                <a:gd name="connsiteX0" fmla="*/ 6671 w 88993"/>
                <a:gd name="connsiteY0" fmla="*/ 4667 h 88963"/>
                <a:gd name="connsiteX1" fmla="*/ 9529 w 88993"/>
                <a:gd name="connsiteY1" fmla="*/ 45720 h 88963"/>
                <a:gd name="connsiteX2" fmla="*/ 57154 w 88993"/>
                <a:gd name="connsiteY2" fmla="*/ 88963 h 88963"/>
                <a:gd name="connsiteX3" fmla="*/ 84395 w 88993"/>
                <a:gd name="connsiteY3" fmla="*/ 46101 h 88963"/>
                <a:gd name="connsiteX4" fmla="*/ 55820 w 88993"/>
                <a:gd name="connsiteY4" fmla="*/ 47339 h 88963"/>
                <a:gd name="connsiteX5" fmla="*/ 22102 w 88993"/>
                <a:gd name="connsiteY5" fmla="*/ 1810 h 88963"/>
                <a:gd name="connsiteX6" fmla="*/ 11719 w 88993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93" h="88963">
                  <a:moveTo>
                    <a:pt x="6671" y="4667"/>
                  </a:moveTo>
                  <a:cubicBezTo>
                    <a:pt x="6671" y="4667"/>
                    <a:pt x="-10093" y="35909"/>
                    <a:pt x="9529" y="45720"/>
                  </a:cubicBezTo>
                  <a:cubicBezTo>
                    <a:pt x="32579" y="57150"/>
                    <a:pt x="52867" y="76200"/>
                    <a:pt x="57154" y="88963"/>
                  </a:cubicBezTo>
                  <a:cubicBezTo>
                    <a:pt x="57154" y="88963"/>
                    <a:pt x="103445" y="56483"/>
                    <a:pt x="84395" y="46101"/>
                  </a:cubicBezTo>
                  <a:cubicBezTo>
                    <a:pt x="75156" y="42262"/>
                    <a:pt x="64693" y="42720"/>
                    <a:pt x="55820" y="47339"/>
                  </a:cubicBezTo>
                  <a:lnTo>
                    <a:pt x="22102" y="1810"/>
                  </a:lnTo>
                  <a:lnTo>
                    <a:pt x="11719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D4A36894-2963-4BB7-AA35-4F84F5BF72C3}"/>
                </a:ext>
              </a:extLst>
            </p:cNvPr>
            <p:cNvSpPr/>
            <p:nvPr/>
          </p:nvSpPr>
          <p:spPr>
            <a:xfrm>
              <a:off x="827269" y="3834153"/>
              <a:ext cx="63827" cy="65422"/>
            </a:xfrm>
            <a:custGeom>
              <a:avLst/>
              <a:gdLst>
                <a:gd name="connsiteX0" fmla="*/ 0 w 63827"/>
                <a:gd name="connsiteY0" fmla="*/ 12067 h 65422"/>
                <a:gd name="connsiteX1" fmla="*/ 18383 w 63827"/>
                <a:gd name="connsiteY1" fmla="*/ 15115 h 65422"/>
                <a:gd name="connsiteX2" fmla="*/ 52102 w 63827"/>
                <a:gd name="connsiteY2" fmla="*/ 65216 h 65422"/>
                <a:gd name="connsiteX3" fmla="*/ 53531 w 63827"/>
                <a:gd name="connsiteY3" fmla="*/ 52834 h 65422"/>
                <a:gd name="connsiteX4" fmla="*/ 29623 w 63827"/>
                <a:gd name="connsiteY4" fmla="*/ 14734 h 65422"/>
                <a:gd name="connsiteX5" fmla="*/ 0 w 63827"/>
                <a:gd name="connsiteY5" fmla="*/ 12067 h 6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422">
                  <a:moveTo>
                    <a:pt x="0" y="12067"/>
                  </a:moveTo>
                  <a:cubicBezTo>
                    <a:pt x="0" y="12067"/>
                    <a:pt x="7525" y="3304"/>
                    <a:pt x="18383" y="15115"/>
                  </a:cubicBezTo>
                  <a:cubicBezTo>
                    <a:pt x="29242" y="26926"/>
                    <a:pt x="40291" y="61692"/>
                    <a:pt x="52102" y="65216"/>
                  </a:cubicBezTo>
                  <a:cubicBezTo>
                    <a:pt x="59055" y="67407"/>
                    <a:pt x="73819" y="51405"/>
                    <a:pt x="53531" y="52834"/>
                  </a:cubicBezTo>
                  <a:cubicBezTo>
                    <a:pt x="46958" y="49690"/>
                    <a:pt x="43148" y="40927"/>
                    <a:pt x="29623" y="14734"/>
                  </a:cubicBezTo>
                  <a:cubicBezTo>
                    <a:pt x="29623" y="14829"/>
                    <a:pt x="18288" y="-16604"/>
                    <a:pt x="0" y="12067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999F624-34B3-41AE-A68C-587F835CB65C}"/>
                </a:ext>
              </a:extLst>
            </p:cNvPr>
            <p:cNvSpPr/>
            <p:nvPr/>
          </p:nvSpPr>
          <p:spPr>
            <a:xfrm>
              <a:off x="824792" y="3883177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72" y="22870"/>
                    <a:pt x="12769" y="3802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572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68785A2-99FF-4206-BBCB-EB7CD8B33821}"/>
                </a:ext>
              </a:extLst>
            </p:cNvPr>
            <p:cNvSpPr/>
            <p:nvPr/>
          </p:nvSpPr>
          <p:spPr>
            <a:xfrm>
              <a:off x="858369" y="3178041"/>
              <a:ext cx="159590" cy="726471"/>
            </a:xfrm>
            <a:custGeom>
              <a:avLst/>
              <a:gdLst>
                <a:gd name="connsiteX0" fmla="*/ 159590 w 159590"/>
                <a:gd name="connsiteY0" fmla="*/ 52673 h 726471"/>
                <a:gd name="connsiteX1" fmla="*/ 125967 w 159590"/>
                <a:gd name="connsiteY1" fmla="*/ 349472 h 726471"/>
                <a:gd name="connsiteX2" fmla="*/ 91391 w 159590"/>
                <a:gd name="connsiteY2" fmla="*/ 726472 h 726471"/>
                <a:gd name="connsiteX3" fmla="*/ 62816 w 159590"/>
                <a:gd name="connsiteY3" fmla="*/ 723710 h 726471"/>
                <a:gd name="connsiteX4" fmla="*/ 142 w 159590"/>
                <a:gd name="connsiteY4" fmla="*/ 318897 h 726471"/>
                <a:gd name="connsiteX5" fmla="*/ 52720 w 159590"/>
                <a:gd name="connsiteY5" fmla="*/ 139065 h 726471"/>
                <a:gd name="connsiteX6" fmla="*/ 37384 w 159590"/>
                <a:gd name="connsiteY6" fmla="*/ 0 h 72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90" h="726471">
                  <a:moveTo>
                    <a:pt x="159590" y="52673"/>
                  </a:moveTo>
                  <a:cubicBezTo>
                    <a:pt x="159590" y="52673"/>
                    <a:pt x="142731" y="177737"/>
                    <a:pt x="125967" y="349472"/>
                  </a:cubicBezTo>
                  <a:cubicBezTo>
                    <a:pt x="113394" y="478441"/>
                    <a:pt x="91296" y="569405"/>
                    <a:pt x="91391" y="726472"/>
                  </a:cubicBezTo>
                  <a:cubicBezTo>
                    <a:pt x="91391" y="726472"/>
                    <a:pt x="92534" y="723710"/>
                    <a:pt x="62816" y="723710"/>
                  </a:cubicBezTo>
                  <a:cubicBezTo>
                    <a:pt x="50148" y="664940"/>
                    <a:pt x="-3097" y="379476"/>
                    <a:pt x="142" y="318897"/>
                  </a:cubicBezTo>
                  <a:cubicBezTo>
                    <a:pt x="3380" y="258318"/>
                    <a:pt x="52720" y="139065"/>
                    <a:pt x="52720" y="139065"/>
                  </a:cubicBezTo>
                  <a:lnTo>
                    <a:pt x="37384" y="0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261C9D24-44C6-48D2-8426-BBC629B58763}"/>
                </a:ext>
              </a:extLst>
            </p:cNvPr>
            <p:cNvSpPr/>
            <p:nvPr/>
          </p:nvSpPr>
          <p:spPr>
            <a:xfrm>
              <a:off x="923567" y="3941180"/>
              <a:ext cx="47815" cy="42961"/>
            </a:xfrm>
            <a:custGeom>
              <a:avLst/>
              <a:gdLst>
                <a:gd name="connsiteX0" fmla="*/ 47816 w 47815"/>
                <a:gd name="connsiteY0" fmla="*/ 42962 h 42961"/>
                <a:gd name="connsiteX1" fmla="*/ 25336 w 47815"/>
                <a:gd name="connsiteY1" fmla="*/ 28579 h 42961"/>
                <a:gd name="connsiteX2" fmla="*/ 0 w 47815"/>
                <a:gd name="connsiteY2" fmla="*/ 4 h 42961"/>
                <a:gd name="connsiteX3" fmla="*/ 47816 w 47815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42961">
                  <a:moveTo>
                    <a:pt x="47816" y="42962"/>
                  </a:moveTo>
                  <a:cubicBezTo>
                    <a:pt x="39847" y="38952"/>
                    <a:pt x="32314" y="34132"/>
                    <a:pt x="25336" y="28579"/>
                  </a:cubicBezTo>
                  <a:cubicBezTo>
                    <a:pt x="25336" y="28579"/>
                    <a:pt x="23813" y="14863"/>
                    <a:pt x="0" y="4"/>
                  </a:cubicBezTo>
                  <a:cubicBezTo>
                    <a:pt x="0" y="-282"/>
                    <a:pt x="45530" y="15149"/>
                    <a:pt x="47816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105E4FEC-D739-455F-8D3C-A4DDAC8A268E}"/>
                </a:ext>
              </a:extLst>
            </p:cNvPr>
            <p:cNvSpPr/>
            <p:nvPr/>
          </p:nvSpPr>
          <p:spPr>
            <a:xfrm>
              <a:off x="914067" y="3895083"/>
              <a:ext cx="88964" cy="88963"/>
            </a:xfrm>
            <a:custGeom>
              <a:avLst/>
              <a:gdLst>
                <a:gd name="connsiteX0" fmla="*/ 6737 w 88964"/>
                <a:gd name="connsiteY0" fmla="*/ 4667 h 88963"/>
                <a:gd name="connsiteX1" fmla="*/ 9499 w 88964"/>
                <a:gd name="connsiteY1" fmla="*/ 45720 h 88963"/>
                <a:gd name="connsiteX2" fmla="*/ 57124 w 88964"/>
                <a:gd name="connsiteY2" fmla="*/ 88964 h 88963"/>
                <a:gd name="connsiteX3" fmla="*/ 84366 w 88964"/>
                <a:gd name="connsiteY3" fmla="*/ 46101 h 88963"/>
                <a:gd name="connsiteX4" fmla="*/ 55791 w 88964"/>
                <a:gd name="connsiteY4" fmla="*/ 47339 h 88963"/>
                <a:gd name="connsiteX5" fmla="*/ 21977 w 88964"/>
                <a:gd name="connsiteY5" fmla="*/ 1810 h 88963"/>
                <a:gd name="connsiteX6" fmla="*/ 11595 w 88964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64" h="88963">
                  <a:moveTo>
                    <a:pt x="6737" y="4667"/>
                  </a:moveTo>
                  <a:cubicBezTo>
                    <a:pt x="6737" y="4667"/>
                    <a:pt x="-10122" y="35909"/>
                    <a:pt x="9499" y="45720"/>
                  </a:cubicBezTo>
                  <a:cubicBezTo>
                    <a:pt x="32550" y="57150"/>
                    <a:pt x="52838" y="76200"/>
                    <a:pt x="57124" y="88964"/>
                  </a:cubicBezTo>
                  <a:cubicBezTo>
                    <a:pt x="57124" y="88964"/>
                    <a:pt x="103416" y="56483"/>
                    <a:pt x="84366" y="46101"/>
                  </a:cubicBezTo>
                  <a:cubicBezTo>
                    <a:pt x="75128" y="42253"/>
                    <a:pt x="64660" y="42710"/>
                    <a:pt x="55791" y="47339"/>
                  </a:cubicBezTo>
                  <a:lnTo>
                    <a:pt x="21977" y="1810"/>
                  </a:lnTo>
                  <a:lnTo>
                    <a:pt x="11595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7E829BD-7F5E-4251-B6EC-2914ACEBF220}"/>
                </a:ext>
              </a:extLst>
            </p:cNvPr>
            <p:cNvSpPr/>
            <p:nvPr/>
          </p:nvSpPr>
          <p:spPr>
            <a:xfrm>
              <a:off x="920805" y="3887745"/>
              <a:ext cx="63827" cy="65361"/>
            </a:xfrm>
            <a:custGeom>
              <a:avLst/>
              <a:gdLst>
                <a:gd name="connsiteX0" fmla="*/ 0 w 63827"/>
                <a:gd name="connsiteY0" fmla="*/ 12005 h 65361"/>
                <a:gd name="connsiteX1" fmla="*/ 18288 w 63827"/>
                <a:gd name="connsiteY1" fmla="*/ 15053 h 65361"/>
                <a:gd name="connsiteX2" fmla="*/ 52102 w 63827"/>
                <a:gd name="connsiteY2" fmla="*/ 65155 h 65361"/>
                <a:gd name="connsiteX3" fmla="*/ 53530 w 63827"/>
                <a:gd name="connsiteY3" fmla="*/ 52772 h 65361"/>
                <a:gd name="connsiteX4" fmla="*/ 29623 w 63827"/>
                <a:gd name="connsiteY4" fmla="*/ 14672 h 65361"/>
                <a:gd name="connsiteX5" fmla="*/ 0 w 63827"/>
                <a:gd name="connsiteY5" fmla="*/ 12005 h 6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361">
                  <a:moveTo>
                    <a:pt x="0" y="12005"/>
                  </a:moveTo>
                  <a:cubicBezTo>
                    <a:pt x="0" y="12005"/>
                    <a:pt x="7525" y="3242"/>
                    <a:pt x="18288" y="15053"/>
                  </a:cubicBezTo>
                  <a:cubicBezTo>
                    <a:pt x="29051" y="26864"/>
                    <a:pt x="40291" y="61630"/>
                    <a:pt x="52102" y="65155"/>
                  </a:cubicBezTo>
                  <a:cubicBezTo>
                    <a:pt x="59055" y="67345"/>
                    <a:pt x="73819" y="51343"/>
                    <a:pt x="53530" y="52772"/>
                  </a:cubicBezTo>
                  <a:cubicBezTo>
                    <a:pt x="46958" y="49629"/>
                    <a:pt x="43053" y="40866"/>
                    <a:pt x="29623" y="14672"/>
                  </a:cubicBezTo>
                  <a:cubicBezTo>
                    <a:pt x="29623" y="14863"/>
                    <a:pt x="18288" y="-16570"/>
                    <a:pt x="0" y="12005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858A34B7-88B8-499F-B276-02DA50BEEF91}"/>
                </a:ext>
              </a:extLst>
            </p:cNvPr>
            <p:cNvSpPr/>
            <p:nvPr/>
          </p:nvSpPr>
          <p:spPr>
            <a:xfrm>
              <a:off x="918423" y="3936803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14" y="22850"/>
                    <a:pt x="12709" y="3801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477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727928CF-519E-4A50-BF67-38295DC1DB60}"/>
                </a:ext>
              </a:extLst>
            </p:cNvPr>
            <p:cNvSpPr/>
            <p:nvPr/>
          </p:nvSpPr>
          <p:spPr>
            <a:xfrm>
              <a:off x="727915" y="2587110"/>
              <a:ext cx="398285" cy="755363"/>
            </a:xfrm>
            <a:custGeom>
              <a:avLst/>
              <a:gdLst>
                <a:gd name="connsiteX0" fmla="*/ 68874 w 398285"/>
                <a:gd name="connsiteY0" fmla="*/ 607123 h 755363"/>
                <a:gd name="connsiteX1" fmla="*/ 60683 w 398285"/>
                <a:gd name="connsiteY1" fmla="*/ 0 h 755363"/>
                <a:gd name="connsiteX2" fmla="*/ 393105 w 398285"/>
                <a:gd name="connsiteY2" fmla="*/ 200025 h 755363"/>
                <a:gd name="connsiteX3" fmla="*/ 303665 w 398285"/>
                <a:gd name="connsiteY3" fmla="*/ 737997 h 755363"/>
                <a:gd name="connsiteX4" fmla="*/ 215845 w 398285"/>
                <a:gd name="connsiteY4" fmla="*/ 747522 h 755363"/>
                <a:gd name="connsiteX5" fmla="*/ 68874 w 398285"/>
                <a:gd name="connsiteY5" fmla="*/ 607123 h 75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285" h="755363">
                  <a:moveTo>
                    <a:pt x="68874" y="607123"/>
                  </a:moveTo>
                  <a:cubicBezTo>
                    <a:pt x="68874" y="607123"/>
                    <a:pt x="-80478" y="205454"/>
                    <a:pt x="60683" y="0"/>
                  </a:cubicBezTo>
                  <a:cubicBezTo>
                    <a:pt x="60683" y="0"/>
                    <a:pt x="318429" y="76200"/>
                    <a:pt x="393105" y="200025"/>
                  </a:cubicBezTo>
                  <a:cubicBezTo>
                    <a:pt x="393105" y="200025"/>
                    <a:pt x="430634" y="352425"/>
                    <a:pt x="303665" y="737997"/>
                  </a:cubicBezTo>
                  <a:cubicBezTo>
                    <a:pt x="303665" y="737997"/>
                    <a:pt x="281567" y="769620"/>
                    <a:pt x="215845" y="747522"/>
                  </a:cubicBezTo>
                  <a:cubicBezTo>
                    <a:pt x="98401" y="700850"/>
                    <a:pt x="68874" y="607123"/>
                    <a:pt x="68874" y="60712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A8A2CE1E-3D8A-4FB9-9826-D56460AA093A}"/>
                </a:ext>
              </a:extLst>
            </p:cNvPr>
            <p:cNvSpPr/>
            <p:nvPr/>
          </p:nvSpPr>
          <p:spPr>
            <a:xfrm>
              <a:off x="760564" y="2077428"/>
              <a:ext cx="347193" cy="481012"/>
            </a:xfrm>
            <a:custGeom>
              <a:avLst/>
              <a:gdLst>
                <a:gd name="connsiteX0" fmla="*/ 312736 w 347193"/>
                <a:gd name="connsiteY0" fmla="*/ 174498 h 481012"/>
                <a:gd name="connsiteX1" fmla="*/ 8984 w 347193"/>
                <a:gd name="connsiteY1" fmla="*/ 0 h 481012"/>
                <a:gd name="connsiteX2" fmla="*/ 602 w 347193"/>
                <a:gd name="connsiteY2" fmla="*/ 73533 h 481012"/>
                <a:gd name="connsiteX3" fmla="*/ 100233 w 347193"/>
                <a:gd name="connsiteY3" fmla="*/ 400431 h 481012"/>
                <a:gd name="connsiteX4" fmla="*/ 241013 w 347193"/>
                <a:gd name="connsiteY4" fmla="*/ 481013 h 481012"/>
                <a:gd name="connsiteX5" fmla="*/ 344073 w 347193"/>
                <a:gd name="connsiteY5" fmla="*/ 301752 h 481012"/>
                <a:gd name="connsiteX6" fmla="*/ 312736 w 347193"/>
                <a:gd name="connsiteY6" fmla="*/ 174498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193" h="481012">
                  <a:moveTo>
                    <a:pt x="312736" y="174498"/>
                  </a:moveTo>
                  <a:cubicBezTo>
                    <a:pt x="312736" y="174498"/>
                    <a:pt x="214057" y="83153"/>
                    <a:pt x="8984" y="0"/>
                  </a:cubicBezTo>
                  <a:cubicBezTo>
                    <a:pt x="1486" y="23744"/>
                    <a:pt x="-1360" y="48711"/>
                    <a:pt x="602" y="73533"/>
                  </a:cubicBezTo>
                  <a:cubicBezTo>
                    <a:pt x="4697" y="144304"/>
                    <a:pt x="31272" y="259461"/>
                    <a:pt x="100233" y="400431"/>
                  </a:cubicBezTo>
                  <a:lnTo>
                    <a:pt x="241013" y="481013"/>
                  </a:lnTo>
                  <a:cubicBezTo>
                    <a:pt x="252157" y="393573"/>
                    <a:pt x="325976" y="362617"/>
                    <a:pt x="344073" y="301752"/>
                  </a:cubicBezTo>
                  <a:cubicBezTo>
                    <a:pt x="353313" y="270796"/>
                    <a:pt x="341787" y="242506"/>
                    <a:pt x="312736" y="174498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2E6942EC-5ACD-448F-9957-7BD6DB6A014C}"/>
                </a:ext>
              </a:extLst>
            </p:cNvPr>
            <p:cNvSpPr/>
            <p:nvPr/>
          </p:nvSpPr>
          <p:spPr>
            <a:xfrm>
              <a:off x="776882" y="2475287"/>
              <a:ext cx="344138" cy="311753"/>
            </a:xfrm>
            <a:custGeom>
              <a:avLst/>
              <a:gdLst>
                <a:gd name="connsiteX0" fmla="*/ 224695 w 344138"/>
                <a:gd name="connsiteY0" fmla="*/ 83153 h 311753"/>
                <a:gd name="connsiteX1" fmla="*/ 344138 w 344138"/>
                <a:gd name="connsiteY1" fmla="*/ 311753 h 311753"/>
                <a:gd name="connsiteX2" fmla="*/ 0 w 344138"/>
                <a:gd name="connsiteY2" fmla="*/ 114300 h 311753"/>
                <a:gd name="connsiteX3" fmla="*/ 85725 w 344138"/>
                <a:gd name="connsiteY3" fmla="*/ 0 h 311753"/>
                <a:gd name="connsiteX4" fmla="*/ 224695 w 344138"/>
                <a:gd name="connsiteY4" fmla="*/ 83153 h 31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38" h="311753">
                  <a:moveTo>
                    <a:pt x="224695" y="83153"/>
                  </a:moveTo>
                  <a:cubicBezTo>
                    <a:pt x="224695" y="83153"/>
                    <a:pt x="290703" y="154019"/>
                    <a:pt x="344138" y="311753"/>
                  </a:cubicBezTo>
                  <a:lnTo>
                    <a:pt x="0" y="114300"/>
                  </a:lnTo>
                  <a:lnTo>
                    <a:pt x="85725" y="0"/>
                  </a:lnTo>
                  <a:cubicBezTo>
                    <a:pt x="85725" y="0"/>
                    <a:pt x="186595" y="2096"/>
                    <a:pt x="224695" y="8315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ABE97B2-71BD-44C7-962B-2BB91CC8B374}"/>
                </a:ext>
              </a:extLst>
            </p:cNvPr>
            <p:cNvSpPr/>
            <p:nvPr/>
          </p:nvSpPr>
          <p:spPr>
            <a:xfrm>
              <a:off x="718877" y="2077428"/>
              <a:ext cx="376615" cy="1265647"/>
            </a:xfrm>
            <a:custGeom>
              <a:avLst/>
              <a:gdLst>
                <a:gd name="connsiteX0" fmla="*/ 77912 w 376615"/>
                <a:gd name="connsiteY0" fmla="*/ 1116806 h 1265647"/>
                <a:gd name="connsiteX1" fmla="*/ 58005 w 376615"/>
                <a:gd name="connsiteY1" fmla="*/ 512159 h 1265647"/>
                <a:gd name="connsiteX2" fmla="*/ 141920 w 376615"/>
                <a:gd name="connsiteY2" fmla="*/ 400431 h 1265647"/>
                <a:gd name="connsiteX3" fmla="*/ 42288 w 376615"/>
                <a:gd name="connsiteY3" fmla="*/ 73533 h 1265647"/>
                <a:gd name="connsiteX4" fmla="*/ 50670 w 376615"/>
                <a:gd name="connsiteY4" fmla="*/ 0 h 1265647"/>
                <a:gd name="connsiteX5" fmla="*/ 338802 w 376615"/>
                <a:gd name="connsiteY5" fmla="*/ 161068 h 1265647"/>
                <a:gd name="connsiteX6" fmla="*/ 267269 w 376615"/>
                <a:gd name="connsiteY6" fmla="*/ 477298 h 1265647"/>
                <a:gd name="connsiteX7" fmla="*/ 29144 w 376615"/>
                <a:gd name="connsiteY7" fmla="*/ 607314 h 1265647"/>
                <a:gd name="connsiteX8" fmla="*/ 376616 w 376615"/>
                <a:gd name="connsiteY8" fmla="*/ 805625 h 1265647"/>
                <a:gd name="connsiteX9" fmla="*/ 274889 w 376615"/>
                <a:gd name="connsiteY9" fmla="*/ 1264253 h 1265647"/>
                <a:gd name="connsiteX10" fmla="*/ 164970 w 376615"/>
                <a:gd name="connsiteY10" fmla="*/ 1224725 h 1265647"/>
                <a:gd name="connsiteX11" fmla="*/ 77912 w 376615"/>
                <a:gd name="connsiteY11" fmla="*/ 1116806 h 12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615" h="1265647">
                  <a:moveTo>
                    <a:pt x="77912" y="1116806"/>
                  </a:moveTo>
                  <a:cubicBezTo>
                    <a:pt x="77912" y="1116806"/>
                    <a:pt x="-83251" y="717423"/>
                    <a:pt x="58005" y="512159"/>
                  </a:cubicBezTo>
                  <a:lnTo>
                    <a:pt x="141920" y="400431"/>
                  </a:lnTo>
                  <a:cubicBezTo>
                    <a:pt x="72959" y="259461"/>
                    <a:pt x="46384" y="144304"/>
                    <a:pt x="42288" y="73533"/>
                  </a:cubicBezTo>
                  <a:cubicBezTo>
                    <a:pt x="40326" y="48711"/>
                    <a:pt x="43172" y="23744"/>
                    <a:pt x="50670" y="0"/>
                  </a:cubicBezTo>
                  <a:cubicBezTo>
                    <a:pt x="208785" y="64198"/>
                    <a:pt x="303654" y="133350"/>
                    <a:pt x="338802" y="161068"/>
                  </a:cubicBezTo>
                  <a:cubicBezTo>
                    <a:pt x="297273" y="173926"/>
                    <a:pt x="230979" y="279273"/>
                    <a:pt x="267269" y="477298"/>
                  </a:cubicBezTo>
                  <a:cubicBezTo>
                    <a:pt x="267269" y="477298"/>
                    <a:pt x="39336" y="509492"/>
                    <a:pt x="29144" y="607314"/>
                  </a:cubicBezTo>
                  <a:cubicBezTo>
                    <a:pt x="15809" y="736473"/>
                    <a:pt x="326800" y="853631"/>
                    <a:pt x="376616" y="805625"/>
                  </a:cubicBezTo>
                  <a:cubicBezTo>
                    <a:pt x="376616" y="805625"/>
                    <a:pt x="374616" y="970216"/>
                    <a:pt x="274889" y="1264253"/>
                  </a:cubicBezTo>
                  <a:cubicBezTo>
                    <a:pt x="274889" y="1264253"/>
                    <a:pt x="240313" y="1277112"/>
                    <a:pt x="164970" y="1224725"/>
                  </a:cubicBezTo>
                  <a:cubicBezTo>
                    <a:pt x="89628" y="1172337"/>
                    <a:pt x="77912" y="1116806"/>
                    <a:pt x="77912" y="1116806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B0A3DC92-D37E-4371-8C1A-5F09519DA389}"/>
                </a:ext>
              </a:extLst>
            </p:cNvPr>
            <p:cNvSpPr/>
            <p:nvPr/>
          </p:nvSpPr>
          <p:spPr>
            <a:xfrm>
              <a:off x="790788" y="2085714"/>
              <a:ext cx="247173" cy="209550"/>
            </a:xfrm>
            <a:custGeom>
              <a:avLst/>
              <a:gdLst>
                <a:gd name="connsiteX0" fmla="*/ 247174 w 247173"/>
                <a:gd name="connsiteY0" fmla="*/ 137636 h 209550"/>
                <a:gd name="connsiteX1" fmla="*/ 82677 w 247173"/>
                <a:gd name="connsiteY1" fmla="*/ 209550 h 209550"/>
                <a:gd name="connsiteX2" fmla="*/ 0 w 247173"/>
                <a:gd name="connsiteY2" fmla="*/ 0 h 209550"/>
                <a:gd name="connsiteX3" fmla="*/ 247174 w 247173"/>
                <a:gd name="connsiteY3" fmla="*/ 13763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173" h="209550">
                  <a:moveTo>
                    <a:pt x="247174" y="137636"/>
                  </a:moveTo>
                  <a:cubicBezTo>
                    <a:pt x="191028" y="158482"/>
                    <a:pt x="136107" y="182491"/>
                    <a:pt x="82677" y="209550"/>
                  </a:cubicBezTo>
                  <a:cubicBezTo>
                    <a:pt x="69818" y="185071"/>
                    <a:pt x="16002" y="111824"/>
                    <a:pt x="0" y="0"/>
                  </a:cubicBezTo>
                  <a:cubicBezTo>
                    <a:pt x="0" y="381"/>
                    <a:pt x="171164" y="78677"/>
                    <a:pt x="247174" y="137636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CF9806B0-D8FB-4A31-8A3D-B0A91593717D}"/>
                </a:ext>
              </a:extLst>
            </p:cNvPr>
            <p:cNvSpPr/>
            <p:nvPr/>
          </p:nvSpPr>
          <p:spPr>
            <a:xfrm>
              <a:off x="790788" y="2086095"/>
              <a:ext cx="230028" cy="127319"/>
            </a:xfrm>
            <a:custGeom>
              <a:avLst/>
              <a:gdLst>
                <a:gd name="connsiteX0" fmla="*/ 230029 w 230028"/>
                <a:gd name="connsiteY0" fmla="*/ 125063 h 127319"/>
                <a:gd name="connsiteX1" fmla="*/ 0 w 230028"/>
                <a:gd name="connsiteY1" fmla="*/ 0 h 127319"/>
                <a:gd name="connsiteX2" fmla="*/ 230029 w 230028"/>
                <a:gd name="connsiteY2" fmla="*/ 125063 h 12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028" h="127319">
                  <a:moveTo>
                    <a:pt x="230029" y="125063"/>
                  </a:moveTo>
                  <a:cubicBezTo>
                    <a:pt x="230029" y="125063"/>
                    <a:pt x="65723" y="154591"/>
                    <a:pt x="0" y="0"/>
                  </a:cubicBezTo>
                  <a:cubicBezTo>
                    <a:pt x="81646" y="31814"/>
                    <a:pt x="158937" y="73835"/>
                    <a:pt x="230029" y="125063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D60D96F3-7315-4C8C-AA4F-ECFBE570F82F}"/>
                </a:ext>
              </a:extLst>
            </p:cNvPr>
            <p:cNvSpPr/>
            <p:nvPr/>
          </p:nvSpPr>
          <p:spPr>
            <a:xfrm>
              <a:off x="852225" y="1997515"/>
              <a:ext cx="161925" cy="218310"/>
            </a:xfrm>
            <a:custGeom>
              <a:avLst/>
              <a:gdLst>
                <a:gd name="connsiteX0" fmla="*/ 161925 w 161925"/>
                <a:gd name="connsiteY0" fmla="*/ 107535 h 218310"/>
                <a:gd name="connsiteX1" fmla="*/ 128302 w 161925"/>
                <a:gd name="connsiteY1" fmla="*/ 218310 h 218310"/>
                <a:gd name="connsiteX2" fmla="*/ 0 w 161925"/>
                <a:gd name="connsiteY2" fmla="*/ 169638 h 218310"/>
                <a:gd name="connsiteX3" fmla="*/ 1905 w 161925"/>
                <a:gd name="connsiteY3" fmla="*/ 5903 h 218310"/>
                <a:gd name="connsiteX4" fmla="*/ 161925 w 161925"/>
                <a:gd name="connsiteY4" fmla="*/ 107535 h 21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18310">
                  <a:moveTo>
                    <a:pt x="161925" y="107535"/>
                  </a:moveTo>
                  <a:cubicBezTo>
                    <a:pt x="161925" y="107535"/>
                    <a:pt x="111347" y="154493"/>
                    <a:pt x="128302" y="218310"/>
                  </a:cubicBezTo>
                  <a:lnTo>
                    <a:pt x="0" y="169638"/>
                  </a:lnTo>
                  <a:cubicBezTo>
                    <a:pt x="6749" y="115302"/>
                    <a:pt x="7389" y="60381"/>
                    <a:pt x="1905" y="5903"/>
                  </a:cubicBezTo>
                  <a:cubicBezTo>
                    <a:pt x="-1619" y="-29721"/>
                    <a:pt x="161925" y="107535"/>
                    <a:pt x="161925" y="107535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60CC8BF-876E-43F3-AEFD-7E762BFE0BB9}"/>
                </a:ext>
              </a:extLst>
            </p:cNvPr>
            <p:cNvSpPr/>
            <p:nvPr/>
          </p:nvSpPr>
          <p:spPr>
            <a:xfrm>
              <a:off x="833831" y="1860162"/>
              <a:ext cx="146123" cy="231323"/>
            </a:xfrm>
            <a:custGeom>
              <a:avLst/>
              <a:gdLst>
                <a:gd name="connsiteX0" fmla="*/ 486 w 146123"/>
                <a:gd name="connsiteY0" fmla="*/ 0 h 231323"/>
                <a:gd name="connsiteX1" fmla="*/ 136122 w 146123"/>
                <a:gd name="connsiteY1" fmla="*/ 228600 h 231323"/>
                <a:gd name="connsiteX2" fmla="*/ 146123 w 146123"/>
                <a:gd name="connsiteY2" fmla="*/ 71057 h 23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123" h="231323">
                  <a:moveTo>
                    <a:pt x="486" y="0"/>
                  </a:moveTo>
                  <a:cubicBezTo>
                    <a:pt x="486" y="0"/>
                    <a:pt x="-15516" y="260604"/>
                    <a:pt x="136122" y="228600"/>
                  </a:cubicBezTo>
                  <a:lnTo>
                    <a:pt x="146123" y="71057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3619BCD1-B6FA-4D03-AF6A-B05DA5D8DF50}"/>
                </a:ext>
              </a:extLst>
            </p:cNvPr>
            <p:cNvSpPr/>
            <p:nvPr/>
          </p:nvSpPr>
          <p:spPr>
            <a:xfrm>
              <a:off x="965096" y="1892547"/>
              <a:ext cx="161353" cy="254741"/>
            </a:xfrm>
            <a:custGeom>
              <a:avLst/>
              <a:gdLst>
                <a:gd name="connsiteX0" fmla="*/ 161354 w 161353"/>
                <a:gd name="connsiteY0" fmla="*/ 0 h 254741"/>
                <a:gd name="connsiteX1" fmla="*/ 134779 w 161353"/>
                <a:gd name="connsiteY1" fmla="*/ 143256 h 254741"/>
                <a:gd name="connsiteX2" fmla="*/ 89726 w 161353"/>
                <a:gd name="connsiteY2" fmla="*/ 252603 h 254741"/>
                <a:gd name="connsiteX3" fmla="*/ 17621 w 161353"/>
                <a:gd name="connsiteY3" fmla="*/ 226886 h 254741"/>
                <a:gd name="connsiteX4" fmla="*/ 0 w 161353"/>
                <a:gd name="connsiteY4" fmla="*/ 61151 h 25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53" h="254741">
                  <a:moveTo>
                    <a:pt x="161354" y="0"/>
                  </a:moveTo>
                  <a:cubicBezTo>
                    <a:pt x="145447" y="37338"/>
                    <a:pt x="144304" y="92678"/>
                    <a:pt x="134779" y="143256"/>
                  </a:cubicBezTo>
                  <a:cubicBezTo>
                    <a:pt x="123730" y="199072"/>
                    <a:pt x="103918" y="248031"/>
                    <a:pt x="89726" y="252603"/>
                  </a:cubicBezTo>
                  <a:cubicBezTo>
                    <a:pt x="77724" y="256413"/>
                    <a:pt x="52102" y="258699"/>
                    <a:pt x="17621" y="226886"/>
                  </a:cubicBezTo>
                  <a:lnTo>
                    <a:pt x="0" y="61151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40D7DD4-BB20-4617-8C31-7CBAA67AD0CD}"/>
                </a:ext>
              </a:extLst>
            </p:cNvPr>
            <p:cNvSpPr/>
            <p:nvPr/>
          </p:nvSpPr>
          <p:spPr>
            <a:xfrm>
              <a:off x="976050" y="2059806"/>
              <a:ext cx="74009" cy="87153"/>
            </a:xfrm>
            <a:custGeom>
              <a:avLst/>
              <a:gdLst>
                <a:gd name="connsiteX0" fmla="*/ 0 w 74009"/>
                <a:gd name="connsiteY0" fmla="*/ 19050 h 87153"/>
                <a:gd name="connsiteX1" fmla="*/ 8763 w 74009"/>
                <a:gd name="connsiteY1" fmla="*/ 0 h 87153"/>
                <a:gd name="connsiteX2" fmla="*/ 74009 w 74009"/>
                <a:gd name="connsiteY2" fmla="*/ 86487 h 87153"/>
                <a:gd name="connsiteX3" fmla="*/ 4096 w 74009"/>
                <a:gd name="connsiteY3" fmla="*/ 57150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7153">
                  <a:moveTo>
                    <a:pt x="0" y="19050"/>
                  </a:moveTo>
                  <a:lnTo>
                    <a:pt x="8763" y="0"/>
                  </a:lnTo>
                  <a:cubicBezTo>
                    <a:pt x="33242" y="96107"/>
                    <a:pt x="74009" y="86487"/>
                    <a:pt x="74009" y="86487"/>
                  </a:cubicBezTo>
                  <a:cubicBezTo>
                    <a:pt x="74009" y="86487"/>
                    <a:pt x="40672" y="94202"/>
                    <a:pt x="4096" y="57150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A540EFC7-F361-4830-B801-5474D1090480}"/>
                </a:ext>
              </a:extLst>
            </p:cNvPr>
            <p:cNvSpPr/>
            <p:nvPr/>
          </p:nvSpPr>
          <p:spPr>
            <a:xfrm>
              <a:off x="820510" y="1766194"/>
              <a:ext cx="309177" cy="345641"/>
            </a:xfrm>
            <a:custGeom>
              <a:avLst/>
              <a:gdLst>
                <a:gd name="connsiteX0" fmla="*/ 12093 w 309177"/>
                <a:gd name="connsiteY0" fmla="*/ 51582 h 345641"/>
                <a:gd name="connsiteX1" fmla="*/ 309178 w 309177"/>
                <a:gd name="connsiteY1" fmla="*/ 83205 h 345641"/>
                <a:gd name="connsiteX2" fmla="*/ 229930 w 309177"/>
                <a:gd name="connsiteY2" fmla="*/ 196553 h 345641"/>
                <a:gd name="connsiteX3" fmla="*/ 171256 w 309177"/>
                <a:gd name="connsiteY3" fmla="*/ 246845 h 345641"/>
                <a:gd name="connsiteX4" fmla="*/ 52765 w 309177"/>
                <a:gd name="connsiteY4" fmla="*/ 328283 h 345641"/>
                <a:gd name="connsiteX5" fmla="*/ 12093 w 309177"/>
                <a:gd name="connsiteY5" fmla="*/ 51582 h 345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177" h="345641">
                  <a:moveTo>
                    <a:pt x="12093" y="51582"/>
                  </a:moveTo>
                  <a:cubicBezTo>
                    <a:pt x="60289" y="-28618"/>
                    <a:pt x="260314" y="-13188"/>
                    <a:pt x="309178" y="83205"/>
                  </a:cubicBezTo>
                  <a:cubicBezTo>
                    <a:pt x="309178" y="83205"/>
                    <a:pt x="272697" y="168073"/>
                    <a:pt x="229930" y="196553"/>
                  </a:cubicBezTo>
                  <a:cubicBezTo>
                    <a:pt x="205165" y="265037"/>
                    <a:pt x="196687" y="258275"/>
                    <a:pt x="171256" y="246845"/>
                  </a:cubicBezTo>
                  <a:cubicBezTo>
                    <a:pt x="166303" y="250655"/>
                    <a:pt x="173923" y="394387"/>
                    <a:pt x="52765" y="328283"/>
                  </a:cubicBezTo>
                  <a:cubicBezTo>
                    <a:pt x="-13053" y="292374"/>
                    <a:pt x="-5147" y="79967"/>
                    <a:pt x="12093" y="51582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C0EAA9FF-5741-41F5-8161-D4354290AA1E}"/>
                </a:ext>
              </a:extLst>
            </p:cNvPr>
            <p:cNvSpPr/>
            <p:nvPr/>
          </p:nvSpPr>
          <p:spPr>
            <a:xfrm>
              <a:off x="1048249" y="1829206"/>
              <a:ext cx="88990" cy="159448"/>
            </a:xfrm>
            <a:custGeom>
              <a:avLst/>
              <a:gdLst>
                <a:gd name="connsiteX0" fmla="*/ 19050 w 88990"/>
                <a:gd name="connsiteY0" fmla="*/ 84963 h 159448"/>
                <a:gd name="connsiteX1" fmla="*/ 0 w 88990"/>
                <a:gd name="connsiteY1" fmla="*/ 159449 h 159448"/>
                <a:gd name="connsiteX2" fmla="*/ 78010 w 88990"/>
                <a:gd name="connsiteY2" fmla="*/ 119348 h 159448"/>
                <a:gd name="connsiteX3" fmla="*/ 68485 w 88990"/>
                <a:gd name="connsiteY3" fmla="*/ 0 h 15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90" h="159448">
                  <a:moveTo>
                    <a:pt x="19050" y="84963"/>
                  </a:moveTo>
                  <a:lnTo>
                    <a:pt x="0" y="159449"/>
                  </a:lnTo>
                  <a:cubicBezTo>
                    <a:pt x="28732" y="152234"/>
                    <a:pt x="55421" y="138514"/>
                    <a:pt x="78010" y="119348"/>
                  </a:cubicBezTo>
                  <a:cubicBezTo>
                    <a:pt x="81820" y="106109"/>
                    <a:pt x="105537" y="39624"/>
                    <a:pt x="68485" y="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24A911DA-D36E-4809-AE06-C9A74D35AAF3}"/>
                </a:ext>
              </a:extLst>
            </p:cNvPr>
            <p:cNvSpPr/>
            <p:nvPr/>
          </p:nvSpPr>
          <p:spPr>
            <a:xfrm>
              <a:off x="980145" y="2821330"/>
              <a:ext cx="204596" cy="296703"/>
            </a:xfrm>
            <a:custGeom>
              <a:avLst/>
              <a:gdLst>
                <a:gd name="connsiteX0" fmla="*/ 204597 w 204596"/>
                <a:gd name="connsiteY0" fmla="*/ 179927 h 296703"/>
                <a:gd name="connsiteX1" fmla="*/ 2381 w 204596"/>
                <a:gd name="connsiteY1" fmla="*/ 296704 h 296703"/>
                <a:gd name="connsiteX2" fmla="*/ 0 w 204596"/>
                <a:gd name="connsiteY2" fmla="*/ 103918 h 296703"/>
                <a:gd name="connsiteX3" fmla="*/ 180118 w 204596"/>
                <a:gd name="connsiteY3" fmla="*/ 0 h 296703"/>
                <a:gd name="connsiteX4" fmla="*/ 204597 w 204596"/>
                <a:gd name="connsiteY4" fmla="*/ 179927 h 2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96" h="296703">
                  <a:moveTo>
                    <a:pt x="204597" y="179927"/>
                  </a:moveTo>
                  <a:lnTo>
                    <a:pt x="2381" y="296704"/>
                  </a:lnTo>
                  <a:lnTo>
                    <a:pt x="0" y="103918"/>
                  </a:lnTo>
                  <a:lnTo>
                    <a:pt x="180118" y="0"/>
                  </a:lnTo>
                  <a:lnTo>
                    <a:pt x="204597" y="179927"/>
                  </a:ln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38CC3039-1EF3-46D6-9224-8DF4EBE4323A}"/>
                </a:ext>
              </a:extLst>
            </p:cNvPr>
            <p:cNvSpPr/>
            <p:nvPr/>
          </p:nvSpPr>
          <p:spPr>
            <a:xfrm>
              <a:off x="945474" y="2912580"/>
              <a:ext cx="37052" cy="205454"/>
            </a:xfrm>
            <a:custGeom>
              <a:avLst/>
              <a:gdLst>
                <a:gd name="connsiteX0" fmla="*/ 37052 w 37052"/>
                <a:gd name="connsiteY0" fmla="*/ 205454 h 205454"/>
                <a:gd name="connsiteX1" fmla="*/ 0 w 37052"/>
                <a:gd name="connsiteY1" fmla="*/ 184309 h 205454"/>
                <a:gd name="connsiteX2" fmla="*/ 12382 w 37052"/>
                <a:gd name="connsiteY2" fmla="*/ 0 h 205454"/>
                <a:gd name="connsiteX3" fmla="*/ 34671 w 37052"/>
                <a:gd name="connsiteY3" fmla="*/ 12668 h 205454"/>
                <a:gd name="connsiteX4" fmla="*/ 37052 w 37052"/>
                <a:gd name="connsiteY4" fmla="*/ 205454 h 20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52" h="205454">
                  <a:moveTo>
                    <a:pt x="37052" y="205454"/>
                  </a:moveTo>
                  <a:lnTo>
                    <a:pt x="0" y="184309"/>
                  </a:lnTo>
                  <a:lnTo>
                    <a:pt x="12382" y="0"/>
                  </a:lnTo>
                  <a:lnTo>
                    <a:pt x="34671" y="12668"/>
                  </a:lnTo>
                  <a:lnTo>
                    <a:pt x="37052" y="205454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2807D0E4-57D9-4CFC-9334-62BC22F2F542}"/>
                </a:ext>
              </a:extLst>
            </p:cNvPr>
            <p:cNvSpPr/>
            <p:nvPr/>
          </p:nvSpPr>
          <p:spPr>
            <a:xfrm>
              <a:off x="957857" y="2810281"/>
              <a:ext cx="202406" cy="114966"/>
            </a:xfrm>
            <a:custGeom>
              <a:avLst/>
              <a:gdLst>
                <a:gd name="connsiteX0" fmla="*/ 0 w 202406"/>
                <a:gd name="connsiteY0" fmla="*/ 102298 h 114966"/>
                <a:gd name="connsiteX1" fmla="*/ 183451 w 202406"/>
                <a:gd name="connsiteY1" fmla="*/ 0 h 114966"/>
                <a:gd name="connsiteX2" fmla="*/ 202406 w 202406"/>
                <a:gd name="connsiteY2" fmla="*/ 11049 h 114966"/>
                <a:gd name="connsiteX3" fmla="*/ 22289 w 202406"/>
                <a:gd name="connsiteY3" fmla="*/ 114967 h 114966"/>
                <a:gd name="connsiteX4" fmla="*/ 0 w 202406"/>
                <a:gd name="connsiteY4" fmla="*/ 102298 h 11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06" h="114966">
                  <a:moveTo>
                    <a:pt x="0" y="102298"/>
                  </a:moveTo>
                  <a:lnTo>
                    <a:pt x="183451" y="0"/>
                  </a:lnTo>
                  <a:lnTo>
                    <a:pt x="202406" y="11049"/>
                  </a:lnTo>
                  <a:lnTo>
                    <a:pt x="22289" y="114967"/>
                  </a:lnTo>
                  <a:lnTo>
                    <a:pt x="0" y="102298"/>
                  </a:ln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7E7A46-9473-4CFE-B3B8-68C00828CE3F}"/>
                </a:ext>
              </a:extLst>
            </p:cNvPr>
            <p:cNvSpPr/>
            <p:nvPr/>
          </p:nvSpPr>
          <p:spPr>
            <a:xfrm>
              <a:off x="993036" y="2242084"/>
              <a:ext cx="151722" cy="684949"/>
            </a:xfrm>
            <a:custGeom>
              <a:avLst/>
              <a:gdLst>
                <a:gd name="connsiteX0" fmla="*/ 4751 w 151722"/>
                <a:gd name="connsiteY0" fmla="*/ 684950 h 684949"/>
                <a:gd name="connsiteX1" fmla="*/ 6752 w 151722"/>
                <a:gd name="connsiteY1" fmla="*/ 596462 h 684949"/>
                <a:gd name="connsiteX2" fmla="*/ 6752 w 151722"/>
                <a:gd name="connsiteY2" fmla="*/ 507880 h 684949"/>
                <a:gd name="connsiteX3" fmla="*/ 4751 w 151722"/>
                <a:gd name="connsiteY3" fmla="*/ 419393 h 684949"/>
                <a:gd name="connsiteX4" fmla="*/ 2465 w 151722"/>
                <a:gd name="connsiteY4" fmla="*/ 330810 h 684949"/>
                <a:gd name="connsiteX5" fmla="*/ 465 w 151722"/>
                <a:gd name="connsiteY5" fmla="*/ 242132 h 684949"/>
                <a:gd name="connsiteX6" fmla="*/ 465 w 151722"/>
                <a:gd name="connsiteY6" fmla="*/ 153455 h 684949"/>
                <a:gd name="connsiteX7" fmla="*/ 3037 w 151722"/>
                <a:gd name="connsiteY7" fmla="*/ 108973 h 684949"/>
                <a:gd name="connsiteX8" fmla="*/ 9228 w 151722"/>
                <a:gd name="connsiteY8" fmla="*/ 64682 h 684949"/>
                <a:gd name="connsiteX9" fmla="*/ 24373 w 151722"/>
                <a:gd name="connsiteY9" fmla="*/ 21819 h 684949"/>
                <a:gd name="connsiteX10" fmla="*/ 41232 w 151722"/>
                <a:gd name="connsiteY10" fmla="*/ 4769 h 684949"/>
                <a:gd name="connsiteX11" fmla="*/ 65330 w 151722"/>
                <a:gd name="connsiteY11" fmla="*/ 388 h 684949"/>
                <a:gd name="connsiteX12" fmla="*/ 65330 w 151722"/>
                <a:gd name="connsiteY12" fmla="*/ 388 h 684949"/>
                <a:gd name="connsiteX13" fmla="*/ 84476 w 151722"/>
                <a:gd name="connsiteY13" fmla="*/ 10961 h 684949"/>
                <a:gd name="connsiteX14" fmla="*/ 96668 w 151722"/>
                <a:gd name="connsiteY14" fmla="*/ 27534 h 684949"/>
                <a:gd name="connsiteX15" fmla="*/ 110765 w 151722"/>
                <a:gd name="connsiteY15" fmla="*/ 64586 h 684949"/>
                <a:gd name="connsiteX16" fmla="*/ 124004 w 151722"/>
                <a:gd name="connsiteY16" fmla="*/ 141548 h 684949"/>
                <a:gd name="connsiteX17" fmla="*/ 129910 w 151722"/>
                <a:gd name="connsiteY17" fmla="*/ 219082 h 684949"/>
                <a:gd name="connsiteX18" fmla="*/ 133148 w 151722"/>
                <a:gd name="connsiteY18" fmla="*/ 296711 h 684949"/>
                <a:gd name="connsiteX19" fmla="*/ 138673 w 151722"/>
                <a:gd name="connsiteY19" fmla="*/ 451682 h 684949"/>
                <a:gd name="connsiteX20" fmla="*/ 151722 w 151722"/>
                <a:gd name="connsiteY20" fmla="*/ 605702 h 684949"/>
                <a:gd name="connsiteX21" fmla="*/ 136101 w 151722"/>
                <a:gd name="connsiteY21" fmla="*/ 607511 h 684949"/>
                <a:gd name="connsiteX22" fmla="*/ 131243 w 151722"/>
                <a:gd name="connsiteY22" fmla="*/ 529692 h 684949"/>
                <a:gd name="connsiteX23" fmla="*/ 128862 w 151722"/>
                <a:gd name="connsiteY23" fmla="*/ 452063 h 684949"/>
                <a:gd name="connsiteX24" fmla="*/ 125719 w 151722"/>
                <a:gd name="connsiteY24" fmla="*/ 296901 h 684949"/>
                <a:gd name="connsiteX25" fmla="*/ 116194 w 151722"/>
                <a:gd name="connsiteY25" fmla="*/ 142501 h 684949"/>
                <a:gd name="connsiteX26" fmla="*/ 102764 w 151722"/>
                <a:gd name="connsiteY26" fmla="*/ 66301 h 684949"/>
                <a:gd name="connsiteX27" fmla="*/ 89238 w 151722"/>
                <a:gd name="connsiteY27" fmla="*/ 31154 h 684949"/>
                <a:gd name="connsiteX28" fmla="*/ 63902 w 151722"/>
                <a:gd name="connsiteY28" fmla="*/ 8198 h 684949"/>
                <a:gd name="connsiteX29" fmla="*/ 63902 w 151722"/>
                <a:gd name="connsiteY29" fmla="*/ 8198 h 684949"/>
                <a:gd name="connsiteX30" fmla="*/ 44852 w 151722"/>
                <a:gd name="connsiteY30" fmla="*/ 11342 h 684949"/>
                <a:gd name="connsiteX31" fmla="*/ 30850 w 151722"/>
                <a:gd name="connsiteY31" fmla="*/ 25343 h 684949"/>
                <a:gd name="connsiteX32" fmla="*/ 16277 w 151722"/>
                <a:gd name="connsiteY32" fmla="*/ 65444 h 684949"/>
                <a:gd name="connsiteX33" fmla="*/ 9800 w 151722"/>
                <a:gd name="connsiteY33" fmla="*/ 108878 h 684949"/>
                <a:gd name="connsiteX34" fmla="*/ 6847 w 151722"/>
                <a:gd name="connsiteY34" fmla="*/ 152788 h 684949"/>
                <a:gd name="connsiteX35" fmla="*/ 5609 w 151722"/>
                <a:gd name="connsiteY35" fmla="*/ 241275 h 684949"/>
                <a:gd name="connsiteX36" fmla="*/ 7514 w 151722"/>
                <a:gd name="connsiteY36" fmla="*/ 329762 h 684949"/>
                <a:gd name="connsiteX37" fmla="*/ 10657 w 151722"/>
                <a:gd name="connsiteY37" fmla="*/ 418250 h 684949"/>
                <a:gd name="connsiteX38" fmla="*/ 13895 w 151722"/>
                <a:gd name="connsiteY38" fmla="*/ 506832 h 684949"/>
                <a:gd name="connsiteX39" fmla="*/ 16658 w 151722"/>
                <a:gd name="connsiteY39" fmla="*/ 595510 h 684949"/>
                <a:gd name="connsiteX40" fmla="*/ 18563 w 151722"/>
                <a:gd name="connsiteY40" fmla="*/ 684188 h 68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1722" h="684949">
                  <a:moveTo>
                    <a:pt x="4751" y="684950"/>
                  </a:moveTo>
                  <a:cubicBezTo>
                    <a:pt x="5704" y="655422"/>
                    <a:pt x="6466" y="625990"/>
                    <a:pt x="6752" y="596462"/>
                  </a:cubicBezTo>
                  <a:cubicBezTo>
                    <a:pt x="7037" y="566935"/>
                    <a:pt x="6752" y="537407"/>
                    <a:pt x="6752" y="507880"/>
                  </a:cubicBezTo>
                  <a:lnTo>
                    <a:pt x="4751" y="419393"/>
                  </a:lnTo>
                  <a:lnTo>
                    <a:pt x="2465" y="330810"/>
                  </a:lnTo>
                  <a:cubicBezTo>
                    <a:pt x="1608" y="301283"/>
                    <a:pt x="1037" y="271755"/>
                    <a:pt x="465" y="242132"/>
                  </a:cubicBezTo>
                  <a:cubicBezTo>
                    <a:pt x="-106" y="212510"/>
                    <a:pt x="-202" y="182982"/>
                    <a:pt x="465" y="153455"/>
                  </a:cubicBezTo>
                  <a:cubicBezTo>
                    <a:pt x="941" y="138596"/>
                    <a:pt x="1799" y="123832"/>
                    <a:pt x="3037" y="108973"/>
                  </a:cubicBezTo>
                  <a:cubicBezTo>
                    <a:pt x="4258" y="94103"/>
                    <a:pt x="6325" y="79316"/>
                    <a:pt x="9228" y="64682"/>
                  </a:cubicBezTo>
                  <a:cubicBezTo>
                    <a:pt x="11876" y="49656"/>
                    <a:pt x="16994" y="35173"/>
                    <a:pt x="24373" y="21819"/>
                  </a:cubicBezTo>
                  <a:cubicBezTo>
                    <a:pt x="28447" y="14791"/>
                    <a:pt x="34250" y="8921"/>
                    <a:pt x="41232" y="4769"/>
                  </a:cubicBezTo>
                  <a:cubicBezTo>
                    <a:pt x="48581" y="743"/>
                    <a:pt x="57035" y="-794"/>
                    <a:pt x="65330" y="388"/>
                  </a:cubicBezTo>
                  <a:lnTo>
                    <a:pt x="65330" y="388"/>
                  </a:lnTo>
                  <a:cubicBezTo>
                    <a:pt x="72574" y="2056"/>
                    <a:pt x="79206" y="5718"/>
                    <a:pt x="84476" y="10961"/>
                  </a:cubicBezTo>
                  <a:cubicBezTo>
                    <a:pt x="89332" y="15855"/>
                    <a:pt x="93440" y="21440"/>
                    <a:pt x="96668" y="27534"/>
                  </a:cubicBezTo>
                  <a:cubicBezTo>
                    <a:pt x="102824" y="39280"/>
                    <a:pt x="107557" y="51719"/>
                    <a:pt x="110765" y="64586"/>
                  </a:cubicBezTo>
                  <a:cubicBezTo>
                    <a:pt x="117092" y="89874"/>
                    <a:pt x="121517" y="115600"/>
                    <a:pt x="124004" y="141548"/>
                  </a:cubicBezTo>
                  <a:cubicBezTo>
                    <a:pt x="126767" y="167361"/>
                    <a:pt x="128576" y="193269"/>
                    <a:pt x="129910" y="219082"/>
                  </a:cubicBezTo>
                  <a:cubicBezTo>
                    <a:pt x="131243" y="244894"/>
                    <a:pt x="132386" y="270803"/>
                    <a:pt x="133148" y="296711"/>
                  </a:cubicBezTo>
                  <a:cubicBezTo>
                    <a:pt x="134863" y="348431"/>
                    <a:pt x="136482" y="400057"/>
                    <a:pt x="138673" y="451682"/>
                  </a:cubicBezTo>
                  <a:cubicBezTo>
                    <a:pt x="140864" y="503308"/>
                    <a:pt x="144388" y="554838"/>
                    <a:pt x="151722" y="605702"/>
                  </a:cubicBezTo>
                  <a:lnTo>
                    <a:pt x="136101" y="607511"/>
                  </a:lnTo>
                  <a:cubicBezTo>
                    <a:pt x="133625" y="581508"/>
                    <a:pt x="132291" y="555600"/>
                    <a:pt x="131243" y="529692"/>
                  </a:cubicBezTo>
                  <a:cubicBezTo>
                    <a:pt x="130196" y="503784"/>
                    <a:pt x="129338" y="477876"/>
                    <a:pt x="128862" y="452063"/>
                  </a:cubicBezTo>
                  <a:cubicBezTo>
                    <a:pt x="127529" y="400247"/>
                    <a:pt x="127338" y="348622"/>
                    <a:pt x="125719" y="296901"/>
                  </a:cubicBezTo>
                  <a:cubicBezTo>
                    <a:pt x="124100" y="245180"/>
                    <a:pt x="122004" y="193650"/>
                    <a:pt x="116194" y="142501"/>
                  </a:cubicBezTo>
                  <a:cubicBezTo>
                    <a:pt x="113685" y="116793"/>
                    <a:pt x="109195" y="91317"/>
                    <a:pt x="102764" y="66301"/>
                  </a:cubicBezTo>
                  <a:cubicBezTo>
                    <a:pt x="99656" y="54093"/>
                    <a:pt x="95116" y="42295"/>
                    <a:pt x="89238" y="31154"/>
                  </a:cubicBezTo>
                  <a:cubicBezTo>
                    <a:pt x="84276" y="20366"/>
                    <a:pt x="75124" y="12074"/>
                    <a:pt x="63902" y="8198"/>
                  </a:cubicBezTo>
                  <a:lnTo>
                    <a:pt x="63902" y="8198"/>
                  </a:lnTo>
                  <a:cubicBezTo>
                    <a:pt x="57379" y="7126"/>
                    <a:pt x="50684" y="8231"/>
                    <a:pt x="44852" y="11342"/>
                  </a:cubicBezTo>
                  <a:cubicBezTo>
                    <a:pt x="39069" y="14742"/>
                    <a:pt x="34250" y="19561"/>
                    <a:pt x="30850" y="25343"/>
                  </a:cubicBezTo>
                  <a:cubicBezTo>
                    <a:pt x="23862" y="37837"/>
                    <a:pt x="18941" y="51379"/>
                    <a:pt x="16277" y="65444"/>
                  </a:cubicBezTo>
                  <a:cubicBezTo>
                    <a:pt x="13346" y="79796"/>
                    <a:pt x="11184" y="94295"/>
                    <a:pt x="9800" y="108878"/>
                  </a:cubicBezTo>
                  <a:cubicBezTo>
                    <a:pt x="8371" y="123451"/>
                    <a:pt x="7418" y="138119"/>
                    <a:pt x="6847" y="152788"/>
                  </a:cubicBezTo>
                  <a:cubicBezTo>
                    <a:pt x="5609" y="182220"/>
                    <a:pt x="5418" y="211748"/>
                    <a:pt x="5609" y="241275"/>
                  </a:cubicBezTo>
                  <a:cubicBezTo>
                    <a:pt x="5799" y="270803"/>
                    <a:pt x="6656" y="300235"/>
                    <a:pt x="7514" y="329762"/>
                  </a:cubicBezTo>
                  <a:cubicBezTo>
                    <a:pt x="8371" y="359290"/>
                    <a:pt x="9514" y="388817"/>
                    <a:pt x="10657" y="418250"/>
                  </a:cubicBezTo>
                  <a:lnTo>
                    <a:pt x="13895" y="506832"/>
                  </a:lnTo>
                  <a:cubicBezTo>
                    <a:pt x="15038" y="536360"/>
                    <a:pt x="15959" y="565916"/>
                    <a:pt x="16658" y="595510"/>
                  </a:cubicBezTo>
                  <a:cubicBezTo>
                    <a:pt x="17515" y="625037"/>
                    <a:pt x="18277" y="654660"/>
                    <a:pt x="18563" y="684188"/>
                  </a:cubicBez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9F95C402-6118-4F28-8A91-148A3DDD2D09}"/>
                </a:ext>
              </a:extLst>
            </p:cNvPr>
            <p:cNvSpPr/>
            <p:nvPr/>
          </p:nvSpPr>
          <p:spPr>
            <a:xfrm>
              <a:off x="980145" y="2821330"/>
              <a:ext cx="180117" cy="160671"/>
            </a:xfrm>
            <a:custGeom>
              <a:avLst/>
              <a:gdLst>
                <a:gd name="connsiteX0" fmla="*/ 0 w 180117"/>
                <a:gd name="connsiteY0" fmla="*/ 104013 h 160671"/>
                <a:gd name="connsiteX1" fmla="*/ 117634 w 180117"/>
                <a:gd name="connsiteY1" fmla="*/ 159544 h 160671"/>
                <a:gd name="connsiteX2" fmla="*/ 180118 w 180117"/>
                <a:gd name="connsiteY2" fmla="*/ 0 h 16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117" h="160671">
                  <a:moveTo>
                    <a:pt x="0" y="104013"/>
                  </a:moveTo>
                  <a:cubicBezTo>
                    <a:pt x="0" y="104013"/>
                    <a:pt x="96488" y="170021"/>
                    <a:pt x="117634" y="159544"/>
                  </a:cubicBezTo>
                  <a:cubicBezTo>
                    <a:pt x="144590" y="146018"/>
                    <a:pt x="180118" y="0"/>
                    <a:pt x="180118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BA16C077-EABA-47AC-B4F0-36BADE819758}"/>
                </a:ext>
              </a:extLst>
            </p:cNvPr>
            <p:cNvSpPr/>
            <p:nvPr/>
          </p:nvSpPr>
          <p:spPr>
            <a:xfrm>
              <a:off x="909897" y="2578171"/>
              <a:ext cx="195788" cy="228205"/>
            </a:xfrm>
            <a:custGeom>
              <a:avLst/>
              <a:gdLst>
                <a:gd name="connsiteX0" fmla="*/ 2907 w 195788"/>
                <a:gd name="connsiteY0" fmla="*/ 50278 h 228205"/>
                <a:gd name="connsiteX1" fmla="*/ 185596 w 195788"/>
                <a:gd name="connsiteY1" fmla="*/ 228205 h 228205"/>
                <a:gd name="connsiteX2" fmla="*/ 195788 w 195788"/>
                <a:gd name="connsiteY2" fmla="*/ 211251 h 228205"/>
                <a:gd name="connsiteX3" fmla="*/ 157688 w 195788"/>
                <a:gd name="connsiteY3" fmla="*/ 153339 h 228205"/>
                <a:gd name="connsiteX4" fmla="*/ 5288 w 195788"/>
                <a:gd name="connsiteY4" fmla="*/ 8749 h 228205"/>
                <a:gd name="connsiteX5" fmla="*/ 2907 w 195788"/>
                <a:gd name="connsiteY5" fmla="*/ 50278 h 22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788" h="228205">
                  <a:moveTo>
                    <a:pt x="2907" y="50278"/>
                  </a:moveTo>
                  <a:cubicBezTo>
                    <a:pt x="2907" y="50278"/>
                    <a:pt x="48817" y="128002"/>
                    <a:pt x="185596" y="228205"/>
                  </a:cubicBezTo>
                  <a:lnTo>
                    <a:pt x="195788" y="211251"/>
                  </a:lnTo>
                  <a:cubicBezTo>
                    <a:pt x="181918" y="192744"/>
                    <a:pt x="169194" y="173398"/>
                    <a:pt x="157688" y="153339"/>
                  </a:cubicBezTo>
                  <a:cubicBezTo>
                    <a:pt x="117397" y="82663"/>
                    <a:pt x="53580" y="-32685"/>
                    <a:pt x="5288" y="8749"/>
                  </a:cubicBezTo>
                  <a:cubicBezTo>
                    <a:pt x="-817" y="21771"/>
                    <a:pt x="-1670" y="36644"/>
                    <a:pt x="2907" y="50278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475287CD-65FC-4874-9C7C-865DBE74648E}"/>
                </a:ext>
              </a:extLst>
            </p:cNvPr>
            <p:cNvSpPr/>
            <p:nvPr/>
          </p:nvSpPr>
          <p:spPr>
            <a:xfrm>
              <a:off x="1087683" y="2767853"/>
              <a:ext cx="68761" cy="48175"/>
            </a:xfrm>
            <a:custGeom>
              <a:avLst/>
              <a:gdLst>
                <a:gd name="connsiteX0" fmla="*/ 0 w 68761"/>
                <a:gd name="connsiteY0" fmla="*/ 18044 h 48175"/>
                <a:gd name="connsiteX1" fmla="*/ 59150 w 68761"/>
                <a:gd name="connsiteY1" fmla="*/ 42 h 48175"/>
                <a:gd name="connsiteX2" fmla="*/ 64865 w 68761"/>
                <a:gd name="connsiteY2" fmla="*/ 10138 h 48175"/>
                <a:gd name="connsiteX3" fmla="*/ 65913 w 68761"/>
                <a:gd name="connsiteY3" fmla="*/ 24140 h 48175"/>
                <a:gd name="connsiteX4" fmla="*/ 63817 w 68761"/>
                <a:gd name="connsiteY4" fmla="*/ 37189 h 48175"/>
                <a:gd name="connsiteX5" fmla="*/ 57436 w 68761"/>
                <a:gd name="connsiteY5" fmla="*/ 47286 h 48175"/>
                <a:gd name="connsiteX6" fmla="*/ 4572 w 68761"/>
                <a:gd name="connsiteY6" fmla="*/ 3585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61" h="48175">
                  <a:moveTo>
                    <a:pt x="0" y="18044"/>
                  </a:moveTo>
                  <a:cubicBezTo>
                    <a:pt x="0" y="18044"/>
                    <a:pt x="42481" y="-1006"/>
                    <a:pt x="59150" y="42"/>
                  </a:cubicBezTo>
                  <a:cubicBezTo>
                    <a:pt x="67913" y="42"/>
                    <a:pt x="67437" y="6423"/>
                    <a:pt x="64865" y="10138"/>
                  </a:cubicBezTo>
                  <a:cubicBezTo>
                    <a:pt x="69247" y="11757"/>
                    <a:pt x="70390" y="16996"/>
                    <a:pt x="65913" y="24140"/>
                  </a:cubicBezTo>
                  <a:cubicBezTo>
                    <a:pt x="68866" y="28140"/>
                    <a:pt x="68580" y="30236"/>
                    <a:pt x="63817" y="37189"/>
                  </a:cubicBezTo>
                  <a:cubicBezTo>
                    <a:pt x="66008" y="42714"/>
                    <a:pt x="63817" y="46714"/>
                    <a:pt x="57436" y="47286"/>
                  </a:cubicBezTo>
                  <a:cubicBezTo>
                    <a:pt x="39008" y="50143"/>
                    <a:pt x="20175" y="46066"/>
                    <a:pt x="4572" y="35856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79AD0E13-FBF8-4209-B700-07AA65AAE6E1}"/>
                </a:ext>
              </a:extLst>
            </p:cNvPr>
            <p:cNvSpPr/>
            <p:nvPr/>
          </p:nvSpPr>
          <p:spPr>
            <a:xfrm>
              <a:off x="908820" y="2243258"/>
              <a:ext cx="180261" cy="391202"/>
            </a:xfrm>
            <a:custGeom>
              <a:avLst/>
              <a:gdLst>
                <a:gd name="connsiteX0" fmla="*/ 154192 w 180261"/>
                <a:gd name="connsiteY0" fmla="*/ 0 h 391202"/>
                <a:gd name="connsiteX1" fmla="*/ 98757 w 180261"/>
                <a:gd name="connsiteY1" fmla="*/ 62674 h 391202"/>
                <a:gd name="connsiteX2" fmla="*/ 5793 w 180261"/>
                <a:gd name="connsiteY2" fmla="*/ 385382 h 391202"/>
                <a:gd name="connsiteX3" fmla="*/ 148668 w 180261"/>
                <a:gd name="connsiteY3" fmla="*/ 178784 h 391202"/>
                <a:gd name="connsiteX4" fmla="*/ 154192 w 180261"/>
                <a:gd name="connsiteY4" fmla="*/ 0 h 39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261" h="391202">
                  <a:moveTo>
                    <a:pt x="154192" y="0"/>
                  </a:moveTo>
                  <a:cubicBezTo>
                    <a:pt x="154192" y="0"/>
                    <a:pt x="122665" y="4000"/>
                    <a:pt x="98757" y="62674"/>
                  </a:cubicBezTo>
                  <a:cubicBezTo>
                    <a:pt x="56561" y="166211"/>
                    <a:pt x="-21925" y="361093"/>
                    <a:pt x="5793" y="385382"/>
                  </a:cubicBezTo>
                  <a:cubicBezTo>
                    <a:pt x="59609" y="432435"/>
                    <a:pt x="148668" y="178784"/>
                    <a:pt x="148668" y="178784"/>
                  </a:cubicBezTo>
                  <a:cubicBezTo>
                    <a:pt x="148668" y="178784"/>
                    <a:pt x="215914" y="40576"/>
                    <a:pt x="154192" y="0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C3E9369A-B60D-4A8F-AD99-6B0D47B74893}"/>
                </a:ext>
              </a:extLst>
            </p:cNvPr>
            <p:cNvSpPr/>
            <p:nvPr/>
          </p:nvSpPr>
          <p:spPr>
            <a:xfrm>
              <a:off x="729162" y="1822387"/>
              <a:ext cx="323087" cy="560309"/>
            </a:xfrm>
            <a:custGeom>
              <a:avLst/>
              <a:gdLst>
                <a:gd name="connsiteX0" fmla="*/ 100298 w 323087"/>
                <a:gd name="connsiteY0" fmla="*/ 3009 h 560309"/>
                <a:gd name="connsiteX1" fmla="*/ 0 w 323087"/>
                <a:gd name="connsiteY1" fmla="*/ 386010 h 560309"/>
                <a:gd name="connsiteX2" fmla="*/ 134398 w 323087"/>
                <a:gd name="connsiteY2" fmla="*/ 540791 h 560309"/>
                <a:gd name="connsiteX3" fmla="*/ 323088 w 323087"/>
                <a:gd name="connsiteY3" fmla="*/ 542886 h 560309"/>
                <a:gd name="connsiteX4" fmla="*/ 264795 w 323087"/>
                <a:gd name="connsiteY4" fmla="*/ 517264 h 560309"/>
                <a:gd name="connsiteX5" fmla="*/ 259652 w 323087"/>
                <a:gd name="connsiteY5" fmla="*/ 218655 h 560309"/>
                <a:gd name="connsiteX6" fmla="*/ 100298 w 323087"/>
                <a:gd name="connsiteY6" fmla="*/ 3009 h 56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087" h="560309">
                  <a:moveTo>
                    <a:pt x="100298" y="3009"/>
                  </a:moveTo>
                  <a:cubicBezTo>
                    <a:pt x="85630" y="35966"/>
                    <a:pt x="67437" y="464019"/>
                    <a:pt x="0" y="386010"/>
                  </a:cubicBezTo>
                  <a:cubicBezTo>
                    <a:pt x="0" y="386010"/>
                    <a:pt x="17717" y="490785"/>
                    <a:pt x="134398" y="540791"/>
                  </a:cubicBezTo>
                  <a:cubicBezTo>
                    <a:pt x="180213" y="560508"/>
                    <a:pt x="279749" y="571557"/>
                    <a:pt x="323088" y="542886"/>
                  </a:cubicBezTo>
                  <a:cubicBezTo>
                    <a:pt x="323088" y="542886"/>
                    <a:pt x="277368" y="550602"/>
                    <a:pt x="264795" y="517264"/>
                  </a:cubicBezTo>
                  <a:cubicBezTo>
                    <a:pt x="244412" y="463162"/>
                    <a:pt x="259652" y="218655"/>
                    <a:pt x="259652" y="218655"/>
                  </a:cubicBezTo>
                  <a:cubicBezTo>
                    <a:pt x="259652" y="218655"/>
                    <a:pt x="114872" y="-29947"/>
                    <a:pt x="100298" y="3009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074025D6-869B-4667-BABC-ACA11A93D98F}"/>
                </a:ext>
              </a:extLst>
            </p:cNvPr>
            <p:cNvSpPr/>
            <p:nvPr/>
          </p:nvSpPr>
          <p:spPr>
            <a:xfrm>
              <a:off x="967953" y="1995142"/>
              <a:ext cx="41742" cy="66653"/>
            </a:xfrm>
            <a:custGeom>
              <a:avLst/>
              <a:gdLst>
                <a:gd name="connsiteX0" fmla="*/ 13907 w 41742"/>
                <a:gd name="connsiteY0" fmla="*/ 60378 h 66653"/>
                <a:gd name="connsiteX1" fmla="*/ 40672 w 41742"/>
                <a:gd name="connsiteY1" fmla="*/ 52758 h 66653"/>
                <a:gd name="connsiteX2" fmla="*/ 27813 w 41742"/>
                <a:gd name="connsiteY2" fmla="*/ 6276 h 66653"/>
                <a:gd name="connsiteX3" fmla="*/ 1048 w 41742"/>
                <a:gd name="connsiteY3" fmla="*/ 13896 h 66653"/>
                <a:gd name="connsiteX4" fmla="*/ 13907 w 41742"/>
                <a:gd name="connsiteY4" fmla="*/ 60378 h 6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42" h="66653">
                  <a:moveTo>
                    <a:pt x="13907" y="60378"/>
                  </a:moveTo>
                  <a:cubicBezTo>
                    <a:pt x="24860" y="71141"/>
                    <a:pt x="36862" y="67712"/>
                    <a:pt x="40672" y="52758"/>
                  </a:cubicBezTo>
                  <a:cubicBezTo>
                    <a:pt x="44067" y="36099"/>
                    <a:pt x="39287" y="18821"/>
                    <a:pt x="27813" y="6276"/>
                  </a:cubicBezTo>
                  <a:cubicBezTo>
                    <a:pt x="16859" y="-4487"/>
                    <a:pt x="4858" y="-1058"/>
                    <a:pt x="1048" y="13896"/>
                  </a:cubicBezTo>
                  <a:cubicBezTo>
                    <a:pt x="-2299" y="30553"/>
                    <a:pt x="2475" y="47810"/>
                    <a:pt x="13907" y="60378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D2529F68-8D46-4163-9F36-CBF133365D93}"/>
                </a:ext>
              </a:extLst>
            </p:cNvPr>
            <p:cNvSpPr/>
            <p:nvPr/>
          </p:nvSpPr>
          <p:spPr>
            <a:xfrm>
              <a:off x="978444" y="2011519"/>
              <a:ext cx="21363" cy="34091"/>
            </a:xfrm>
            <a:custGeom>
              <a:avLst/>
              <a:gdLst>
                <a:gd name="connsiteX0" fmla="*/ 7130 w 21363"/>
                <a:gd name="connsiteY0" fmla="*/ 30857 h 34091"/>
                <a:gd name="connsiteX1" fmla="*/ 20846 w 21363"/>
                <a:gd name="connsiteY1" fmla="*/ 26952 h 34091"/>
                <a:gd name="connsiteX2" fmla="*/ 14179 w 21363"/>
                <a:gd name="connsiteY2" fmla="*/ 3234 h 34091"/>
                <a:gd name="connsiteX3" fmla="*/ 558 w 21363"/>
                <a:gd name="connsiteY3" fmla="*/ 7140 h 34091"/>
                <a:gd name="connsiteX4" fmla="*/ 7130 w 21363"/>
                <a:gd name="connsiteY4" fmla="*/ 30857 h 3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3" h="34091">
                  <a:moveTo>
                    <a:pt x="7130" y="30857"/>
                  </a:moveTo>
                  <a:cubicBezTo>
                    <a:pt x="12750" y="36381"/>
                    <a:pt x="18846" y="34667"/>
                    <a:pt x="20846" y="26952"/>
                  </a:cubicBezTo>
                  <a:cubicBezTo>
                    <a:pt x="22530" y="18435"/>
                    <a:pt x="20054" y="9626"/>
                    <a:pt x="14179" y="3234"/>
                  </a:cubicBezTo>
                  <a:cubicBezTo>
                    <a:pt x="8654" y="-2290"/>
                    <a:pt x="2463" y="-576"/>
                    <a:pt x="558" y="7140"/>
                  </a:cubicBezTo>
                  <a:cubicBezTo>
                    <a:pt x="-1199" y="15643"/>
                    <a:pt x="1247" y="24471"/>
                    <a:pt x="7130" y="30857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6692806A-2C69-43A8-BA66-DAA7539364D7}"/>
                </a:ext>
              </a:extLst>
            </p:cNvPr>
            <p:cNvSpPr/>
            <p:nvPr/>
          </p:nvSpPr>
          <p:spPr>
            <a:xfrm>
              <a:off x="985098" y="2062569"/>
              <a:ext cx="15239" cy="46577"/>
            </a:xfrm>
            <a:custGeom>
              <a:avLst/>
              <a:gdLst>
                <a:gd name="connsiteX0" fmla="*/ 15240 w 15239"/>
                <a:gd name="connsiteY0" fmla="*/ 28575 h 46577"/>
                <a:gd name="connsiteX1" fmla="*/ 7620 w 15239"/>
                <a:gd name="connsiteY1" fmla="*/ 46577 h 46577"/>
                <a:gd name="connsiteX2" fmla="*/ 0 w 15239"/>
                <a:gd name="connsiteY2" fmla="*/ 28575 h 46577"/>
                <a:gd name="connsiteX3" fmla="*/ 7620 w 15239"/>
                <a:gd name="connsiteY3" fmla="*/ 0 h 46577"/>
                <a:gd name="connsiteX4" fmla="*/ 15240 w 15239"/>
                <a:gd name="connsiteY4" fmla="*/ 28575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39" h="46577">
                  <a:moveTo>
                    <a:pt x="15240" y="28575"/>
                  </a:moveTo>
                  <a:cubicBezTo>
                    <a:pt x="15240" y="41434"/>
                    <a:pt x="11811" y="46577"/>
                    <a:pt x="7620" y="46577"/>
                  </a:cubicBezTo>
                  <a:cubicBezTo>
                    <a:pt x="3429" y="46577"/>
                    <a:pt x="0" y="41434"/>
                    <a:pt x="0" y="28575"/>
                  </a:cubicBezTo>
                  <a:cubicBezTo>
                    <a:pt x="0" y="15716"/>
                    <a:pt x="3429" y="0"/>
                    <a:pt x="7620" y="0"/>
                  </a:cubicBezTo>
                  <a:cubicBezTo>
                    <a:pt x="11811" y="0"/>
                    <a:pt x="15240" y="15716"/>
                    <a:pt x="15240" y="2857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2F4480F9-0C8B-4F25-BFC9-4B5034807154}"/>
                </a:ext>
              </a:extLst>
            </p:cNvPr>
            <p:cNvSpPr/>
            <p:nvPr/>
          </p:nvSpPr>
          <p:spPr>
            <a:xfrm>
              <a:off x="987003" y="2052377"/>
              <a:ext cx="11430" cy="11430"/>
            </a:xfrm>
            <a:custGeom>
              <a:avLst/>
              <a:gdLst>
                <a:gd name="connsiteX0" fmla="*/ 11430 w 11430"/>
                <a:gd name="connsiteY0" fmla="*/ 5715 h 11430"/>
                <a:gd name="connsiteX1" fmla="*/ 5715 w 11430"/>
                <a:gd name="connsiteY1" fmla="*/ 11430 h 11430"/>
                <a:gd name="connsiteX2" fmla="*/ 0 w 11430"/>
                <a:gd name="connsiteY2" fmla="*/ 5715 h 11430"/>
                <a:gd name="connsiteX3" fmla="*/ 5715 w 11430"/>
                <a:gd name="connsiteY3" fmla="*/ 0 h 11430"/>
                <a:gd name="connsiteX4" fmla="*/ 11430 w 11430"/>
                <a:gd name="connsiteY4" fmla="*/ 5715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" h="11430">
                  <a:moveTo>
                    <a:pt x="11430" y="5715"/>
                  </a:moveTo>
                  <a:cubicBezTo>
                    <a:pt x="11430" y="8871"/>
                    <a:pt x="8871" y="11430"/>
                    <a:pt x="5715" y="11430"/>
                  </a:cubicBezTo>
                  <a:cubicBezTo>
                    <a:pt x="2559" y="11430"/>
                    <a:pt x="0" y="8871"/>
                    <a:pt x="0" y="5715"/>
                  </a:cubicBezTo>
                  <a:cubicBezTo>
                    <a:pt x="0" y="2559"/>
                    <a:pt x="2559" y="0"/>
                    <a:pt x="5715" y="0"/>
                  </a:cubicBezTo>
                  <a:cubicBezTo>
                    <a:pt x="8871" y="0"/>
                    <a:pt x="11430" y="2559"/>
                    <a:pt x="11430" y="571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E008DC99-07E5-4B62-86B0-21E611DFD659}"/>
                </a:ext>
              </a:extLst>
            </p:cNvPr>
            <p:cNvSpPr/>
            <p:nvPr/>
          </p:nvSpPr>
          <p:spPr>
            <a:xfrm>
              <a:off x="836828" y="1769763"/>
              <a:ext cx="285239" cy="141727"/>
            </a:xfrm>
            <a:custGeom>
              <a:avLst/>
              <a:gdLst>
                <a:gd name="connsiteX0" fmla="*/ 41971 w 285239"/>
                <a:gd name="connsiteY0" fmla="*/ 117640 h 141727"/>
                <a:gd name="connsiteX1" fmla="*/ 3871 w 285239"/>
                <a:gd name="connsiteY1" fmla="*/ 39440 h 141727"/>
                <a:gd name="connsiteX2" fmla="*/ 284192 w 285239"/>
                <a:gd name="connsiteY2" fmla="*/ 72587 h 141727"/>
                <a:gd name="connsiteX3" fmla="*/ 285240 w 285239"/>
                <a:gd name="connsiteY3" fmla="*/ 74587 h 141727"/>
                <a:gd name="connsiteX4" fmla="*/ 245616 w 285239"/>
                <a:gd name="connsiteY4" fmla="*/ 117164 h 141727"/>
                <a:gd name="connsiteX5" fmla="*/ 41971 w 285239"/>
                <a:gd name="connsiteY5" fmla="*/ 117640 h 14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239" h="141727">
                  <a:moveTo>
                    <a:pt x="41971" y="117640"/>
                  </a:moveTo>
                  <a:cubicBezTo>
                    <a:pt x="5395" y="96495"/>
                    <a:pt x="-7178" y="66682"/>
                    <a:pt x="3871" y="39440"/>
                  </a:cubicBezTo>
                  <a:cubicBezTo>
                    <a:pt x="69308" y="-26568"/>
                    <a:pt x="240948" y="-5804"/>
                    <a:pt x="284192" y="72587"/>
                  </a:cubicBezTo>
                  <a:lnTo>
                    <a:pt x="285240" y="74587"/>
                  </a:lnTo>
                  <a:cubicBezTo>
                    <a:pt x="277516" y="93040"/>
                    <a:pt x="263467" y="108135"/>
                    <a:pt x="245616" y="117164"/>
                  </a:cubicBezTo>
                  <a:cubicBezTo>
                    <a:pt x="189228" y="149740"/>
                    <a:pt x="98073" y="149930"/>
                    <a:pt x="41971" y="11764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sp>
        <p:nvSpPr>
          <p:cNvPr id="888" name="1">
            <a:extLst>
              <a:ext uri="{FF2B5EF4-FFF2-40B4-BE49-F238E27FC236}">
                <a16:creationId xmlns:a16="http://schemas.microsoft.com/office/drawing/2014/main" id="{B6DBF1EF-A439-4534-849B-E017C59910AB}"/>
              </a:ext>
            </a:extLst>
          </p:cNvPr>
          <p:cNvSpPr txBox="1"/>
          <p:nvPr/>
        </p:nvSpPr>
        <p:spPr>
          <a:xfrm>
            <a:off x="4744351" y="5203838"/>
            <a:ext cx="2290980" cy="65898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mart Mirror uses AR to render apparel looks</a:t>
            </a:r>
          </a:p>
        </p:txBody>
      </p:sp>
      <p:pic>
        <p:nvPicPr>
          <p:cNvPr id="689" name="sensor" descr="Wireless">
            <a:extLst>
              <a:ext uri="{FF2B5EF4-FFF2-40B4-BE49-F238E27FC236}">
                <a16:creationId xmlns:a16="http://schemas.microsoft.com/office/drawing/2014/main" id="{F3EE480B-15DF-469B-91D2-970FA5C681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54195">
            <a:off x="10216915" y="3730028"/>
            <a:ext cx="691624" cy="691624"/>
          </a:xfrm>
          <a:prstGeom prst="rect">
            <a:avLst/>
          </a:prstGeom>
        </p:spPr>
      </p:pic>
      <p:grpSp>
        <p:nvGrpSpPr>
          <p:cNvPr id="588" name="clerk">
            <a:extLst>
              <a:ext uri="{FF2B5EF4-FFF2-40B4-BE49-F238E27FC236}">
                <a16:creationId xmlns:a16="http://schemas.microsoft.com/office/drawing/2014/main" id="{D50E91CD-DAD9-4BA9-B9FF-C635526071C7}"/>
              </a:ext>
            </a:extLst>
          </p:cNvPr>
          <p:cNvGrpSpPr>
            <a:grpSpLocks noChangeAspect="1"/>
          </p:cNvGrpSpPr>
          <p:nvPr/>
        </p:nvGrpSpPr>
        <p:grpSpPr>
          <a:xfrm>
            <a:off x="10749843" y="3943266"/>
            <a:ext cx="957738" cy="2839519"/>
            <a:chOff x="7970435" y="-1204461"/>
            <a:chExt cx="614904" cy="1823084"/>
          </a:xfrm>
        </p:grpSpPr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B054EA9C-1017-4DED-A584-898789B481C5}"/>
                </a:ext>
              </a:extLst>
            </p:cNvPr>
            <p:cNvSpPr/>
            <p:nvPr/>
          </p:nvSpPr>
          <p:spPr>
            <a:xfrm>
              <a:off x="8377510" y="573427"/>
              <a:ext cx="5387" cy="28889"/>
            </a:xfrm>
            <a:custGeom>
              <a:avLst/>
              <a:gdLst>
                <a:gd name="connsiteX0" fmla="*/ 4138 w 5387"/>
                <a:gd name="connsiteY0" fmla="*/ 28890 h 28889"/>
                <a:gd name="connsiteX1" fmla="*/ 2108 w 5387"/>
                <a:gd name="connsiteY1" fmla="*/ 27406 h 28889"/>
                <a:gd name="connsiteX2" fmla="*/ 0 w 5387"/>
                <a:gd name="connsiteY2" fmla="*/ 6168 h 28889"/>
                <a:gd name="connsiteX3" fmla="*/ 3358 w 5387"/>
                <a:gd name="connsiteY3" fmla="*/ 0 h 28889"/>
                <a:gd name="connsiteX4" fmla="*/ 5388 w 5387"/>
                <a:gd name="connsiteY4" fmla="*/ 3435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7" h="28889">
                  <a:moveTo>
                    <a:pt x="4138" y="28890"/>
                  </a:moveTo>
                  <a:lnTo>
                    <a:pt x="2108" y="27406"/>
                  </a:lnTo>
                  <a:cubicBezTo>
                    <a:pt x="690" y="20418"/>
                    <a:pt x="-15" y="13297"/>
                    <a:pt x="0" y="6168"/>
                  </a:cubicBezTo>
                  <a:cubicBezTo>
                    <a:pt x="0" y="5778"/>
                    <a:pt x="3358" y="0"/>
                    <a:pt x="3358" y="0"/>
                  </a:cubicBezTo>
                  <a:lnTo>
                    <a:pt x="5388" y="3435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16800E8C-4912-47C0-A4F7-BB072A41553C}"/>
                </a:ext>
              </a:extLst>
            </p:cNvPr>
            <p:cNvSpPr/>
            <p:nvPr/>
          </p:nvSpPr>
          <p:spPr>
            <a:xfrm>
              <a:off x="8378760" y="553985"/>
              <a:ext cx="13664" cy="48487"/>
            </a:xfrm>
            <a:custGeom>
              <a:avLst/>
              <a:gdLst>
                <a:gd name="connsiteX0" fmla="*/ 13664 w 13664"/>
                <a:gd name="connsiteY0" fmla="*/ 0 h 48487"/>
                <a:gd name="connsiteX1" fmla="*/ 5856 w 13664"/>
                <a:gd name="connsiteY1" fmla="*/ 46848 h 48487"/>
                <a:gd name="connsiteX2" fmla="*/ 3201 w 13664"/>
                <a:gd name="connsiteY2" fmla="*/ 48488 h 48487"/>
                <a:gd name="connsiteX3" fmla="*/ 2577 w 13664"/>
                <a:gd name="connsiteY3" fmla="*/ 23346 h 48487"/>
                <a:gd name="connsiteX4" fmla="*/ 0 w 13664"/>
                <a:gd name="connsiteY4" fmla="*/ 20067 h 48487"/>
                <a:gd name="connsiteX5" fmla="*/ 2577 w 13664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64" h="48487">
                  <a:moveTo>
                    <a:pt x="13664" y="0"/>
                  </a:moveTo>
                  <a:cubicBezTo>
                    <a:pt x="10257" y="15468"/>
                    <a:pt x="7651" y="31107"/>
                    <a:pt x="5856" y="46848"/>
                  </a:cubicBezTo>
                  <a:lnTo>
                    <a:pt x="3201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577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FCB12FAB-E549-451A-A41D-811289326F89}"/>
                </a:ext>
              </a:extLst>
            </p:cNvPr>
            <p:cNvSpPr/>
            <p:nvPr/>
          </p:nvSpPr>
          <p:spPr>
            <a:xfrm>
              <a:off x="8322022" y="524782"/>
              <a:ext cx="64467" cy="93841"/>
            </a:xfrm>
            <a:custGeom>
              <a:avLst/>
              <a:gdLst>
                <a:gd name="connsiteX0" fmla="*/ 64468 w 64467"/>
                <a:gd name="connsiteY0" fmla="*/ 7419 h 93841"/>
                <a:gd name="connsiteX1" fmla="*/ 43855 w 64467"/>
                <a:gd name="connsiteY1" fmla="*/ 85967 h 93841"/>
                <a:gd name="connsiteX2" fmla="*/ 5439 w 64467"/>
                <a:gd name="connsiteY2" fmla="*/ 93229 h 93841"/>
                <a:gd name="connsiteX3" fmla="*/ 15668 w 64467"/>
                <a:gd name="connsiteY3" fmla="*/ 67072 h 93841"/>
                <a:gd name="connsiteX4" fmla="*/ 45182 w 64467"/>
                <a:gd name="connsiteY4" fmla="*/ 3515 h 93841"/>
                <a:gd name="connsiteX5" fmla="*/ 64468 w 64467"/>
                <a:gd name="connsiteY5" fmla="*/ 7419 h 9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67" h="93841">
                  <a:moveTo>
                    <a:pt x="64468" y="7419"/>
                  </a:moveTo>
                  <a:cubicBezTo>
                    <a:pt x="64468" y="7419"/>
                    <a:pt x="61110" y="66525"/>
                    <a:pt x="43855" y="85967"/>
                  </a:cubicBezTo>
                  <a:cubicBezTo>
                    <a:pt x="39248" y="91121"/>
                    <a:pt x="12232" y="95493"/>
                    <a:pt x="5439" y="93229"/>
                  </a:cubicBezTo>
                  <a:cubicBezTo>
                    <a:pt x="-6429" y="89169"/>
                    <a:pt x="3019" y="82922"/>
                    <a:pt x="15668" y="67072"/>
                  </a:cubicBezTo>
                  <a:cubicBezTo>
                    <a:pt x="32845" y="31077"/>
                    <a:pt x="42605" y="23581"/>
                    <a:pt x="45182" y="3515"/>
                  </a:cubicBezTo>
                  <a:cubicBezTo>
                    <a:pt x="48149" y="-6245"/>
                    <a:pt x="64468" y="7419"/>
                    <a:pt x="64468" y="7419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A59FCE82-C871-45D1-A87A-182C75FB608B}"/>
                </a:ext>
              </a:extLst>
            </p:cNvPr>
            <p:cNvSpPr/>
            <p:nvPr/>
          </p:nvSpPr>
          <p:spPr>
            <a:xfrm>
              <a:off x="8338194" y="517569"/>
              <a:ext cx="48295" cy="81029"/>
            </a:xfrm>
            <a:custGeom>
              <a:avLst/>
              <a:gdLst>
                <a:gd name="connsiteX0" fmla="*/ 48296 w 48295"/>
                <a:gd name="connsiteY0" fmla="*/ 14631 h 81029"/>
                <a:gd name="connsiteX1" fmla="*/ 2151 w 48295"/>
                <a:gd name="connsiteY1" fmla="*/ 79985 h 81029"/>
                <a:gd name="connsiteX2" fmla="*/ 28385 w 48295"/>
                <a:gd name="connsiteY2" fmla="*/ 1904 h 81029"/>
                <a:gd name="connsiteX3" fmla="*/ 48296 w 48295"/>
                <a:gd name="connsiteY3" fmla="*/ 14631 h 8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95" h="81029">
                  <a:moveTo>
                    <a:pt x="48296" y="14631"/>
                  </a:moveTo>
                  <a:cubicBezTo>
                    <a:pt x="48296" y="14631"/>
                    <a:pt x="31977" y="90760"/>
                    <a:pt x="2151" y="79985"/>
                  </a:cubicBezTo>
                  <a:cubicBezTo>
                    <a:pt x="-8937" y="76159"/>
                    <a:pt x="26355" y="39383"/>
                    <a:pt x="28385" y="1904"/>
                  </a:cubicBezTo>
                  <a:cubicBezTo>
                    <a:pt x="28385" y="-6294"/>
                    <a:pt x="48296" y="14631"/>
                    <a:pt x="48296" y="146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585C56AB-600C-4A03-80D8-248583C25029}"/>
                </a:ext>
              </a:extLst>
            </p:cNvPr>
            <p:cNvSpPr/>
            <p:nvPr/>
          </p:nvSpPr>
          <p:spPr>
            <a:xfrm>
              <a:off x="8382039" y="532201"/>
              <a:ext cx="10384" cy="35370"/>
            </a:xfrm>
            <a:custGeom>
              <a:avLst/>
              <a:gdLst>
                <a:gd name="connsiteX0" fmla="*/ 4451 w 10384"/>
                <a:gd name="connsiteY0" fmla="*/ 0 h 35370"/>
                <a:gd name="connsiteX1" fmla="*/ 10385 w 10384"/>
                <a:gd name="connsiteY1" fmla="*/ 21784 h 35370"/>
                <a:gd name="connsiteX2" fmla="*/ 0 w 10384"/>
                <a:gd name="connsiteY2" fmla="*/ 35370 h 3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84" h="35370">
                  <a:moveTo>
                    <a:pt x="4451" y="0"/>
                  </a:moveTo>
                  <a:cubicBezTo>
                    <a:pt x="7812" y="6809"/>
                    <a:pt x="9826" y="14211"/>
                    <a:pt x="10385" y="21784"/>
                  </a:cubicBezTo>
                  <a:cubicBezTo>
                    <a:pt x="9057" y="27875"/>
                    <a:pt x="7652" y="26157"/>
                    <a:pt x="0" y="35370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D2E810CE-57F2-4846-9450-B50BEDEB92C8}"/>
                </a:ext>
              </a:extLst>
            </p:cNvPr>
            <p:cNvSpPr/>
            <p:nvPr/>
          </p:nvSpPr>
          <p:spPr>
            <a:xfrm>
              <a:off x="8290763" y="523378"/>
              <a:ext cx="5388" cy="28889"/>
            </a:xfrm>
            <a:custGeom>
              <a:avLst/>
              <a:gdLst>
                <a:gd name="connsiteX0" fmla="*/ 4217 w 5388"/>
                <a:gd name="connsiteY0" fmla="*/ 28890 h 28889"/>
                <a:gd name="connsiteX1" fmla="*/ 2109 w 5388"/>
                <a:gd name="connsiteY1" fmla="*/ 27406 h 28889"/>
                <a:gd name="connsiteX2" fmla="*/ 0 w 5388"/>
                <a:gd name="connsiteY2" fmla="*/ 6168 h 28889"/>
                <a:gd name="connsiteX3" fmla="*/ 3358 w 5388"/>
                <a:gd name="connsiteY3" fmla="*/ 0 h 28889"/>
                <a:gd name="connsiteX4" fmla="*/ 5388 w 5388"/>
                <a:gd name="connsiteY4" fmla="*/ 3514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" h="28889">
                  <a:moveTo>
                    <a:pt x="4217" y="28890"/>
                  </a:moveTo>
                  <a:lnTo>
                    <a:pt x="2109" y="27406"/>
                  </a:lnTo>
                  <a:cubicBezTo>
                    <a:pt x="686" y="20418"/>
                    <a:pt x="-21" y="13297"/>
                    <a:pt x="0" y="6168"/>
                  </a:cubicBezTo>
                  <a:cubicBezTo>
                    <a:pt x="0" y="6168"/>
                    <a:pt x="3358" y="0"/>
                    <a:pt x="3358" y="0"/>
                  </a:cubicBezTo>
                  <a:lnTo>
                    <a:pt x="5388" y="3514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89DECA5A-FE31-46F7-A118-4F8FDBA75AFD}"/>
                </a:ext>
              </a:extLst>
            </p:cNvPr>
            <p:cNvSpPr/>
            <p:nvPr/>
          </p:nvSpPr>
          <p:spPr>
            <a:xfrm>
              <a:off x="8291935" y="503780"/>
              <a:ext cx="13742" cy="48487"/>
            </a:xfrm>
            <a:custGeom>
              <a:avLst/>
              <a:gdLst>
                <a:gd name="connsiteX0" fmla="*/ 13742 w 13742"/>
                <a:gd name="connsiteY0" fmla="*/ 0 h 48487"/>
                <a:gd name="connsiteX1" fmla="*/ 5934 w 13742"/>
                <a:gd name="connsiteY1" fmla="*/ 46848 h 48487"/>
                <a:gd name="connsiteX2" fmla="*/ 3279 w 13742"/>
                <a:gd name="connsiteY2" fmla="*/ 48488 h 48487"/>
                <a:gd name="connsiteX3" fmla="*/ 2577 w 13742"/>
                <a:gd name="connsiteY3" fmla="*/ 23346 h 48487"/>
                <a:gd name="connsiteX4" fmla="*/ 0 w 13742"/>
                <a:gd name="connsiteY4" fmla="*/ 20067 h 48487"/>
                <a:gd name="connsiteX5" fmla="*/ 2655 w 13742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42" h="48487">
                  <a:moveTo>
                    <a:pt x="13742" y="0"/>
                  </a:moveTo>
                  <a:cubicBezTo>
                    <a:pt x="10309" y="15468"/>
                    <a:pt x="7703" y="31107"/>
                    <a:pt x="5934" y="46848"/>
                  </a:cubicBezTo>
                  <a:lnTo>
                    <a:pt x="3279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655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B0595B02-D690-4FDD-BFF9-CE89C4CD493E}"/>
                </a:ext>
              </a:extLst>
            </p:cNvPr>
            <p:cNvSpPr/>
            <p:nvPr/>
          </p:nvSpPr>
          <p:spPr>
            <a:xfrm>
              <a:off x="8235299" y="474574"/>
              <a:ext cx="64443" cy="93872"/>
            </a:xfrm>
            <a:custGeom>
              <a:avLst/>
              <a:gdLst>
                <a:gd name="connsiteX0" fmla="*/ 64443 w 64443"/>
                <a:gd name="connsiteY0" fmla="*/ 7421 h 93872"/>
                <a:gd name="connsiteX1" fmla="*/ 43830 w 64443"/>
                <a:gd name="connsiteY1" fmla="*/ 85970 h 93872"/>
                <a:gd name="connsiteX2" fmla="*/ 5493 w 64443"/>
                <a:gd name="connsiteY2" fmla="*/ 93231 h 93872"/>
                <a:gd name="connsiteX3" fmla="*/ 15643 w 64443"/>
                <a:gd name="connsiteY3" fmla="*/ 67074 h 93872"/>
                <a:gd name="connsiteX4" fmla="*/ 45158 w 64443"/>
                <a:gd name="connsiteY4" fmla="*/ 3595 h 93872"/>
                <a:gd name="connsiteX5" fmla="*/ 64443 w 64443"/>
                <a:gd name="connsiteY5" fmla="*/ 7421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43" h="93872">
                  <a:moveTo>
                    <a:pt x="64443" y="7421"/>
                  </a:moveTo>
                  <a:cubicBezTo>
                    <a:pt x="64443" y="7421"/>
                    <a:pt x="61086" y="66606"/>
                    <a:pt x="43830" y="85970"/>
                  </a:cubicBezTo>
                  <a:cubicBezTo>
                    <a:pt x="39302" y="91123"/>
                    <a:pt x="12208" y="95573"/>
                    <a:pt x="5493" y="93231"/>
                  </a:cubicBezTo>
                  <a:cubicBezTo>
                    <a:pt x="-6453" y="89171"/>
                    <a:pt x="2994" y="83003"/>
                    <a:pt x="15643" y="67074"/>
                  </a:cubicBezTo>
                  <a:cubicBezTo>
                    <a:pt x="32899" y="31079"/>
                    <a:pt x="42581" y="23584"/>
                    <a:pt x="45158" y="3595"/>
                  </a:cubicBezTo>
                  <a:cubicBezTo>
                    <a:pt x="48203" y="-6321"/>
                    <a:pt x="64443" y="7421"/>
                    <a:pt x="64443" y="7421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77796B87-13D8-4A75-9223-ADCC7C8A218A}"/>
                </a:ext>
              </a:extLst>
            </p:cNvPr>
            <p:cNvSpPr/>
            <p:nvPr/>
          </p:nvSpPr>
          <p:spPr>
            <a:xfrm>
              <a:off x="8251501" y="467364"/>
              <a:ext cx="48241" cy="81042"/>
            </a:xfrm>
            <a:custGeom>
              <a:avLst/>
              <a:gdLst>
                <a:gd name="connsiteX0" fmla="*/ 48242 w 48241"/>
                <a:gd name="connsiteY0" fmla="*/ 14631 h 81042"/>
                <a:gd name="connsiteX1" fmla="*/ 2174 w 48241"/>
                <a:gd name="connsiteY1" fmla="*/ 79984 h 81042"/>
                <a:gd name="connsiteX2" fmla="*/ 28331 w 48241"/>
                <a:gd name="connsiteY2" fmla="*/ 1904 h 81042"/>
                <a:gd name="connsiteX3" fmla="*/ 48242 w 48241"/>
                <a:gd name="connsiteY3" fmla="*/ 14631 h 8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41" h="81042">
                  <a:moveTo>
                    <a:pt x="48242" y="14631"/>
                  </a:moveTo>
                  <a:cubicBezTo>
                    <a:pt x="48242" y="14631"/>
                    <a:pt x="31923" y="90838"/>
                    <a:pt x="2174" y="79984"/>
                  </a:cubicBezTo>
                  <a:cubicBezTo>
                    <a:pt x="-8991" y="76159"/>
                    <a:pt x="26379" y="39461"/>
                    <a:pt x="28331" y="1904"/>
                  </a:cubicBezTo>
                  <a:cubicBezTo>
                    <a:pt x="28331" y="-6294"/>
                    <a:pt x="48242" y="14631"/>
                    <a:pt x="48242" y="14631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A27584EE-1D82-49F3-8D7F-AB68BA7998F1}"/>
                </a:ext>
              </a:extLst>
            </p:cNvPr>
            <p:cNvSpPr/>
            <p:nvPr/>
          </p:nvSpPr>
          <p:spPr>
            <a:xfrm>
              <a:off x="8295292" y="481995"/>
              <a:ext cx="10546" cy="35448"/>
            </a:xfrm>
            <a:custGeom>
              <a:avLst/>
              <a:gdLst>
                <a:gd name="connsiteX0" fmla="*/ 4451 w 10546"/>
                <a:gd name="connsiteY0" fmla="*/ 0 h 35448"/>
                <a:gd name="connsiteX1" fmla="*/ 10385 w 10546"/>
                <a:gd name="connsiteY1" fmla="*/ 21862 h 35448"/>
                <a:gd name="connsiteX2" fmla="*/ 0 w 10546"/>
                <a:gd name="connsiteY2" fmla="*/ 35448 h 3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46" h="35448">
                  <a:moveTo>
                    <a:pt x="4451" y="0"/>
                  </a:moveTo>
                  <a:cubicBezTo>
                    <a:pt x="4451" y="0"/>
                    <a:pt x="11712" y="15616"/>
                    <a:pt x="10385" y="21862"/>
                  </a:cubicBezTo>
                  <a:cubicBezTo>
                    <a:pt x="9057" y="28109"/>
                    <a:pt x="7730" y="26157"/>
                    <a:pt x="0" y="35448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EF0B8CB-95C4-42FD-B990-4101A98D3249}"/>
                </a:ext>
              </a:extLst>
            </p:cNvPr>
            <p:cNvSpPr/>
            <p:nvPr/>
          </p:nvSpPr>
          <p:spPr>
            <a:xfrm>
              <a:off x="8201907" y="-378619"/>
              <a:ext cx="308417" cy="919994"/>
            </a:xfrm>
            <a:custGeom>
              <a:avLst/>
              <a:gdLst>
                <a:gd name="connsiteX0" fmla="*/ 206914 w 308417"/>
                <a:gd name="connsiteY0" fmla="*/ 531897 h 919994"/>
                <a:gd name="connsiteX1" fmla="*/ 308418 w 308417"/>
                <a:gd name="connsiteY1" fmla="*/ 68180 h 919994"/>
                <a:gd name="connsiteX2" fmla="*/ 172949 w 308417"/>
                <a:gd name="connsiteY2" fmla="*/ 24533 h 919994"/>
                <a:gd name="connsiteX3" fmla="*/ 3281 w 308417"/>
                <a:gd name="connsiteY3" fmla="*/ 4154 h 919994"/>
                <a:gd name="connsiteX4" fmla="*/ 37168 w 308417"/>
                <a:gd name="connsiteY4" fmla="*/ 443198 h 919994"/>
                <a:gd name="connsiteX5" fmla="*/ 67775 w 308417"/>
                <a:gd name="connsiteY5" fmla="*/ 852807 h 919994"/>
                <a:gd name="connsiteX6" fmla="*/ 74412 w 308417"/>
                <a:gd name="connsiteY6" fmla="*/ 863035 h 919994"/>
                <a:gd name="connsiteX7" fmla="*/ 106971 w 308417"/>
                <a:gd name="connsiteY7" fmla="*/ 863035 h 919994"/>
                <a:gd name="connsiteX8" fmla="*/ 113452 w 308417"/>
                <a:gd name="connsiteY8" fmla="*/ 855227 h 919994"/>
                <a:gd name="connsiteX9" fmla="*/ 113452 w 308417"/>
                <a:gd name="connsiteY9" fmla="*/ 855227 h 919994"/>
                <a:gd name="connsiteX10" fmla="*/ 136017 w 308417"/>
                <a:gd name="connsiteY10" fmla="*/ 571172 h 919994"/>
                <a:gd name="connsiteX11" fmla="*/ 104785 w 308417"/>
                <a:gd name="connsiteY11" fmla="*/ 479349 h 919994"/>
                <a:gd name="connsiteX12" fmla="*/ 136017 w 308417"/>
                <a:gd name="connsiteY12" fmla="*/ 170152 h 919994"/>
                <a:gd name="connsiteX13" fmla="*/ 146089 w 308417"/>
                <a:gd name="connsiteY13" fmla="*/ 174212 h 919994"/>
                <a:gd name="connsiteX14" fmla="*/ 141014 w 308417"/>
                <a:gd name="connsiteY14" fmla="*/ 503945 h 919994"/>
                <a:gd name="connsiteX15" fmla="*/ 154054 w 308417"/>
                <a:gd name="connsiteY15" fmla="*/ 905120 h 919994"/>
                <a:gd name="connsiteX16" fmla="*/ 154054 w 308417"/>
                <a:gd name="connsiteY16" fmla="*/ 905120 h 919994"/>
                <a:gd name="connsiteX17" fmla="*/ 160612 w 308417"/>
                <a:gd name="connsiteY17" fmla="*/ 916129 h 919994"/>
                <a:gd name="connsiteX18" fmla="*/ 193094 w 308417"/>
                <a:gd name="connsiteY18" fmla="*/ 916129 h 919994"/>
                <a:gd name="connsiteX19" fmla="*/ 199574 w 308417"/>
                <a:gd name="connsiteY19" fmla="*/ 907853 h 919994"/>
                <a:gd name="connsiteX20" fmla="*/ 199574 w 308417"/>
                <a:gd name="connsiteY20" fmla="*/ 907853 h 919994"/>
                <a:gd name="connsiteX21" fmla="*/ 236428 w 308417"/>
                <a:gd name="connsiteY21" fmla="*/ 628170 h 919994"/>
                <a:gd name="connsiteX22" fmla="*/ 206914 w 308417"/>
                <a:gd name="connsiteY22" fmla="*/ 531897 h 919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8417" h="919994">
                  <a:moveTo>
                    <a:pt x="206914" y="531897"/>
                  </a:moveTo>
                  <a:cubicBezTo>
                    <a:pt x="209568" y="524089"/>
                    <a:pt x="307715" y="276029"/>
                    <a:pt x="308418" y="68180"/>
                  </a:cubicBezTo>
                  <a:lnTo>
                    <a:pt x="172949" y="24533"/>
                  </a:lnTo>
                  <a:cubicBezTo>
                    <a:pt x="172949" y="24533"/>
                    <a:pt x="11323" y="-12087"/>
                    <a:pt x="3281" y="4154"/>
                  </a:cubicBezTo>
                  <a:cubicBezTo>
                    <a:pt x="-9212" y="18052"/>
                    <a:pt x="16555" y="271344"/>
                    <a:pt x="37168" y="443198"/>
                  </a:cubicBezTo>
                  <a:cubicBezTo>
                    <a:pt x="37168" y="443198"/>
                    <a:pt x="69727" y="680171"/>
                    <a:pt x="67775" y="852807"/>
                  </a:cubicBezTo>
                  <a:cubicBezTo>
                    <a:pt x="67704" y="857249"/>
                    <a:pt x="70327" y="861294"/>
                    <a:pt x="74412" y="863035"/>
                  </a:cubicBezTo>
                  <a:cubicBezTo>
                    <a:pt x="84645" y="868227"/>
                    <a:pt x="96738" y="868227"/>
                    <a:pt x="106971" y="863035"/>
                  </a:cubicBezTo>
                  <a:cubicBezTo>
                    <a:pt x="110171" y="861505"/>
                    <a:pt x="112540" y="858655"/>
                    <a:pt x="113452" y="855227"/>
                  </a:cubicBezTo>
                  <a:lnTo>
                    <a:pt x="113452" y="855227"/>
                  </a:lnTo>
                  <a:cubicBezTo>
                    <a:pt x="131254" y="666898"/>
                    <a:pt x="136017" y="571172"/>
                    <a:pt x="136017" y="571172"/>
                  </a:cubicBezTo>
                  <a:cubicBezTo>
                    <a:pt x="136017" y="556336"/>
                    <a:pt x="104317" y="487001"/>
                    <a:pt x="104785" y="479349"/>
                  </a:cubicBezTo>
                  <a:cubicBezTo>
                    <a:pt x="105253" y="471698"/>
                    <a:pt x="134455" y="223715"/>
                    <a:pt x="136017" y="170152"/>
                  </a:cubicBezTo>
                  <a:lnTo>
                    <a:pt x="146089" y="174212"/>
                  </a:lnTo>
                  <a:cubicBezTo>
                    <a:pt x="146089" y="174212"/>
                    <a:pt x="141014" y="497933"/>
                    <a:pt x="141014" y="503945"/>
                  </a:cubicBezTo>
                  <a:cubicBezTo>
                    <a:pt x="141014" y="509957"/>
                    <a:pt x="164829" y="854368"/>
                    <a:pt x="154054" y="905120"/>
                  </a:cubicBezTo>
                  <a:lnTo>
                    <a:pt x="154054" y="905120"/>
                  </a:lnTo>
                  <a:cubicBezTo>
                    <a:pt x="153556" y="909836"/>
                    <a:pt x="156227" y="914318"/>
                    <a:pt x="160612" y="916129"/>
                  </a:cubicBezTo>
                  <a:cubicBezTo>
                    <a:pt x="170827" y="921283"/>
                    <a:pt x="182879" y="921283"/>
                    <a:pt x="193094" y="916129"/>
                  </a:cubicBezTo>
                  <a:cubicBezTo>
                    <a:pt x="196448" y="914560"/>
                    <a:pt x="198854" y="911484"/>
                    <a:pt x="199574" y="907853"/>
                  </a:cubicBezTo>
                  <a:lnTo>
                    <a:pt x="199574" y="907853"/>
                  </a:lnTo>
                  <a:cubicBezTo>
                    <a:pt x="220500" y="763092"/>
                    <a:pt x="236428" y="628170"/>
                    <a:pt x="236428" y="628170"/>
                  </a:cubicBezTo>
                  <a:cubicBezTo>
                    <a:pt x="237755" y="612008"/>
                    <a:pt x="204337" y="539862"/>
                    <a:pt x="206914" y="531897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8E16E82C-2A92-493B-9606-4F0CF80FEB93}"/>
                </a:ext>
              </a:extLst>
            </p:cNvPr>
            <p:cNvSpPr/>
            <p:nvPr/>
          </p:nvSpPr>
          <p:spPr>
            <a:xfrm>
              <a:off x="8427758" y="-1204461"/>
              <a:ext cx="157581" cy="338307"/>
            </a:xfrm>
            <a:custGeom>
              <a:avLst/>
              <a:gdLst>
                <a:gd name="connsiteX0" fmla="*/ 11514 w 157581"/>
                <a:gd name="connsiteY0" fmla="*/ 48180 h 338307"/>
                <a:gd name="connsiteX1" fmla="*/ 72728 w 157581"/>
                <a:gd name="connsiteY1" fmla="*/ 942 h 338307"/>
                <a:gd name="connsiteX2" fmla="*/ 133553 w 157581"/>
                <a:gd name="connsiteY2" fmla="*/ 177637 h 338307"/>
                <a:gd name="connsiteX3" fmla="*/ 104819 w 157581"/>
                <a:gd name="connsiteY3" fmla="*/ 307875 h 338307"/>
                <a:gd name="connsiteX4" fmla="*/ 17213 w 157581"/>
                <a:gd name="connsiteY4" fmla="*/ 321539 h 338307"/>
                <a:gd name="connsiteX5" fmla="*/ 15261 w 157581"/>
                <a:gd name="connsiteY5" fmla="*/ 172328 h 33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581" h="338307">
                  <a:moveTo>
                    <a:pt x="11514" y="48180"/>
                  </a:moveTo>
                  <a:cubicBezTo>
                    <a:pt x="11514" y="48180"/>
                    <a:pt x="24475" y="-7881"/>
                    <a:pt x="72728" y="942"/>
                  </a:cubicBezTo>
                  <a:cubicBezTo>
                    <a:pt x="120982" y="9765"/>
                    <a:pt x="196641" y="82848"/>
                    <a:pt x="133553" y="177637"/>
                  </a:cubicBezTo>
                  <a:cubicBezTo>
                    <a:pt x="70464" y="272426"/>
                    <a:pt x="73978" y="315449"/>
                    <a:pt x="104819" y="307875"/>
                  </a:cubicBezTo>
                  <a:cubicBezTo>
                    <a:pt x="104819" y="307875"/>
                    <a:pt x="62890" y="366044"/>
                    <a:pt x="17213" y="321539"/>
                  </a:cubicBezTo>
                  <a:cubicBezTo>
                    <a:pt x="-20343" y="284919"/>
                    <a:pt x="15261" y="172328"/>
                    <a:pt x="15261" y="172328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CCF1B9AA-96D6-4588-BC39-B94D6E2C520E}"/>
                </a:ext>
              </a:extLst>
            </p:cNvPr>
            <p:cNvSpPr/>
            <p:nvPr/>
          </p:nvSpPr>
          <p:spPr>
            <a:xfrm>
              <a:off x="8410465" y="-1101391"/>
              <a:ext cx="79198" cy="196371"/>
            </a:xfrm>
            <a:custGeom>
              <a:avLst/>
              <a:gdLst>
                <a:gd name="connsiteX0" fmla="*/ 152 w 79198"/>
                <a:gd name="connsiteY0" fmla="*/ 196371 h 196371"/>
                <a:gd name="connsiteX1" fmla="*/ 78232 w 79198"/>
                <a:gd name="connsiteY1" fmla="*/ 0 h 196371"/>
                <a:gd name="connsiteX2" fmla="*/ 152 w 79198"/>
                <a:gd name="connsiteY2" fmla="*/ 196371 h 196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198" h="196371">
                  <a:moveTo>
                    <a:pt x="152" y="196371"/>
                  </a:moveTo>
                  <a:cubicBezTo>
                    <a:pt x="152" y="196371"/>
                    <a:pt x="89397" y="139139"/>
                    <a:pt x="78232" y="0"/>
                  </a:cubicBezTo>
                  <a:cubicBezTo>
                    <a:pt x="77919" y="0"/>
                    <a:pt x="-3987" y="89167"/>
                    <a:pt x="152" y="196371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90C5FCF1-865E-4746-9DBC-0FCE3FEEF299}"/>
                </a:ext>
              </a:extLst>
            </p:cNvPr>
            <p:cNvSpPr/>
            <p:nvPr/>
          </p:nvSpPr>
          <p:spPr>
            <a:xfrm rot="19985901">
              <a:off x="8057304" y="-822895"/>
              <a:ext cx="247251" cy="247513"/>
            </a:xfrm>
            <a:custGeom>
              <a:avLst/>
              <a:gdLst>
                <a:gd name="connsiteX0" fmla="*/ 16212 w 247251"/>
                <a:gd name="connsiteY0" fmla="*/ 247514 h 247513"/>
                <a:gd name="connsiteX1" fmla="*/ 212974 w 247251"/>
                <a:gd name="connsiteY1" fmla="*/ 132736 h 247513"/>
                <a:gd name="connsiteX2" fmla="*/ 247251 w 247251"/>
                <a:gd name="connsiteY2" fmla="*/ 0 h 247513"/>
                <a:gd name="connsiteX3" fmla="*/ 21834 w 247251"/>
                <a:gd name="connsiteY3" fmla="*/ 188563 h 247513"/>
                <a:gd name="connsiteX4" fmla="*/ 16212 w 247251"/>
                <a:gd name="connsiteY4" fmla="*/ 247514 h 2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251" h="247513">
                  <a:moveTo>
                    <a:pt x="16212" y="247514"/>
                  </a:moveTo>
                  <a:cubicBezTo>
                    <a:pt x="73991" y="240877"/>
                    <a:pt x="212974" y="132736"/>
                    <a:pt x="212974" y="132736"/>
                  </a:cubicBezTo>
                  <a:lnTo>
                    <a:pt x="247251" y="0"/>
                  </a:lnTo>
                  <a:cubicBezTo>
                    <a:pt x="247251" y="0"/>
                    <a:pt x="40807" y="179584"/>
                    <a:pt x="21834" y="188563"/>
                  </a:cubicBezTo>
                  <a:cubicBezTo>
                    <a:pt x="-23765" y="234240"/>
                    <a:pt x="16212" y="247514"/>
                    <a:pt x="16212" y="247514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473862D6-E084-412E-82DA-540C5316F3E2}"/>
                </a:ext>
              </a:extLst>
            </p:cNvPr>
            <p:cNvSpPr/>
            <p:nvPr/>
          </p:nvSpPr>
          <p:spPr>
            <a:xfrm>
              <a:off x="8200971" y="-546866"/>
              <a:ext cx="309587" cy="263470"/>
            </a:xfrm>
            <a:custGeom>
              <a:avLst/>
              <a:gdLst>
                <a:gd name="connsiteX0" fmla="*/ 169668 w 309587"/>
                <a:gd name="connsiteY0" fmla="*/ 15147 h 263470"/>
                <a:gd name="connsiteX1" fmla="*/ 309588 w 309587"/>
                <a:gd name="connsiteY1" fmla="*/ 236426 h 263470"/>
                <a:gd name="connsiteX2" fmla="*/ 117589 w 309587"/>
                <a:gd name="connsiteY2" fmla="*/ 254307 h 263470"/>
                <a:gd name="connsiteX3" fmla="*/ 0 w 309587"/>
                <a:gd name="connsiteY3" fmla="*/ 175368 h 263470"/>
                <a:gd name="connsiteX4" fmla="*/ 72849 w 309587"/>
                <a:gd name="connsiteY4" fmla="*/ 0 h 26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587" h="263470">
                  <a:moveTo>
                    <a:pt x="169668" y="15147"/>
                  </a:moveTo>
                  <a:cubicBezTo>
                    <a:pt x="169668" y="15147"/>
                    <a:pt x="308182" y="180677"/>
                    <a:pt x="309588" y="236426"/>
                  </a:cubicBezTo>
                  <a:cubicBezTo>
                    <a:pt x="309588" y="236426"/>
                    <a:pt x="233225" y="282572"/>
                    <a:pt x="117589" y="254307"/>
                  </a:cubicBezTo>
                  <a:cubicBezTo>
                    <a:pt x="-625" y="225339"/>
                    <a:pt x="0" y="175368"/>
                    <a:pt x="0" y="175368"/>
                  </a:cubicBezTo>
                  <a:cubicBezTo>
                    <a:pt x="21299" y="115716"/>
                    <a:pt x="45613" y="57185"/>
                    <a:pt x="72849" y="0"/>
                  </a:cubicBezTo>
                  <a:close/>
                </a:path>
              </a:pathLst>
            </a:custGeom>
            <a:solidFill>
              <a:schemeClr val="tx1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2A225FAA-7EFA-4566-9908-24A320215694}"/>
                </a:ext>
              </a:extLst>
            </p:cNvPr>
            <p:cNvSpPr/>
            <p:nvPr/>
          </p:nvSpPr>
          <p:spPr>
            <a:xfrm rot="21581400">
              <a:off x="8272006" y="-573004"/>
              <a:ext cx="105720" cy="61058"/>
            </a:xfrm>
            <a:custGeom>
              <a:avLst/>
              <a:gdLst>
                <a:gd name="connsiteX0" fmla="*/ 105720 w 105720"/>
                <a:gd name="connsiteY0" fmla="*/ 30529 h 61058"/>
                <a:gd name="connsiteX1" fmla="*/ 52860 w 105720"/>
                <a:gd name="connsiteY1" fmla="*/ 61059 h 61058"/>
                <a:gd name="connsiteX2" fmla="*/ 0 w 105720"/>
                <a:gd name="connsiteY2" fmla="*/ 30529 h 61058"/>
                <a:gd name="connsiteX3" fmla="*/ 52860 w 105720"/>
                <a:gd name="connsiteY3" fmla="*/ 0 h 61058"/>
                <a:gd name="connsiteX4" fmla="*/ 105720 w 105720"/>
                <a:gd name="connsiteY4" fmla="*/ 30529 h 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20" h="61058">
                  <a:moveTo>
                    <a:pt x="105720" y="30529"/>
                  </a:moveTo>
                  <a:cubicBezTo>
                    <a:pt x="105720" y="47390"/>
                    <a:pt x="82054" y="61059"/>
                    <a:pt x="52860" y="61059"/>
                  </a:cubicBezTo>
                  <a:cubicBezTo>
                    <a:pt x="23666" y="61059"/>
                    <a:pt x="0" y="47390"/>
                    <a:pt x="0" y="30529"/>
                  </a:cubicBezTo>
                  <a:cubicBezTo>
                    <a:pt x="0" y="13668"/>
                    <a:pt x="23666" y="0"/>
                    <a:pt x="52860" y="0"/>
                  </a:cubicBezTo>
                  <a:cubicBezTo>
                    <a:pt x="82054" y="0"/>
                    <a:pt x="105720" y="13668"/>
                    <a:pt x="105720" y="3052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DA8F9C58-1CC2-4271-B45E-BE8FF0E25E19}"/>
                </a:ext>
              </a:extLst>
            </p:cNvPr>
            <p:cNvSpPr/>
            <p:nvPr/>
          </p:nvSpPr>
          <p:spPr>
            <a:xfrm>
              <a:off x="8195818" y="-897367"/>
              <a:ext cx="295455" cy="366209"/>
            </a:xfrm>
            <a:custGeom>
              <a:avLst/>
              <a:gdLst>
                <a:gd name="connsiteX0" fmla="*/ 295455 w 295455"/>
                <a:gd name="connsiteY0" fmla="*/ 124928 h 366209"/>
                <a:gd name="connsiteX1" fmla="*/ 66837 w 295455"/>
                <a:gd name="connsiteY1" fmla="*/ 0 h 366209"/>
                <a:gd name="connsiteX2" fmla="*/ 0 w 295455"/>
                <a:gd name="connsiteY2" fmla="*/ 197386 h 366209"/>
                <a:gd name="connsiteX3" fmla="*/ 76284 w 295455"/>
                <a:gd name="connsiteY3" fmla="*/ 354484 h 366209"/>
                <a:gd name="connsiteX4" fmla="*/ 178491 w 295455"/>
                <a:gd name="connsiteY4" fmla="*/ 365493 h 366209"/>
                <a:gd name="connsiteX5" fmla="*/ 295455 w 295455"/>
                <a:gd name="connsiteY5" fmla="*/ 124928 h 36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455" h="366209">
                  <a:moveTo>
                    <a:pt x="295455" y="124928"/>
                  </a:moveTo>
                  <a:cubicBezTo>
                    <a:pt x="295455" y="124928"/>
                    <a:pt x="195591" y="31232"/>
                    <a:pt x="66837" y="0"/>
                  </a:cubicBezTo>
                  <a:cubicBezTo>
                    <a:pt x="66837" y="0"/>
                    <a:pt x="47160" y="128676"/>
                    <a:pt x="0" y="197386"/>
                  </a:cubicBezTo>
                  <a:cubicBezTo>
                    <a:pt x="0" y="197386"/>
                    <a:pt x="70272" y="298891"/>
                    <a:pt x="76284" y="354484"/>
                  </a:cubicBezTo>
                  <a:cubicBezTo>
                    <a:pt x="76284" y="354484"/>
                    <a:pt x="134454" y="369631"/>
                    <a:pt x="178491" y="365493"/>
                  </a:cubicBezTo>
                  <a:cubicBezTo>
                    <a:pt x="178491" y="365337"/>
                    <a:pt x="294987" y="229477"/>
                    <a:pt x="295455" y="124928"/>
                  </a:cubicBezTo>
                  <a:close/>
                </a:path>
              </a:pathLst>
            </a:custGeom>
            <a:solidFill>
              <a:schemeClr val="tx1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3F77AA2F-6554-4781-BA93-845FD1BA0D89}"/>
                </a:ext>
              </a:extLst>
            </p:cNvPr>
            <p:cNvSpPr/>
            <p:nvPr/>
          </p:nvSpPr>
          <p:spPr>
            <a:xfrm>
              <a:off x="8279569" y="-887998"/>
              <a:ext cx="153768" cy="183566"/>
            </a:xfrm>
            <a:custGeom>
              <a:avLst/>
              <a:gdLst>
                <a:gd name="connsiteX0" fmla="*/ 153769 w 153768"/>
                <a:gd name="connsiteY0" fmla="*/ 70428 h 183566"/>
                <a:gd name="connsiteX1" fmla="*/ 9242 w 153768"/>
                <a:gd name="connsiteY1" fmla="*/ 183566 h 183566"/>
                <a:gd name="connsiteX2" fmla="*/ 18144 w 153768"/>
                <a:gd name="connsiteY2" fmla="*/ 0 h 183566"/>
                <a:gd name="connsiteX3" fmla="*/ 153769 w 153768"/>
                <a:gd name="connsiteY3" fmla="*/ 70428 h 18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768" h="183566">
                  <a:moveTo>
                    <a:pt x="153769" y="70428"/>
                  </a:moveTo>
                  <a:cubicBezTo>
                    <a:pt x="153769" y="70428"/>
                    <a:pt x="88025" y="161470"/>
                    <a:pt x="9242" y="183566"/>
                  </a:cubicBezTo>
                  <a:cubicBezTo>
                    <a:pt x="9242" y="183566"/>
                    <a:pt x="-16602" y="83311"/>
                    <a:pt x="18144" y="0"/>
                  </a:cubicBezTo>
                  <a:cubicBezTo>
                    <a:pt x="18144" y="0"/>
                    <a:pt x="130657" y="46614"/>
                    <a:pt x="153769" y="70428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F5CB474E-0507-48F6-8811-95B891431BC2}"/>
                </a:ext>
              </a:extLst>
            </p:cNvPr>
            <p:cNvSpPr/>
            <p:nvPr/>
          </p:nvSpPr>
          <p:spPr>
            <a:xfrm>
              <a:off x="8329647" y="-905410"/>
              <a:ext cx="71833" cy="92290"/>
            </a:xfrm>
            <a:custGeom>
              <a:avLst/>
              <a:gdLst>
                <a:gd name="connsiteX0" fmla="*/ 71834 w 71833"/>
                <a:gd name="connsiteY0" fmla="*/ 39665 h 92290"/>
                <a:gd name="connsiteX1" fmla="*/ 0 w 71833"/>
                <a:gd name="connsiteY1" fmla="*/ 0 h 92290"/>
                <a:gd name="connsiteX2" fmla="*/ 55359 w 71833"/>
                <a:gd name="connsiteY2" fmla="*/ 92291 h 9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833" h="92290">
                  <a:moveTo>
                    <a:pt x="71834" y="39665"/>
                  </a:moveTo>
                  <a:cubicBezTo>
                    <a:pt x="71834" y="39665"/>
                    <a:pt x="52626" y="10228"/>
                    <a:pt x="0" y="0"/>
                  </a:cubicBezTo>
                  <a:lnTo>
                    <a:pt x="55359" y="92291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6B2D15B5-1F41-41F3-B82B-86E81ED9023E}"/>
                </a:ext>
              </a:extLst>
            </p:cNvPr>
            <p:cNvSpPr/>
            <p:nvPr/>
          </p:nvSpPr>
          <p:spPr>
            <a:xfrm>
              <a:off x="8289999" y="-856844"/>
              <a:ext cx="122335" cy="97365"/>
            </a:xfrm>
            <a:custGeom>
              <a:avLst/>
              <a:gdLst>
                <a:gd name="connsiteX0" fmla="*/ 122335 w 122335"/>
                <a:gd name="connsiteY0" fmla="*/ 27094 h 97365"/>
                <a:gd name="connsiteX1" fmla="*/ 62838 w 122335"/>
                <a:gd name="connsiteY1" fmla="*/ 97366 h 97365"/>
                <a:gd name="connsiteX2" fmla="*/ 53078 w 122335"/>
                <a:gd name="connsiteY2" fmla="*/ 66134 h 97365"/>
                <a:gd name="connsiteX3" fmla="*/ 27702 w 122335"/>
                <a:gd name="connsiteY3" fmla="*/ 78549 h 97365"/>
                <a:gd name="connsiteX4" fmla="*/ 15287 w 122335"/>
                <a:gd name="connsiteY4" fmla="*/ 50518 h 97365"/>
                <a:gd name="connsiteX5" fmla="*/ 1623 w 122335"/>
                <a:gd name="connsiteY5" fmla="*/ 68086 h 97365"/>
                <a:gd name="connsiteX6" fmla="*/ 12086 w 122335"/>
                <a:gd name="connsiteY6" fmla="*/ 0 h 9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35" h="97365">
                  <a:moveTo>
                    <a:pt x="122335" y="27094"/>
                  </a:moveTo>
                  <a:cubicBezTo>
                    <a:pt x="122335" y="27094"/>
                    <a:pt x="118275" y="67149"/>
                    <a:pt x="62838" y="97366"/>
                  </a:cubicBezTo>
                  <a:lnTo>
                    <a:pt x="53078" y="66134"/>
                  </a:lnTo>
                  <a:lnTo>
                    <a:pt x="27702" y="78549"/>
                  </a:lnTo>
                  <a:lnTo>
                    <a:pt x="15287" y="50518"/>
                  </a:lnTo>
                  <a:lnTo>
                    <a:pt x="1623" y="68086"/>
                  </a:lnTo>
                  <a:cubicBezTo>
                    <a:pt x="-2462" y="44858"/>
                    <a:pt x="1214" y="20930"/>
                    <a:pt x="12086" y="0"/>
                  </a:cubicBezTo>
                  <a:close/>
                </a:path>
              </a:pathLst>
            </a:custGeom>
            <a:solidFill>
              <a:srgbClr val="9CA1AF">
                <a:alpha val="40000"/>
              </a:srgb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01DFADD1-0BCF-4394-B20B-7814FD503996}"/>
                </a:ext>
              </a:extLst>
            </p:cNvPr>
            <p:cNvSpPr/>
            <p:nvPr/>
          </p:nvSpPr>
          <p:spPr>
            <a:xfrm>
              <a:off x="8320964" y="-939062"/>
              <a:ext cx="99880" cy="136874"/>
            </a:xfrm>
            <a:custGeom>
              <a:avLst/>
              <a:gdLst>
                <a:gd name="connsiteX0" fmla="*/ 99880 w 99880"/>
                <a:gd name="connsiteY0" fmla="*/ 8745 h 136874"/>
                <a:gd name="connsiteX1" fmla="*/ 67477 w 99880"/>
                <a:gd name="connsiteY1" fmla="*/ 104081 h 136874"/>
                <a:gd name="connsiteX2" fmla="*/ 2202 w 99880"/>
                <a:gd name="connsiteY2" fmla="*/ 136874 h 136874"/>
                <a:gd name="connsiteX3" fmla="*/ 16 w 99880"/>
                <a:gd name="connsiteY3" fmla="*/ 97834 h 136874"/>
                <a:gd name="connsiteX4" fmla="*/ 797 w 99880"/>
                <a:gd name="connsiteY4" fmla="*/ 0 h 13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80" h="136874">
                  <a:moveTo>
                    <a:pt x="99880" y="8745"/>
                  </a:moveTo>
                  <a:cubicBezTo>
                    <a:pt x="86652" y="39646"/>
                    <a:pt x="75819" y="71519"/>
                    <a:pt x="67477" y="104081"/>
                  </a:cubicBezTo>
                  <a:lnTo>
                    <a:pt x="2202" y="136874"/>
                  </a:lnTo>
                  <a:cubicBezTo>
                    <a:pt x="2202" y="136874"/>
                    <a:pt x="-218" y="107516"/>
                    <a:pt x="16" y="97834"/>
                  </a:cubicBezTo>
                  <a:lnTo>
                    <a:pt x="797" y="0"/>
                  </a:ln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BAEF12FA-8460-4B0E-A42D-F10B251C507F}"/>
                </a:ext>
              </a:extLst>
            </p:cNvPr>
            <p:cNvSpPr/>
            <p:nvPr/>
          </p:nvSpPr>
          <p:spPr>
            <a:xfrm>
              <a:off x="8292714" y="-875115"/>
              <a:ext cx="32794" cy="76596"/>
            </a:xfrm>
            <a:custGeom>
              <a:avLst/>
              <a:gdLst>
                <a:gd name="connsiteX0" fmla="*/ 28500 w 32794"/>
                <a:gd name="connsiteY0" fmla="*/ 38572 h 76596"/>
                <a:gd name="connsiteX1" fmla="*/ 1 w 32794"/>
                <a:gd name="connsiteY1" fmla="*/ 76597 h 76596"/>
                <a:gd name="connsiteX2" fmla="*/ 32795 w 32794"/>
                <a:gd name="connsiteY2" fmla="*/ 0 h 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94" h="76596">
                  <a:moveTo>
                    <a:pt x="28500" y="38572"/>
                  </a:moveTo>
                  <a:lnTo>
                    <a:pt x="1" y="76597"/>
                  </a:lnTo>
                  <a:cubicBezTo>
                    <a:pt x="1" y="76597"/>
                    <a:pt x="-702" y="6324"/>
                    <a:pt x="32795" y="0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641DB33B-1A6E-42AB-8977-AA42FB0AFDBF}"/>
                </a:ext>
              </a:extLst>
            </p:cNvPr>
            <p:cNvSpPr/>
            <p:nvPr/>
          </p:nvSpPr>
          <p:spPr>
            <a:xfrm>
              <a:off x="8335113" y="-865979"/>
              <a:ext cx="77221" cy="90885"/>
            </a:xfrm>
            <a:custGeom>
              <a:avLst/>
              <a:gdLst>
                <a:gd name="connsiteX0" fmla="*/ 77221 w 77221"/>
                <a:gd name="connsiteY0" fmla="*/ 36229 h 90885"/>
                <a:gd name="connsiteX1" fmla="*/ 66368 w 77221"/>
                <a:gd name="connsiteY1" fmla="*/ 0 h 90885"/>
                <a:gd name="connsiteX2" fmla="*/ 0 w 77221"/>
                <a:gd name="connsiteY2" fmla="*/ 36229 h 90885"/>
                <a:gd name="connsiteX3" fmla="*/ 21862 w 77221"/>
                <a:gd name="connsiteY3" fmla="*/ 90885 h 90885"/>
                <a:gd name="connsiteX4" fmla="*/ 77221 w 77221"/>
                <a:gd name="connsiteY4" fmla="*/ 36229 h 9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21" h="90885">
                  <a:moveTo>
                    <a:pt x="77221" y="36229"/>
                  </a:moveTo>
                  <a:lnTo>
                    <a:pt x="66368" y="0"/>
                  </a:lnTo>
                  <a:cubicBezTo>
                    <a:pt x="66368" y="0"/>
                    <a:pt x="49893" y="27328"/>
                    <a:pt x="0" y="36229"/>
                  </a:cubicBezTo>
                  <a:lnTo>
                    <a:pt x="21862" y="90885"/>
                  </a:lnTo>
                  <a:cubicBezTo>
                    <a:pt x="21862" y="90885"/>
                    <a:pt x="64260" y="69960"/>
                    <a:pt x="77221" y="36229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1650B2B4-2874-489C-B4FF-AA16BAC705AB}"/>
                </a:ext>
              </a:extLst>
            </p:cNvPr>
            <p:cNvSpPr/>
            <p:nvPr/>
          </p:nvSpPr>
          <p:spPr>
            <a:xfrm>
              <a:off x="8323167" y="-829516"/>
              <a:ext cx="25141" cy="32559"/>
            </a:xfrm>
            <a:custGeom>
              <a:avLst/>
              <a:gdLst>
                <a:gd name="connsiteX0" fmla="*/ 11946 w 25141"/>
                <a:gd name="connsiteY0" fmla="*/ 0 h 32559"/>
                <a:gd name="connsiteX1" fmla="*/ 0 w 25141"/>
                <a:gd name="connsiteY1" fmla="*/ 27328 h 32559"/>
                <a:gd name="connsiteX2" fmla="*/ 25142 w 25141"/>
                <a:gd name="connsiteY2" fmla="*/ 32559 h 32559"/>
                <a:gd name="connsiteX3" fmla="*/ 11946 w 25141"/>
                <a:gd name="connsiteY3" fmla="*/ 0 h 3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1" h="32559">
                  <a:moveTo>
                    <a:pt x="11946" y="0"/>
                  </a:moveTo>
                  <a:lnTo>
                    <a:pt x="0" y="27328"/>
                  </a:lnTo>
                  <a:lnTo>
                    <a:pt x="25142" y="32559"/>
                  </a:lnTo>
                  <a:lnTo>
                    <a:pt x="11946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5136AADF-BB44-481D-B075-0F5F8E55175F}"/>
                </a:ext>
              </a:extLst>
            </p:cNvPr>
            <p:cNvSpPr/>
            <p:nvPr/>
          </p:nvSpPr>
          <p:spPr>
            <a:xfrm>
              <a:off x="8305911" y="-836543"/>
              <a:ext cx="17255" cy="34355"/>
            </a:xfrm>
            <a:custGeom>
              <a:avLst/>
              <a:gdLst>
                <a:gd name="connsiteX0" fmla="*/ 15304 w 17255"/>
                <a:gd name="connsiteY0" fmla="*/ 0 h 34355"/>
                <a:gd name="connsiteX1" fmla="*/ 17256 w 17255"/>
                <a:gd name="connsiteY1" fmla="*/ 34355 h 34355"/>
                <a:gd name="connsiteX2" fmla="*/ 0 w 17255"/>
                <a:gd name="connsiteY2" fmla="*/ 20223 h 34355"/>
                <a:gd name="connsiteX3" fmla="*/ 15304 w 17255"/>
                <a:gd name="connsiteY3" fmla="*/ 0 h 3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4355">
                  <a:moveTo>
                    <a:pt x="15304" y="0"/>
                  </a:moveTo>
                  <a:lnTo>
                    <a:pt x="17256" y="34355"/>
                  </a:lnTo>
                  <a:lnTo>
                    <a:pt x="0" y="20223"/>
                  </a:lnTo>
                  <a:lnTo>
                    <a:pt x="15304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8D0FCE53-3628-47A4-9962-4E6E22F63BF7}"/>
                </a:ext>
              </a:extLst>
            </p:cNvPr>
            <p:cNvSpPr/>
            <p:nvPr/>
          </p:nvSpPr>
          <p:spPr>
            <a:xfrm>
              <a:off x="8319653" y="-804018"/>
              <a:ext cx="28655" cy="17446"/>
            </a:xfrm>
            <a:custGeom>
              <a:avLst/>
              <a:gdLst>
                <a:gd name="connsiteX0" fmla="*/ 3514 w 28655"/>
                <a:gd name="connsiteY0" fmla="*/ 1830 h 17446"/>
                <a:gd name="connsiteX1" fmla="*/ 0 w 28655"/>
                <a:gd name="connsiteY1" fmla="*/ 17446 h 17446"/>
                <a:gd name="connsiteX2" fmla="*/ 28655 w 28655"/>
                <a:gd name="connsiteY2" fmla="*/ 7062 h 17446"/>
                <a:gd name="connsiteX3" fmla="*/ 3514 w 28655"/>
                <a:gd name="connsiteY3" fmla="*/ 1830 h 1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55" h="17446">
                  <a:moveTo>
                    <a:pt x="3514" y="1830"/>
                  </a:moveTo>
                  <a:lnTo>
                    <a:pt x="0" y="17446"/>
                  </a:lnTo>
                  <a:lnTo>
                    <a:pt x="28655" y="7062"/>
                  </a:lnTo>
                  <a:cubicBezTo>
                    <a:pt x="28655" y="7062"/>
                    <a:pt x="23892" y="-4338"/>
                    <a:pt x="3514" y="1830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6D989348-DA7F-4AA7-81CC-DECF291EE643}"/>
                </a:ext>
              </a:extLst>
            </p:cNvPr>
            <p:cNvSpPr/>
            <p:nvPr/>
          </p:nvSpPr>
          <p:spPr>
            <a:xfrm>
              <a:off x="8306145" y="-816615"/>
              <a:ext cx="17255" cy="30355"/>
            </a:xfrm>
            <a:custGeom>
              <a:avLst/>
              <a:gdLst>
                <a:gd name="connsiteX0" fmla="*/ 0 w 17255"/>
                <a:gd name="connsiteY0" fmla="*/ 295 h 30355"/>
                <a:gd name="connsiteX1" fmla="*/ 13742 w 17255"/>
                <a:gd name="connsiteY1" fmla="*/ 30355 h 30355"/>
                <a:gd name="connsiteX2" fmla="*/ 17256 w 17255"/>
                <a:gd name="connsiteY2" fmla="*/ 14739 h 30355"/>
                <a:gd name="connsiteX3" fmla="*/ 0 w 17255"/>
                <a:gd name="connsiteY3" fmla="*/ 295 h 3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0355">
                  <a:moveTo>
                    <a:pt x="0" y="295"/>
                  </a:moveTo>
                  <a:lnTo>
                    <a:pt x="13742" y="30355"/>
                  </a:lnTo>
                  <a:lnTo>
                    <a:pt x="17256" y="14739"/>
                  </a:lnTo>
                  <a:cubicBezTo>
                    <a:pt x="17256" y="14739"/>
                    <a:pt x="8901" y="-2438"/>
                    <a:pt x="0" y="295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C34C2386-D911-430E-9E87-9B4FC97E4FB4}"/>
                </a:ext>
              </a:extLst>
            </p:cNvPr>
            <p:cNvSpPr/>
            <p:nvPr/>
          </p:nvSpPr>
          <p:spPr>
            <a:xfrm>
              <a:off x="8227597" y="-650166"/>
              <a:ext cx="147180" cy="70524"/>
            </a:xfrm>
            <a:custGeom>
              <a:avLst/>
              <a:gdLst>
                <a:gd name="connsiteX0" fmla="*/ 31701 w 147180"/>
                <a:gd name="connsiteY0" fmla="*/ 62464 h 70524"/>
                <a:gd name="connsiteX1" fmla="*/ 0 w 147180"/>
                <a:gd name="connsiteY1" fmla="*/ 0 h 70524"/>
                <a:gd name="connsiteX2" fmla="*/ 147181 w 147180"/>
                <a:gd name="connsiteY2" fmla="*/ 46301 h 70524"/>
                <a:gd name="connsiteX3" fmla="*/ 31701 w 147180"/>
                <a:gd name="connsiteY3" fmla="*/ 62464 h 70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80" h="70524">
                  <a:moveTo>
                    <a:pt x="31701" y="62464"/>
                  </a:moveTo>
                  <a:cubicBezTo>
                    <a:pt x="23276" y="40623"/>
                    <a:pt x="12654" y="19694"/>
                    <a:pt x="0" y="0"/>
                  </a:cubicBezTo>
                  <a:cubicBezTo>
                    <a:pt x="24361" y="20457"/>
                    <a:pt x="73786" y="39040"/>
                    <a:pt x="147181" y="46301"/>
                  </a:cubicBezTo>
                  <a:cubicBezTo>
                    <a:pt x="146791" y="46380"/>
                    <a:pt x="111733" y="87450"/>
                    <a:pt x="31701" y="6246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96AB654A-6DC8-4AF3-8F8E-11674D3AD5CE}"/>
                </a:ext>
              </a:extLst>
            </p:cNvPr>
            <p:cNvSpPr/>
            <p:nvPr/>
          </p:nvSpPr>
          <p:spPr>
            <a:xfrm>
              <a:off x="8238129" y="-1063444"/>
              <a:ext cx="17966" cy="78080"/>
            </a:xfrm>
            <a:custGeom>
              <a:avLst/>
              <a:gdLst>
                <a:gd name="connsiteX0" fmla="*/ 398 w 17966"/>
                <a:gd name="connsiteY0" fmla="*/ 0 h 78080"/>
                <a:gd name="connsiteX1" fmla="*/ 13126 w 17966"/>
                <a:gd name="connsiteY1" fmla="*/ 78080 h 78080"/>
                <a:gd name="connsiteX2" fmla="*/ 17967 w 17966"/>
                <a:gd name="connsiteY2" fmla="*/ 8745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6" h="78080">
                  <a:moveTo>
                    <a:pt x="398" y="0"/>
                  </a:moveTo>
                  <a:cubicBezTo>
                    <a:pt x="398" y="0"/>
                    <a:pt x="-3506" y="55671"/>
                    <a:pt x="13126" y="78080"/>
                  </a:cubicBezTo>
                  <a:lnTo>
                    <a:pt x="17967" y="8745"/>
                  </a:ln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30F232A5-7831-42C7-A50D-96A18AE5DBAC}"/>
                </a:ext>
              </a:extLst>
            </p:cNvPr>
            <p:cNvSpPr/>
            <p:nvPr/>
          </p:nvSpPr>
          <p:spPr>
            <a:xfrm>
              <a:off x="8408508" y="-983361"/>
              <a:ext cx="43802" cy="56273"/>
            </a:xfrm>
            <a:custGeom>
              <a:avLst/>
              <a:gdLst>
                <a:gd name="connsiteX0" fmla="*/ 0 w 43802"/>
                <a:gd name="connsiteY0" fmla="*/ 40786 h 56273"/>
                <a:gd name="connsiteX1" fmla="*/ 21862 w 43802"/>
                <a:gd name="connsiteY1" fmla="*/ 53278 h 56273"/>
                <a:gd name="connsiteX2" fmla="*/ 43803 w 43802"/>
                <a:gd name="connsiteY2" fmla="*/ 15488 h 56273"/>
                <a:gd name="connsiteX3" fmla="*/ 21862 w 43802"/>
                <a:gd name="connsiteY3" fmla="*/ 2995 h 56273"/>
                <a:gd name="connsiteX4" fmla="*/ 0 w 43802"/>
                <a:gd name="connsiteY4" fmla="*/ 40786 h 5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273">
                  <a:moveTo>
                    <a:pt x="0" y="40786"/>
                  </a:moveTo>
                  <a:cubicBezTo>
                    <a:pt x="0" y="54684"/>
                    <a:pt x="9838" y="60228"/>
                    <a:pt x="21862" y="53278"/>
                  </a:cubicBezTo>
                  <a:cubicBezTo>
                    <a:pt x="34778" y="44896"/>
                    <a:pt x="42927" y="30860"/>
                    <a:pt x="43803" y="15488"/>
                  </a:cubicBezTo>
                  <a:cubicBezTo>
                    <a:pt x="43803" y="1589"/>
                    <a:pt x="33965" y="-3954"/>
                    <a:pt x="21862" y="2995"/>
                  </a:cubicBezTo>
                  <a:cubicBezTo>
                    <a:pt x="8977" y="11395"/>
                    <a:pt x="859" y="25427"/>
                    <a:pt x="0" y="40786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F2F67FC1-1E18-400B-BBDE-1731D11789BB}"/>
                </a:ext>
              </a:extLst>
            </p:cNvPr>
            <p:cNvSpPr/>
            <p:nvPr/>
          </p:nvSpPr>
          <p:spPr>
            <a:xfrm>
              <a:off x="8245682" y="-1077287"/>
              <a:ext cx="173601" cy="223008"/>
            </a:xfrm>
            <a:custGeom>
              <a:avLst/>
              <a:gdLst>
                <a:gd name="connsiteX0" fmla="*/ 2606 w 173601"/>
                <a:gd name="connsiteY0" fmla="*/ 2131 h 223008"/>
                <a:gd name="connsiteX1" fmla="*/ 29153 w 173601"/>
                <a:gd name="connsiteY1" fmla="*/ 491 h 223008"/>
                <a:gd name="connsiteX2" fmla="*/ 29153 w 173601"/>
                <a:gd name="connsiteY2" fmla="*/ 491 h 223008"/>
                <a:gd name="connsiteX3" fmla="*/ 166496 w 173601"/>
                <a:gd name="connsiteY3" fmla="*/ 13296 h 223008"/>
                <a:gd name="connsiteX4" fmla="*/ 173601 w 173601"/>
                <a:gd name="connsiteY4" fmla="*/ 119485 h 223008"/>
                <a:gd name="connsiteX5" fmla="*/ 171024 w 173601"/>
                <a:gd name="connsiteY5" fmla="*/ 146189 h 223008"/>
                <a:gd name="connsiteX6" fmla="*/ 56403 w 173601"/>
                <a:gd name="connsiteY6" fmla="*/ 220989 h 223008"/>
                <a:gd name="connsiteX7" fmla="*/ 654 w 173601"/>
                <a:gd name="connsiteY7" fmla="*/ 86145 h 223008"/>
                <a:gd name="connsiteX8" fmla="*/ 2606 w 173601"/>
                <a:gd name="connsiteY8" fmla="*/ 2131 h 22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01" h="223008">
                  <a:moveTo>
                    <a:pt x="2606" y="2131"/>
                  </a:moveTo>
                  <a:cubicBezTo>
                    <a:pt x="11291" y="34"/>
                    <a:pt x="20276" y="-521"/>
                    <a:pt x="29153" y="491"/>
                  </a:cubicBezTo>
                  <a:lnTo>
                    <a:pt x="29153" y="491"/>
                  </a:lnTo>
                  <a:lnTo>
                    <a:pt x="166496" y="13296"/>
                  </a:lnTo>
                  <a:lnTo>
                    <a:pt x="173601" y="119485"/>
                  </a:lnTo>
                  <a:lnTo>
                    <a:pt x="171024" y="146189"/>
                  </a:lnTo>
                  <a:cubicBezTo>
                    <a:pt x="148615" y="191007"/>
                    <a:pt x="83887" y="232779"/>
                    <a:pt x="56403" y="220989"/>
                  </a:cubicBezTo>
                  <a:cubicBezTo>
                    <a:pt x="14005" y="202875"/>
                    <a:pt x="5807" y="157198"/>
                    <a:pt x="654" y="86145"/>
                  </a:cubicBezTo>
                  <a:cubicBezTo>
                    <a:pt x="-653" y="58129"/>
                    <a:pt x="-1" y="30056"/>
                    <a:pt x="2606" y="21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569C55E6-9239-4F58-8610-A849506625DE}"/>
                </a:ext>
              </a:extLst>
            </p:cNvPr>
            <p:cNvSpPr/>
            <p:nvPr/>
          </p:nvSpPr>
          <p:spPr>
            <a:xfrm>
              <a:off x="8223135" y="-1181710"/>
              <a:ext cx="266134" cy="221653"/>
            </a:xfrm>
            <a:custGeom>
              <a:avLst/>
              <a:gdLst>
                <a:gd name="connsiteX0" fmla="*/ 195367 w 266134"/>
                <a:gd name="connsiteY0" fmla="*/ 212274 h 221653"/>
                <a:gd name="connsiteX1" fmla="*/ 178580 w 266134"/>
                <a:gd name="connsiteY1" fmla="*/ 210479 h 221653"/>
                <a:gd name="connsiteX2" fmla="*/ 129858 w 266134"/>
                <a:gd name="connsiteY2" fmla="*/ 138879 h 221653"/>
                <a:gd name="connsiteX3" fmla="*/ 4305 w 266134"/>
                <a:gd name="connsiteY3" fmla="*/ 117017 h 221653"/>
                <a:gd name="connsiteX4" fmla="*/ 233002 w 266134"/>
                <a:gd name="connsiteY4" fmla="*/ 25897 h 221653"/>
                <a:gd name="connsiteX5" fmla="*/ 222461 w 266134"/>
                <a:gd name="connsiteY5" fmla="*/ 199625 h 221653"/>
                <a:gd name="connsiteX6" fmla="*/ 195367 w 266134"/>
                <a:gd name="connsiteY6" fmla="*/ 212274 h 2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134" h="221653">
                  <a:moveTo>
                    <a:pt x="195367" y="212274"/>
                  </a:moveTo>
                  <a:cubicBezTo>
                    <a:pt x="195367" y="212274"/>
                    <a:pt x="179751" y="234527"/>
                    <a:pt x="178580" y="210479"/>
                  </a:cubicBezTo>
                  <a:cubicBezTo>
                    <a:pt x="177559" y="179196"/>
                    <a:pt x="158583" y="151309"/>
                    <a:pt x="129858" y="138879"/>
                  </a:cubicBezTo>
                  <a:cubicBezTo>
                    <a:pt x="75202" y="147077"/>
                    <a:pt x="29213" y="139426"/>
                    <a:pt x="4305" y="117017"/>
                  </a:cubicBezTo>
                  <a:cubicBezTo>
                    <a:pt x="-27864" y="88205"/>
                    <a:pt x="127360" y="-58585"/>
                    <a:pt x="233002" y="25897"/>
                  </a:cubicBezTo>
                  <a:cubicBezTo>
                    <a:pt x="313268" y="90001"/>
                    <a:pt x="222461" y="199625"/>
                    <a:pt x="222461" y="199625"/>
                  </a:cubicBezTo>
                  <a:cubicBezTo>
                    <a:pt x="222461" y="199625"/>
                    <a:pt x="209890" y="192832"/>
                    <a:pt x="195367" y="212274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B7634F05-CAFC-46FD-B89D-461C7E2516A2}"/>
                </a:ext>
              </a:extLst>
            </p:cNvPr>
            <p:cNvSpPr/>
            <p:nvPr/>
          </p:nvSpPr>
          <p:spPr>
            <a:xfrm>
              <a:off x="8419908" y="-968687"/>
              <a:ext cx="21003" cy="26924"/>
            </a:xfrm>
            <a:custGeom>
              <a:avLst/>
              <a:gdLst>
                <a:gd name="connsiteX0" fmla="*/ 0 w 21003"/>
                <a:gd name="connsiteY0" fmla="*/ 19474 h 26924"/>
                <a:gd name="connsiteX1" fmla="*/ 10463 w 21003"/>
                <a:gd name="connsiteY1" fmla="*/ 25486 h 26924"/>
                <a:gd name="connsiteX2" fmla="*/ 21004 w 21003"/>
                <a:gd name="connsiteY2" fmla="*/ 7450 h 26924"/>
                <a:gd name="connsiteX3" fmla="*/ 10463 w 21003"/>
                <a:gd name="connsiteY3" fmla="*/ 1438 h 26924"/>
                <a:gd name="connsiteX4" fmla="*/ 0 w 21003"/>
                <a:gd name="connsiteY4" fmla="*/ 19474 h 2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03" h="26924">
                  <a:moveTo>
                    <a:pt x="0" y="19474"/>
                  </a:moveTo>
                  <a:cubicBezTo>
                    <a:pt x="0" y="26111"/>
                    <a:pt x="4685" y="28844"/>
                    <a:pt x="10463" y="25486"/>
                  </a:cubicBezTo>
                  <a:cubicBezTo>
                    <a:pt x="16667" y="21514"/>
                    <a:pt x="20587" y="14805"/>
                    <a:pt x="21004" y="7450"/>
                  </a:cubicBezTo>
                  <a:cubicBezTo>
                    <a:pt x="21004" y="813"/>
                    <a:pt x="16319" y="-1920"/>
                    <a:pt x="10463" y="1438"/>
                  </a:cubicBezTo>
                  <a:cubicBezTo>
                    <a:pt x="4344" y="5481"/>
                    <a:pt x="472" y="12156"/>
                    <a:pt x="0" y="19474"/>
                  </a:cubicBez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235F2429-C9A3-4751-B669-351155993756}"/>
                </a:ext>
              </a:extLst>
            </p:cNvPr>
            <p:cNvSpPr/>
            <p:nvPr/>
          </p:nvSpPr>
          <p:spPr>
            <a:xfrm>
              <a:off x="8363924" y="-702948"/>
              <a:ext cx="21237" cy="18661"/>
            </a:xfrm>
            <a:custGeom>
              <a:avLst/>
              <a:gdLst>
                <a:gd name="connsiteX0" fmla="*/ 0 w 21237"/>
                <a:gd name="connsiteY0" fmla="*/ 10541 h 18661"/>
                <a:gd name="connsiteX1" fmla="*/ 17724 w 21237"/>
                <a:gd name="connsiteY1" fmla="*/ 18661 h 18661"/>
                <a:gd name="connsiteX2" fmla="*/ 21238 w 21237"/>
                <a:gd name="connsiteY2" fmla="*/ 8120 h 18661"/>
                <a:gd name="connsiteX3" fmla="*/ 3514 w 21237"/>
                <a:gd name="connsiteY3" fmla="*/ 0 h 18661"/>
                <a:gd name="connsiteX4" fmla="*/ 0 w 21237"/>
                <a:gd name="connsiteY4" fmla="*/ 10541 h 1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37" h="18661">
                  <a:moveTo>
                    <a:pt x="0" y="10541"/>
                  </a:moveTo>
                  <a:lnTo>
                    <a:pt x="17724" y="18661"/>
                  </a:lnTo>
                  <a:lnTo>
                    <a:pt x="21238" y="8120"/>
                  </a:lnTo>
                  <a:lnTo>
                    <a:pt x="3514" y="0"/>
                  </a:lnTo>
                  <a:lnTo>
                    <a:pt x="0" y="10541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A4DA0D8F-4AF3-4882-AF78-488B6326DBF0}"/>
                </a:ext>
              </a:extLst>
            </p:cNvPr>
            <p:cNvSpPr/>
            <p:nvPr/>
          </p:nvSpPr>
          <p:spPr>
            <a:xfrm>
              <a:off x="8344483" y="-704744"/>
              <a:ext cx="54812" cy="44271"/>
            </a:xfrm>
            <a:custGeom>
              <a:avLst/>
              <a:gdLst>
                <a:gd name="connsiteX0" fmla="*/ 0 w 54812"/>
                <a:gd name="connsiteY0" fmla="*/ 22253 h 44271"/>
                <a:gd name="connsiteX1" fmla="*/ 48175 w 54812"/>
                <a:gd name="connsiteY1" fmla="*/ 44271 h 44271"/>
                <a:gd name="connsiteX2" fmla="*/ 54812 w 54812"/>
                <a:gd name="connsiteY2" fmla="*/ 22019 h 44271"/>
                <a:gd name="connsiteX3" fmla="*/ 6637 w 54812"/>
                <a:gd name="connsiteY3" fmla="*/ 0 h 44271"/>
                <a:gd name="connsiteX4" fmla="*/ 0 w 54812"/>
                <a:gd name="connsiteY4" fmla="*/ 22253 h 44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2" h="44271">
                  <a:moveTo>
                    <a:pt x="0" y="22253"/>
                  </a:moveTo>
                  <a:lnTo>
                    <a:pt x="48175" y="44271"/>
                  </a:lnTo>
                  <a:lnTo>
                    <a:pt x="54812" y="22019"/>
                  </a:lnTo>
                  <a:lnTo>
                    <a:pt x="6637" y="0"/>
                  </a:lnTo>
                  <a:lnTo>
                    <a:pt x="0" y="22253"/>
                  </a:lnTo>
                  <a:close/>
                </a:path>
              </a:pathLst>
            </a:custGeom>
            <a:solidFill>
              <a:srgbClr val="FFF3D7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D39709B2-345E-4508-BCAA-0B8A3197A4DF}"/>
                </a:ext>
              </a:extLst>
            </p:cNvPr>
            <p:cNvSpPr/>
            <p:nvPr/>
          </p:nvSpPr>
          <p:spPr>
            <a:xfrm>
              <a:off x="8352993" y="-1043551"/>
              <a:ext cx="53033" cy="132441"/>
            </a:xfrm>
            <a:custGeom>
              <a:avLst/>
              <a:gdLst>
                <a:gd name="connsiteX0" fmla="*/ 0 w 53033"/>
                <a:gd name="connsiteY0" fmla="*/ 720 h 132441"/>
                <a:gd name="connsiteX1" fmla="*/ 31232 w 53033"/>
                <a:gd name="connsiteY1" fmla="*/ 132441 h 132441"/>
                <a:gd name="connsiteX2" fmla="*/ 52392 w 53033"/>
                <a:gd name="connsiteY2" fmla="*/ 68806 h 132441"/>
                <a:gd name="connsiteX3" fmla="*/ 0 w 53033"/>
                <a:gd name="connsiteY3" fmla="*/ 720 h 13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33" h="132441">
                  <a:moveTo>
                    <a:pt x="0" y="720"/>
                  </a:moveTo>
                  <a:cubicBezTo>
                    <a:pt x="0" y="720"/>
                    <a:pt x="66993" y="37184"/>
                    <a:pt x="31232" y="132441"/>
                  </a:cubicBezTo>
                  <a:cubicBezTo>
                    <a:pt x="47628" y="115571"/>
                    <a:pt x="55421" y="92136"/>
                    <a:pt x="52392" y="68806"/>
                  </a:cubicBezTo>
                  <a:cubicBezTo>
                    <a:pt x="48410" y="27111"/>
                    <a:pt x="22877" y="-5292"/>
                    <a:pt x="0" y="720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76D5ED23-119F-4AEB-B47C-3B7C4D85580D}"/>
                </a:ext>
              </a:extLst>
            </p:cNvPr>
            <p:cNvSpPr/>
            <p:nvPr/>
          </p:nvSpPr>
          <p:spPr>
            <a:xfrm>
              <a:off x="8229931" y="-1179197"/>
              <a:ext cx="224589" cy="124060"/>
            </a:xfrm>
            <a:custGeom>
              <a:avLst/>
              <a:gdLst>
                <a:gd name="connsiteX0" fmla="*/ 320 w 224589"/>
                <a:gd name="connsiteY0" fmla="*/ 94671 h 124060"/>
                <a:gd name="connsiteX1" fmla="*/ 111428 w 224589"/>
                <a:gd name="connsiteY1" fmla="*/ 5894 h 124060"/>
                <a:gd name="connsiteX2" fmla="*/ 224566 w 224589"/>
                <a:gd name="connsiteY2" fmla="*/ 42045 h 124060"/>
                <a:gd name="connsiteX3" fmla="*/ 320 w 224589"/>
                <a:gd name="connsiteY3" fmla="*/ 94671 h 12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89" h="124060">
                  <a:moveTo>
                    <a:pt x="320" y="94671"/>
                  </a:moveTo>
                  <a:cubicBezTo>
                    <a:pt x="23561" y="51050"/>
                    <a:pt x="63753" y="18936"/>
                    <a:pt x="111428" y="5894"/>
                  </a:cubicBezTo>
                  <a:cubicBezTo>
                    <a:pt x="193959" y="-16671"/>
                    <a:pt x="225581" y="32129"/>
                    <a:pt x="224566" y="42045"/>
                  </a:cubicBezTo>
                  <a:cubicBezTo>
                    <a:pt x="217617" y="116456"/>
                    <a:pt x="-9674" y="154247"/>
                    <a:pt x="320" y="94671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F760E2F3-188E-4498-8E6D-C780E71727C7}"/>
                </a:ext>
              </a:extLst>
            </p:cNvPr>
            <p:cNvSpPr/>
            <p:nvPr/>
          </p:nvSpPr>
          <p:spPr>
            <a:xfrm>
              <a:off x="8446689" y="-1202193"/>
              <a:ext cx="91727" cy="73385"/>
            </a:xfrm>
            <a:custGeom>
              <a:avLst/>
              <a:gdLst>
                <a:gd name="connsiteX0" fmla="*/ 0 w 91727"/>
                <a:gd name="connsiteY0" fmla="*/ 35762 h 73385"/>
                <a:gd name="connsiteX1" fmla="*/ 42554 w 91727"/>
                <a:gd name="connsiteY1" fmla="*/ 79 h 73385"/>
                <a:gd name="connsiteX2" fmla="*/ 88699 w 91727"/>
                <a:gd name="connsiteY2" fmla="*/ 67072 h 73385"/>
                <a:gd name="connsiteX3" fmla="*/ 26235 w 91727"/>
                <a:gd name="connsiteY3" fmla="*/ 69024 h 73385"/>
                <a:gd name="connsiteX4" fmla="*/ 0 w 91727"/>
                <a:gd name="connsiteY4" fmla="*/ 35762 h 7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27" h="73385">
                  <a:moveTo>
                    <a:pt x="0" y="35762"/>
                  </a:moveTo>
                  <a:cubicBezTo>
                    <a:pt x="0" y="35762"/>
                    <a:pt x="11790" y="-1951"/>
                    <a:pt x="42554" y="79"/>
                  </a:cubicBezTo>
                  <a:cubicBezTo>
                    <a:pt x="73317" y="2109"/>
                    <a:pt x="101114" y="54111"/>
                    <a:pt x="88699" y="67072"/>
                  </a:cubicBezTo>
                  <a:cubicBezTo>
                    <a:pt x="76284" y="80033"/>
                    <a:pt x="26235" y="69024"/>
                    <a:pt x="26235" y="69024"/>
                  </a:cubicBezTo>
                  <a:cubicBezTo>
                    <a:pt x="26235" y="69024"/>
                    <a:pt x="14757" y="45209"/>
                    <a:pt x="0" y="35762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AC722549-2667-4813-838A-2209D029F408}"/>
                </a:ext>
              </a:extLst>
            </p:cNvPr>
            <p:cNvSpPr/>
            <p:nvPr/>
          </p:nvSpPr>
          <p:spPr>
            <a:xfrm>
              <a:off x="8421469" y="-772439"/>
              <a:ext cx="86154" cy="344333"/>
            </a:xfrm>
            <a:custGeom>
              <a:avLst/>
              <a:gdLst>
                <a:gd name="connsiteX0" fmla="*/ 7808 w 86154"/>
                <a:gd name="connsiteY0" fmla="*/ 284212 h 344333"/>
                <a:gd name="connsiteX1" fmla="*/ 0 w 86154"/>
                <a:gd name="connsiteY1" fmla="*/ 146400 h 344333"/>
                <a:gd name="connsiteX2" fmla="*/ 69491 w 86154"/>
                <a:gd name="connsiteY2" fmla="*/ 0 h 344333"/>
                <a:gd name="connsiteX3" fmla="*/ 55905 w 86154"/>
                <a:gd name="connsiteY3" fmla="*/ 344333 h 344333"/>
                <a:gd name="connsiteX4" fmla="*/ 7808 w 86154"/>
                <a:gd name="connsiteY4" fmla="*/ 284212 h 34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54" h="344333">
                  <a:moveTo>
                    <a:pt x="7808" y="284212"/>
                  </a:moveTo>
                  <a:cubicBezTo>
                    <a:pt x="10150" y="259538"/>
                    <a:pt x="0" y="146400"/>
                    <a:pt x="0" y="146400"/>
                  </a:cubicBezTo>
                  <a:cubicBezTo>
                    <a:pt x="0" y="146400"/>
                    <a:pt x="7183" y="156"/>
                    <a:pt x="69491" y="0"/>
                  </a:cubicBezTo>
                  <a:cubicBezTo>
                    <a:pt x="104159" y="112670"/>
                    <a:pt x="77299" y="320128"/>
                    <a:pt x="55905" y="344333"/>
                  </a:cubicBezTo>
                  <a:cubicBezTo>
                    <a:pt x="56452" y="344333"/>
                    <a:pt x="4685" y="345192"/>
                    <a:pt x="7808" y="284212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7B119BCA-3873-4B9D-8A08-2F9B727AE72B}"/>
                </a:ext>
              </a:extLst>
            </p:cNvPr>
            <p:cNvSpPr/>
            <p:nvPr/>
          </p:nvSpPr>
          <p:spPr>
            <a:xfrm>
              <a:off x="8221272" y="-488366"/>
              <a:ext cx="262759" cy="64390"/>
            </a:xfrm>
            <a:custGeom>
              <a:avLst/>
              <a:gdLst>
                <a:gd name="connsiteX0" fmla="*/ 256649 w 262759"/>
                <a:gd name="connsiteY0" fmla="*/ 60650 h 64390"/>
                <a:gd name="connsiteX1" fmla="*/ 0 w 262759"/>
                <a:gd name="connsiteY1" fmla="*/ 20986 h 64390"/>
                <a:gd name="connsiteX2" fmla="*/ 2342 w 262759"/>
                <a:gd name="connsiteY2" fmla="*/ 8883 h 64390"/>
                <a:gd name="connsiteX3" fmla="*/ 175836 w 262759"/>
                <a:gd name="connsiteY3" fmla="*/ 451 h 64390"/>
                <a:gd name="connsiteX4" fmla="*/ 215423 w 262759"/>
                <a:gd name="connsiteY4" fmla="*/ 1309 h 64390"/>
                <a:gd name="connsiteX5" fmla="*/ 256649 w 262759"/>
                <a:gd name="connsiteY5" fmla="*/ 60650 h 6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759" h="64390">
                  <a:moveTo>
                    <a:pt x="256649" y="60650"/>
                  </a:moveTo>
                  <a:cubicBezTo>
                    <a:pt x="244156" y="75017"/>
                    <a:pt x="44193" y="45034"/>
                    <a:pt x="0" y="20986"/>
                  </a:cubicBezTo>
                  <a:lnTo>
                    <a:pt x="2342" y="8883"/>
                  </a:lnTo>
                  <a:cubicBezTo>
                    <a:pt x="72614" y="13724"/>
                    <a:pt x="142887" y="1856"/>
                    <a:pt x="175836" y="451"/>
                  </a:cubicBezTo>
                  <a:cubicBezTo>
                    <a:pt x="189033" y="-362"/>
                    <a:pt x="202274" y="-75"/>
                    <a:pt x="215423" y="1309"/>
                  </a:cubicBezTo>
                  <a:cubicBezTo>
                    <a:pt x="257742" y="6931"/>
                    <a:pt x="272265" y="42848"/>
                    <a:pt x="256649" y="6065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EB30B41-AF7A-4461-AA2A-459BA98ABF23}"/>
                </a:ext>
              </a:extLst>
            </p:cNvPr>
            <p:cNvSpPr/>
            <p:nvPr/>
          </p:nvSpPr>
          <p:spPr>
            <a:xfrm>
              <a:off x="8196891" y="-512891"/>
              <a:ext cx="33126" cy="40960"/>
            </a:xfrm>
            <a:custGeom>
              <a:avLst/>
              <a:gdLst>
                <a:gd name="connsiteX0" fmla="*/ 33126 w 33126"/>
                <a:gd name="connsiteY0" fmla="*/ 37390 h 40960"/>
                <a:gd name="connsiteX1" fmla="*/ 98 w 33126"/>
                <a:gd name="connsiteY1" fmla="*/ 458 h 40960"/>
                <a:gd name="connsiteX2" fmla="*/ 9234 w 33126"/>
                <a:gd name="connsiteY2" fmla="*/ 19900 h 40960"/>
                <a:gd name="connsiteX3" fmla="*/ 1426 w 33126"/>
                <a:gd name="connsiteY3" fmla="*/ 22399 h 40960"/>
                <a:gd name="connsiteX4" fmla="*/ 8765 w 33126"/>
                <a:gd name="connsiteY4" fmla="*/ 36531 h 40960"/>
                <a:gd name="connsiteX5" fmla="*/ 22820 w 33126"/>
                <a:gd name="connsiteY5" fmla="*/ 40826 h 40960"/>
                <a:gd name="connsiteX6" fmla="*/ 33126 w 33126"/>
                <a:gd name="connsiteY6" fmla="*/ 37390 h 4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26" h="40960">
                  <a:moveTo>
                    <a:pt x="33126" y="37390"/>
                  </a:moveTo>
                  <a:cubicBezTo>
                    <a:pt x="27817" y="23102"/>
                    <a:pt x="1894" y="-3836"/>
                    <a:pt x="98" y="458"/>
                  </a:cubicBezTo>
                  <a:cubicBezTo>
                    <a:pt x="-1229" y="9672"/>
                    <a:pt x="11342" y="15528"/>
                    <a:pt x="9234" y="19900"/>
                  </a:cubicBezTo>
                  <a:cubicBezTo>
                    <a:pt x="7126" y="24273"/>
                    <a:pt x="1426" y="22399"/>
                    <a:pt x="1426" y="22399"/>
                  </a:cubicBezTo>
                  <a:cubicBezTo>
                    <a:pt x="-760" y="26693"/>
                    <a:pt x="4315" y="34267"/>
                    <a:pt x="8765" y="36531"/>
                  </a:cubicBezTo>
                  <a:cubicBezTo>
                    <a:pt x="13215" y="38641"/>
                    <a:pt x="17951" y="40088"/>
                    <a:pt x="22820" y="40826"/>
                  </a:cubicBezTo>
                  <a:cubicBezTo>
                    <a:pt x="27036" y="41528"/>
                    <a:pt x="29378" y="39342"/>
                    <a:pt x="33126" y="3739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0F12353C-6026-4ACC-B11D-F2F0B8FB99D2}"/>
                </a:ext>
              </a:extLst>
            </p:cNvPr>
            <p:cNvSpPr/>
            <p:nvPr/>
          </p:nvSpPr>
          <p:spPr>
            <a:xfrm>
              <a:off x="8150772" y="-512835"/>
              <a:ext cx="33022" cy="24372"/>
            </a:xfrm>
            <a:custGeom>
              <a:avLst/>
              <a:gdLst>
                <a:gd name="connsiteX0" fmla="*/ 33022 w 33022"/>
                <a:gd name="connsiteY0" fmla="*/ 20390 h 24372"/>
                <a:gd name="connsiteX1" fmla="*/ 15688 w 33022"/>
                <a:gd name="connsiteY1" fmla="*/ 10162 h 24372"/>
                <a:gd name="connsiteX2" fmla="*/ 72 w 33022"/>
                <a:gd name="connsiteY2" fmla="*/ 324 h 24372"/>
                <a:gd name="connsiteX3" fmla="*/ 11941 w 33022"/>
                <a:gd name="connsiteY3" fmla="*/ 15940 h 24372"/>
                <a:gd name="connsiteX4" fmla="*/ 26151 w 33022"/>
                <a:gd name="connsiteY4" fmla="*/ 24373 h 2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22" h="24372">
                  <a:moveTo>
                    <a:pt x="33022" y="20390"/>
                  </a:moveTo>
                  <a:cubicBezTo>
                    <a:pt x="27076" y="17273"/>
                    <a:pt x="21291" y="13860"/>
                    <a:pt x="15688" y="10162"/>
                  </a:cubicBezTo>
                  <a:cubicBezTo>
                    <a:pt x="7256" y="2979"/>
                    <a:pt x="775" y="-1238"/>
                    <a:pt x="72" y="324"/>
                  </a:cubicBezTo>
                  <a:cubicBezTo>
                    <a:pt x="-630" y="1885"/>
                    <a:pt x="3820" y="8132"/>
                    <a:pt x="11941" y="15940"/>
                  </a:cubicBezTo>
                  <a:cubicBezTo>
                    <a:pt x="16235" y="18751"/>
                    <a:pt x="21388" y="21015"/>
                    <a:pt x="26151" y="24373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24C50307-2FD7-4A60-A733-63866262D718}"/>
                </a:ext>
              </a:extLst>
            </p:cNvPr>
            <p:cNvSpPr/>
            <p:nvPr/>
          </p:nvSpPr>
          <p:spPr>
            <a:xfrm>
              <a:off x="8163782" y="-506686"/>
              <a:ext cx="27976" cy="24157"/>
            </a:xfrm>
            <a:custGeom>
              <a:avLst/>
              <a:gdLst>
                <a:gd name="connsiteX0" fmla="*/ 27976 w 27976"/>
                <a:gd name="connsiteY0" fmla="*/ 18224 h 24157"/>
                <a:gd name="connsiteX1" fmla="*/ 14234 w 27976"/>
                <a:gd name="connsiteY1" fmla="*/ 10416 h 24157"/>
                <a:gd name="connsiteX2" fmla="*/ 102 w 27976"/>
                <a:gd name="connsiteY2" fmla="*/ 265 h 24157"/>
                <a:gd name="connsiteX3" fmla="*/ 10330 w 27976"/>
                <a:gd name="connsiteY3" fmla="*/ 15413 h 24157"/>
                <a:gd name="connsiteX4" fmla="*/ 23213 w 27976"/>
                <a:gd name="connsiteY4" fmla="*/ 24158 h 2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76" h="24157">
                  <a:moveTo>
                    <a:pt x="27976" y="18224"/>
                  </a:moveTo>
                  <a:cubicBezTo>
                    <a:pt x="27976" y="18224"/>
                    <a:pt x="21183" y="14476"/>
                    <a:pt x="14234" y="10416"/>
                  </a:cubicBezTo>
                  <a:cubicBezTo>
                    <a:pt x="6426" y="3154"/>
                    <a:pt x="882" y="-1140"/>
                    <a:pt x="102" y="265"/>
                  </a:cubicBezTo>
                  <a:cubicBezTo>
                    <a:pt x="-679" y="1671"/>
                    <a:pt x="3069" y="8073"/>
                    <a:pt x="10330" y="15413"/>
                  </a:cubicBezTo>
                  <a:cubicBezTo>
                    <a:pt x="14234" y="18302"/>
                    <a:pt x="18919" y="20800"/>
                    <a:pt x="23213" y="24158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AC8DB2BB-7556-428A-B708-D5A6603EF263}"/>
                </a:ext>
              </a:extLst>
            </p:cNvPr>
            <p:cNvSpPr/>
            <p:nvPr/>
          </p:nvSpPr>
          <p:spPr>
            <a:xfrm>
              <a:off x="8164772" y="-495357"/>
              <a:ext cx="22847" cy="19700"/>
            </a:xfrm>
            <a:custGeom>
              <a:avLst/>
              <a:gdLst>
                <a:gd name="connsiteX0" fmla="*/ 22848 w 22847"/>
                <a:gd name="connsiteY0" fmla="*/ 15171 h 19700"/>
                <a:gd name="connsiteX1" fmla="*/ 10823 w 22847"/>
                <a:gd name="connsiteY1" fmla="*/ 7363 h 19700"/>
                <a:gd name="connsiteX2" fmla="*/ 48 w 22847"/>
                <a:gd name="connsiteY2" fmla="*/ 336 h 19700"/>
                <a:gd name="connsiteX3" fmla="*/ 6529 w 22847"/>
                <a:gd name="connsiteY3" fmla="*/ 10721 h 19700"/>
                <a:gd name="connsiteX4" fmla="*/ 19256 w 22847"/>
                <a:gd name="connsiteY4" fmla="*/ 19700 h 1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47" h="19700">
                  <a:moveTo>
                    <a:pt x="22848" y="15171"/>
                  </a:moveTo>
                  <a:cubicBezTo>
                    <a:pt x="19074" y="12224"/>
                    <a:pt x="15051" y="9611"/>
                    <a:pt x="10823" y="7363"/>
                  </a:cubicBezTo>
                  <a:cubicBezTo>
                    <a:pt x="2625" y="2913"/>
                    <a:pt x="751" y="-1225"/>
                    <a:pt x="48" y="336"/>
                  </a:cubicBezTo>
                  <a:cubicBezTo>
                    <a:pt x="-654" y="1898"/>
                    <a:pt x="6529" y="10721"/>
                    <a:pt x="6529" y="10721"/>
                  </a:cubicBezTo>
                  <a:cubicBezTo>
                    <a:pt x="10605" y="13943"/>
                    <a:pt x="14854" y="16941"/>
                    <a:pt x="19256" y="19700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743715D2-D9AF-411B-AAAF-EDEAFEA8C8BD}"/>
                </a:ext>
              </a:extLst>
            </p:cNvPr>
            <p:cNvSpPr/>
            <p:nvPr/>
          </p:nvSpPr>
          <p:spPr>
            <a:xfrm>
              <a:off x="8176232" y="-493327"/>
              <a:ext cx="54130" cy="26649"/>
            </a:xfrm>
            <a:custGeom>
              <a:avLst/>
              <a:gdLst>
                <a:gd name="connsiteX0" fmla="*/ 46446 w 54130"/>
                <a:gd name="connsiteY0" fmla="*/ 26649 h 26649"/>
                <a:gd name="connsiteX1" fmla="*/ 7406 w 54130"/>
                <a:gd name="connsiteY1" fmla="*/ 17592 h 26649"/>
                <a:gd name="connsiteX2" fmla="*/ 5688 w 54130"/>
                <a:gd name="connsiteY2" fmla="*/ 180 h 26649"/>
                <a:gd name="connsiteX3" fmla="*/ 28565 w 54130"/>
                <a:gd name="connsiteY3" fmla="*/ 2991 h 26649"/>
                <a:gd name="connsiteX4" fmla="*/ 53785 w 54130"/>
                <a:gd name="connsiteY4" fmla="*/ 17826 h 26649"/>
                <a:gd name="connsiteX5" fmla="*/ 46446 w 54130"/>
                <a:gd name="connsiteY5" fmla="*/ 26649 h 2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30" h="26649">
                  <a:moveTo>
                    <a:pt x="46446" y="26649"/>
                  </a:moveTo>
                  <a:cubicBezTo>
                    <a:pt x="33164" y="24938"/>
                    <a:pt x="20085" y="21904"/>
                    <a:pt x="7406" y="17592"/>
                  </a:cubicBezTo>
                  <a:cubicBezTo>
                    <a:pt x="-2120" y="12673"/>
                    <a:pt x="-2198" y="-1772"/>
                    <a:pt x="5688" y="180"/>
                  </a:cubicBezTo>
                  <a:cubicBezTo>
                    <a:pt x="13187" y="1960"/>
                    <a:pt x="20859" y="2902"/>
                    <a:pt x="28565" y="2991"/>
                  </a:cubicBezTo>
                  <a:cubicBezTo>
                    <a:pt x="39159" y="2541"/>
                    <a:pt x="49031" y="8349"/>
                    <a:pt x="53785" y="17826"/>
                  </a:cubicBezTo>
                  <a:cubicBezTo>
                    <a:pt x="56050" y="23760"/>
                    <a:pt x="46446" y="26649"/>
                    <a:pt x="46446" y="26649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B522F58-AFA4-42B7-B0F6-69BA240C42D5}"/>
                </a:ext>
              </a:extLst>
            </p:cNvPr>
            <p:cNvSpPr/>
            <p:nvPr/>
          </p:nvSpPr>
          <p:spPr>
            <a:xfrm>
              <a:off x="8150198" y="-504049"/>
              <a:ext cx="35157" cy="18944"/>
            </a:xfrm>
            <a:custGeom>
              <a:avLst/>
              <a:gdLst>
                <a:gd name="connsiteX0" fmla="*/ 35158 w 35157"/>
                <a:gd name="connsiteY0" fmla="*/ 12074 h 18944"/>
                <a:gd name="connsiteX1" fmla="*/ 18917 w 35157"/>
                <a:gd name="connsiteY1" fmla="*/ 7311 h 18944"/>
                <a:gd name="connsiteX2" fmla="*/ 22 w 35157"/>
                <a:gd name="connsiteY2" fmla="*/ 362 h 18944"/>
                <a:gd name="connsiteX3" fmla="*/ 16262 w 35157"/>
                <a:gd name="connsiteY3" fmla="*/ 13401 h 18944"/>
                <a:gd name="connsiteX4" fmla="*/ 31878 w 35157"/>
                <a:gd name="connsiteY4" fmla="*/ 18945 h 1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57" h="18944">
                  <a:moveTo>
                    <a:pt x="35158" y="12074"/>
                  </a:moveTo>
                  <a:cubicBezTo>
                    <a:pt x="35158" y="12074"/>
                    <a:pt x="27350" y="9966"/>
                    <a:pt x="18917" y="7311"/>
                  </a:cubicBezTo>
                  <a:cubicBezTo>
                    <a:pt x="10719" y="2938"/>
                    <a:pt x="490" y="-1278"/>
                    <a:pt x="22" y="362"/>
                  </a:cubicBezTo>
                  <a:cubicBezTo>
                    <a:pt x="-447" y="2002"/>
                    <a:pt x="6737" y="7389"/>
                    <a:pt x="16262" y="13401"/>
                  </a:cubicBezTo>
                  <a:cubicBezTo>
                    <a:pt x="21025" y="15353"/>
                    <a:pt x="26491" y="16681"/>
                    <a:pt x="31878" y="18945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E6A66D5D-7EDA-4694-A8B0-49093C56CEB7}"/>
                </a:ext>
              </a:extLst>
            </p:cNvPr>
            <p:cNvSpPr/>
            <p:nvPr/>
          </p:nvSpPr>
          <p:spPr>
            <a:xfrm rot="21076108">
              <a:off x="8034042" y="-775331"/>
              <a:ext cx="89386" cy="248578"/>
            </a:xfrm>
            <a:custGeom>
              <a:avLst/>
              <a:gdLst>
                <a:gd name="connsiteX0" fmla="*/ 11478 w 89386"/>
                <a:gd name="connsiteY0" fmla="*/ 0 h 248578"/>
                <a:gd name="connsiteX1" fmla="*/ 55125 w 89386"/>
                <a:gd name="connsiteY1" fmla="*/ 101504 h 248578"/>
                <a:gd name="connsiteX2" fmla="*/ 71131 w 89386"/>
                <a:gd name="connsiteY2" fmla="*/ 248451 h 248578"/>
                <a:gd name="connsiteX3" fmla="*/ 20535 w 89386"/>
                <a:gd name="connsiteY3" fmla="*/ 121961 h 248578"/>
                <a:gd name="connsiteX4" fmla="*/ 0 w 89386"/>
                <a:gd name="connsiteY4" fmla="*/ 5934 h 248578"/>
                <a:gd name="connsiteX5" fmla="*/ 11478 w 89386"/>
                <a:gd name="connsiteY5" fmla="*/ 0 h 24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386" h="248578">
                  <a:moveTo>
                    <a:pt x="11478" y="0"/>
                  </a:moveTo>
                  <a:cubicBezTo>
                    <a:pt x="15616" y="4138"/>
                    <a:pt x="32169" y="48488"/>
                    <a:pt x="55125" y="101504"/>
                  </a:cubicBezTo>
                  <a:cubicBezTo>
                    <a:pt x="85654" y="171776"/>
                    <a:pt x="105877" y="243766"/>
                    <a:pt x="71131" y="248451"/>
                  </a:cubicBezTo>
                  <a:cubicBezTo>
                    <a:pt x="46536" y="251808"/>
                    <a:pt x="30217" y="188563"/>
                    <a:pt x="20535" y="121961"/>
                  </a:cubicBezTo>
                  <a:cubicBezTo>
                    <a:pt x="11478" y="63713"/>
                    <a:pt x="0" y="5934"/>
                    <a:pt x="0" y="5934"/>
                  </a:cubicBezTo>
                  <a:cubicBezTo>
                    <a:pt x="4052" y="4429"/>
                    <a:pt x="7907" y="2437"/>
                    <a:pt x="11478" y="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636" name="Group 635">
              <a:extLst>
                <a:ext uri="{FF2B5EF4-FFF2-40B4-BE49-F238E27FC236}">
                  <a16:creationId xmlns:a16="http://schemas.microsoft.com/office/drawing/2014/main" id="{49E38307-C616-44A6-A3FE-99A4EBD459B4}"/>
                </a:ext>
              </a:extLst>
            </p:cNvPr>
            <p:cNvGrpSpPr/>
            <p:nvPr/>
          </p:nvGrpSpPr>
          <p:grpSpPr>
            <a:xfrm>
              <a:off x="8018568" y="-786416"/>
              <a:ext cx="57790" cy="34812"/>
              <a:chOff x="7927914" y="-933117"/>
              <a:chExt cx="57790" cy="34812"/>
            </a:xfrm>
          </p:grpSpPr>
          <p:sp>
            <p:nvSpPr>
              <p:cNvPr id="683" name="Freeform: Shape 682">
                <a:extLst>
                  <a:ext uri="{FF2B5EF4-FFF2-40B4-BE49-F238E27FC236}">
                    <a16:creationId xmlns:a16="http://schemas.microsoft.com/office/drawing/2014/main" id="{5190A944-B72E-4722-B438-0E3246E1DD26}"/>
                  </a:ext>
                </a:extLst>
              </p:cNvPr>
              <p:cNvSpPr/>
              <p:nvPr/>
            </p:nvSpPr>
            <p:spPr>
              <a:xfrm>
                <a:off x="7943151" y="-906425"/>
                <a:ext cx="5979" cy="5934"/>
              </a:xfrm>
              <a:custGeom>
                <a:avLst/>
                <a:gdLst>
                  <a:gd name="connsiteX0" fmla="*/ 0 w 5979"/>
                  <a:gd name="connsiteY0" fmla="*/ 2577 h 5934"/>
                  <a:gd name="connsiteX1" fmla="*/ 4763 w 5979"/>
                  <a:gd name="connsiteY1" fmla="*/ 5934 h 5934"/>
                  <a:gd name="connsiteX2" fmla="*/ 3982 w 5979"/>
                  <a:gd name="connsiteY2" fmla="*/ 0 h 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9" h="5934">
                    <a:moveTo>
                      <a:pt x="0" y="2577"/>
                    </a:moveTo>
                    <a:cubicBezTo>
                      <a:pt x="1363" y="3984"/>
                      <a:pt x="2979" y="5124"/>
                      <a:pt x="4763" y="5934"/>
                    </a:cubicBezTo>
                    <a:cubicBezTo>
                      <a:pt x="4763" y="5934"/>
                      <a:pt x="7964" y="4294"/>
                      <a:pt x="398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684" name="Freeform: Shape 683">
                <a:extLst>
                  <a:ext uri="{FF2B5EF4-FFF2-40B4-BE49-F238E27FC236}">
                    <a16:creationId xmlns:a16="http://schemas.microsoft.com/office/drawing/2014/main" id="{7C23D549-87AF-4247-BA03-729E8D1B272D}"/>
                  </a:ext>
                </a:extLst>
              </p:cNvPr>
              <p:cNvSpPr/>
              <p:nvPr/>
            </p:nvSpPr>
            <p:spPr>
              <a:xfrm>
                <a:off x="7937803" y="-918839"/>
                <a:ext cx="17582" cy="10931"/>
              </a:xfrm>
              <a:custGeom>
                <a:avLst/>
                <a:gdLst>
                  <a:gd name="connsiteX0" fmla="*/ 17528 w 17582"/>
                  <a:gd name="connsiteY0" fmla="*/ 8589 h 10931"/>
                  <a:gd name="connsiteX1" fmla="*/ 13781 w 17582"/>
                  <a:gd name="connsiteY1" fmla="*/ 10931 h 10931"/>
                  <a:gd name="connsiteX2" fmla="*/ 7300 w 17582"/>
                  <a:gd name="connsiteY2" fmla="*/ 9916 h 10931"/>
                  <a:gd name="connsiteX3" fmla="*/ 117 w 17582"/>
                  <a:gd name="connsiteY3" fmla="*/ 9916 h 10931"/>
                  <a:gd name="connsiteX4" fmla="*/ 117 w 17582"/>
                  <a:gd name="connsiteY4" fmla="*/ 6168 h 10931"/>
                  <a:gd name="connsiteX5" fmla="*/ 10345 w 17582"/>
                  <a:gd name="connsiteY5" fmla="*/ 0 h 10931"/>
                  <a:gd name="connsiteX6" fmla="*/ 17528 w 17582"/>
                  <a:gd name="connsiteY6" fmla="*/ 8589 h 10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82" h="10931">
                    <a:moveTo>
                      <a:pt x="17528" y="8589"/>
                    </a:moveTo>
                    <a:cubicBezTo>
                      <a:pt x="17528" y="8589"/>
                      <a:pt x="14561" y="10541"/>
                      <a:pt x="13781" y="10931"/>
                    </a:cubicBezTo>
                    <a:cubicBezTo>
                      <a:pt x="11587" y="10852"/>
                      <a:pt x="9412" y="10511"/>
                      <a:pt x="7300" y="9916"/>
                    </a:cubicBezTo>
                    <a:cubicBezTo>
                      <a:pt x="7300" y="9916"/>
                      <a:pt x="351" y="9916"/>
                      <a:pt x="117" y="9916"/>
                    </a:cubicBezTo>
                    <a:cubicBezTo>
                      <a:pt x="-39" y="8672"/>
                      <a:pt x="-39" y="7413"/>
                      <a:pt x="117" y="6168"/>
                    </a:cubicBezTo>
                    <a:lnTo>
                      <a:pt x="10345" y="0"/>
                    </a:lnTo>
                    <a:cubicBezTo>
                      <a:pt x="10345" y="0"/>
                      <a:pt x="18309" y="6481"/>
                      <a:pt x="17528" y="8589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685" name="Freeform: Shape 684">
                <a:extLst>
                  <a:ext uri="{FF2B5EF4-FFF2-40B4-BE49-F238E27FC236}">
                    <a16:creationId xmlns:a16="http://schemas.microsoft.com/office/drawing/2014/main" id="{2986670E-8828-4C57-B83C-B993F901B422}"/>
                  </a:ext>
                </a:extLst>
              </p:cNvPr>
              <p:cNvSpPr/>
              <p:nvPr/>
            </p:nvSpPr>
            <p:spPr>
              <a:xfrm>
                <a:off x="7933313" y="-923212"/>
                <a:ext cx="19598" cy="24528"/>
              </a:xfrm>
              <a:custGeom>
                <a:avLst/>
                <a:gdLst>
                  <a:gd name="connsiteX0" fmla="*/ 19598 w 19598"/>
                  <a:gd name="connsiteY0" fmla="*/ 7574 h 24528"/>
                  <a:gd name="connsiteX1" fmla="*/ 11790 w 19598"/>
                  <a:gd name="connsiteY1" fmla="*/ 7574 h 24528"/>
                  <a:gd name="connsiteX2" fmla="*/ 5622 w 19598"/>
                  <a:gd name="connsiteY2" fmla="*/ 12337 h 24528"/>
                  <a:gd name="connsiteX3" fmla="*/ 8979 w 19598"/>
                  <a:gd name="connsiteY3" fmla="*/ 24517 h 24528"/>
                  <a:gd name="connsiteX4" fmla="*/ 547 w 19598"/>
                  <a:gd name="connsiteY4" fmla="*/ 15616 h 24528"/>
                  <a:gd name="connsiteX5" fmla="*/ 0 w 19598"/>
                  <a:gd name="connsiteY5" fmla="*/ 7808 h 24528"/>
                  <a:gd name="connsiteX6" fmla="*/ 13352 w 19598"/>
                  <a:gd name="connsiteY6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98" h="24528">
                    <a:moveTo>
                      <a:pt x="19598" y="7574"/>
                    </a:moveTo>
                    <a:lnTo>
                      <a:pt x="11790" y="7574"/>
                    </a:lnTo>
                    <a:lnTo>
                      <a:pt x="5622" y="12337"/>
                    </a:lnTo>
                    <a:cubicBezTo>
                      <a:pt x="5622" y="12337"/>
                      <a:pt x="11868" y="20613"/>
                      <a:pt x="8979" y="24517"/>
                    </a:cubicBezTo>
                    <a:cubicBezTo>
                      <a:pt x="8979" y="24517"/>
                      <a:pt x="7027" y="25220"/>
                      <a:pt x="547" y="15616"/>
                    </a:cubicBezTo>
                    <a:lnTo>
                      <a:pt x="0" y="7808"/>
                    </a:lnTo>
                    <a:lnTo>
                      <a:pt x="13352" y="0"/>
                    </a:ln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686" name="Freeform: Shape 685">
                <a:extLst>
                  <a:ext uri="{FF2B5EF4-FFF2-40B4-BE49-F238E27FC236}">
                    <a16:creationId xmlns:a16="http://schemas.microsoft.com/office/drawing/2014/main" id="{DD7C3279-6D88-4FE0-B7FC-A9820775B8D7}"/>
                  </a:ext>
                </a:extLst>
              </p:cNvPr>
              <p:cNvSpPr/>
              <p:nvPr/>
            </p:nvSpPr>
            <p:spPr>
              <a:xfrm>
                <a:off x="7927914" y="-933117"/>
                <a:ext cx="57790" cy="34812"/>
              </a:xfrm>
              <a:custGeom>
                <a:avLst/>
                <a:gdLst>
                  <a:gd name="connsiteX0" fmla="*/ 25543 w 57790"/>
                  <a:gd name="connsiteY0" fmla="*/ 223 h 34812"/>
                  <a:gd name="connsiteX1" fmla="*/ 11 w 57790"/>
                  <a:gd name="connsiteY1" fmla="*/ 18416 h 34812"/>
                  <a:gd name="connsiteX2" fmla="*/ 2041 w 57790"/>
                  <a:gd name="connsiteY2" fmla="*/ 34812 h 34812"/>
                  <a:gd name="connsiteX3" fmla="*/ 6804 w 57790"/>
                  <a:gd name="connsiteY3" fmla="*/ 19587 h 34812"/>
                  <a:gd name="connsiteX4" fmla="*/ 18126 w 57790"/>
                  <a:gd name="connsiteY4" fmla="*/ 15370 h 34812"/>
                  <a:gd name="connsiteX5" fmla="*/ 25231 w 57790"/>
                  <a:gd name="connsiteY5" fmla="*/ 20914 h 34812"/>
                  <a:gd name="connsiteX6" fmla="*/ 45688 w 57790"/>
                  <a:gd name="connsiteY6" fmla="*/ 31299 h 34812"/>
                  <a:gd name="connsiteX7" fmla="*/ 52637 w 57790"/>
                  <a:gd name="connsiteY7" fmla="*/ 31845 h 34812"/>
                  <a:gd name="connsiteX8" fmla="*/ 57790 w 57790"/>
                  <a:gd name="connsiteY8" fmla="*/ 24037 h 34812"/>
                  <a:gd name="connsiteX9" fmla="*/ 25543 w 57790"/>
                  <a:gd name="connsiteY9" fmla="*/ 223 h 34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790" h="34812">
                    <a:moveTo>
                      <a:pt x="25543" y="223"/>
                    </a:moveTo>
                    <a:cubicBezTo>
                      <a:pt x="21327" y="-2198"/>
                      <a:pt x="323" y="15839"/>
                      <a:pt x="11" y="18416"/>
                    </a:cubicBezTo>
                    <a:cubicBezTo>
                      <a:pt x="-97" y="23950"/>
                      <a:pt x="586" y="29472"/>
                      <a:pt x="2041" y="34812"/>
                    </a:cubicBezTo>
                    <a:cubicBezTo>
                      <a:pt x="7429" y="34344"/>
                      <a:pt x="6804" y="19587"/>
                      <a:pt x="6804" y="19587"/>
                    </a:cubicBezTo>
                    <a:lnTo>
                      <a:pt x="18126" y="15370"/>
                    </a:lnTo>
                    <a:cubicBezTo>
                      <a:pt x="21952" y="16932"/>
                      <a:pt x="24762" y="18103"/>
                      <a:pt x="25231" y="20914"/>
                    </a:cubicBezTo>
                    <a:cubicBezTo>
                      <a:pt x="30607" y="26687"/>
                      <a:pt x="37855" y="30366"/>
                      <a:pt x="45688" y="31299"/>
                    </a:cubicBezTo>
                    <a:lnTo>
                      <a:pt x="52637" y="31845"/>
                    </a:lnTo>
                    <a:lnTo>
                      <a:pt x="57790" y="24037"/>
                    </a:lnTo>
                    <a:cubicBezTo>
                      <a:pt x="48381" y="14430"/>
                      <a:pt x="37494" y="6390"/>
                      <a:pt x="25543" y="223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687" name="Freeform: Shape 686">
                <a:extLst>
                  <a:ext uri="{FF2B5EF4-FFF2-40B4-BE49-F238E27FC236}">
                    <a16:creationId xmlns:a16="http://schemas.microsoft.com/office/drawing/2014/main" id="{CE10CE3E-6182-448B-A9CD-6DC1715BA379}"/>
                  </a:ext>
                </a:extLst>
              </p:cNvPr>
              <p:cNvSpPr/>
              <p:nvPr/>
            </p:nvSpPr>
            <p:spPr>
              <a:xfrm>
                <a:off x="7930658" y="-907830"/>
                <a:ext cx="3669" cy="4138"/>
              </a:xfrm>
              <a:custGeom>
                <a:avLst/>
                <a:gdLst>
                  <a:gd name="connsiteX0" fmla="*/ 3670 w 3669"/>
                  <a:gd name="connsiteY0" fmla="*/ 2108 h 4138"/>
                  <a:gd name="connsiteX1" fmla="*/ 0 w 3669"/>
                  <a:gd name="connsiteY1" fmla="*/ 0 h 4138"/>
                  <a:gd name="connsiteX2" fmla="*/ 3201 w 3669"/>
                  <a:gd name="connsiteY2" fmla="*/ 4138 h 4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69" h="4138">
                    <a:moveTo>
                      <a:pt x="3670" y="2108"/>
                    </a:moveTo>
                    <a:lnTo>
                      <a:pt x="0" y="0"/>
                    </a:lnTo>
                    <a:cubicBezTo>
                      <a:pt x="266" y="1846"/>
                      <a:pt x="1481" y="3417"/>
                      <a:pt x="3201" y="4138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688" name="Freeform: Shape 687">
                <a:extLst>
                  <a:ext uri="{FF2B5EF4-FFF2-40B4-BE49-F238E27FC236}">
                    <a16:creationId xmlns:a16="http://schemas.microsoft.com/office/drawing/2014/main" id="{35D4E857-BED6-4B90-B255-99271BB531F3}"/>
                  </a:ext>
                </a:extLst>
              </p:cNvPr>
              <p:cNvSpPr/>
              <p:nvPr/>
            </p:nvSpPr>
            <p:spPr>
              <a:xfrm>
                <a:off x="7930889" y="-917432"/>
                <a:ext cx="42713" cy="16726"/>
              </a:xfrm>
              <a:custGeom>
                <a:avLst/>
                <a:gdLst>
                  <a:gd name="connsiteX0" fmla="*/ 42713 w 42713"/>
                  <a:gd name="connsiteY0" fmla="*/ 15614 h 16726"/>
                  <a:gd name="connsiteX1" fmla="*/ 31158 w 42713"/>
                  <a:gd name="connsiteY1" fmla="*/ 16707 h 16726"/>
                  <a:gd name="connsiteX2" fmla="*/ 14292 w 42713"/>
                  <a:gd name="connsiteY2" fmla="*/ 14365 h 16726"/>
                  <a:gd name="connsiteX3" fmla="*/ 4 w 42713"/>
                  <a:gd name="connsiteY3" fmla="*/ 9602 h 16726"/>
                  <a:gd name="connsiteX4" fmla="*/ 14683 w 42713"/>
                  <a:gd name="connsiteY4" fmla="*/ 7103 h 16726"/>
                  <a:gd name="connsiteX5" fmla="*/ 22491 w 42713"/>
                  <a:gd name="connsiteY5" fmla="*/ 2419 h 16726"/>
                  <a:gd name="connsiteX6" fmla="*/ 42713 w 42713"/>
                  <a:gd name="connsiteY6" fmla="*/ 15614 h 1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713" h="16726">
                    <a:moveTo>
                      <a:pt x="42713" y="15614"/>
                    </a:moveTo>
                    <a:cubicBezTo>
                      <a:pt x="38921" y="16451"/>
                      <a:pt x="35040" y="16819"/>
                      <a:pt x="31158" y="16707"/>
                    </a:cubicBezTo>
                    <a:cubicBezTo>
                      <a:pt x="25472" y="16492"/>
                      <a:pt x="19822" y="15708"/>
                      <a:pt x="14292" y="14365"/>
                    </a:cubicBezTo>
                    <a:cubicBezTo>
                      <a:pt x="9295" y="13593"/>
                      <a:pt x="4464" y="11983"/>
                      <a:pt x="4" y="9602"/>
                    </a:cubicBezTo>
                    <a:cubicBezTo>
                      <a:pt x="4" y="9602"/>
                      <a:pt x="-621" y="5229"/>
                      <a:pt x="14683" y="7103"/>
                    </a:cubicBezTo>
                    <a:cubicBezTo>
                      <a:pt x="14683" y="7103"/>
                      <a:pt x="23896" y="8587"/>
                      <a:pt x="22491" y="2419"/>
                    </a:cubicBezTo>
                    <a:cubicBezTo>
                      <a:pt x="19524" y="-7263"/>
                      <a:pt x="41933" y="15224"/>
                      <a:pt x="42713" y="15614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637" name="Group 636">
              <a:extLst>
                <a:ext uri="{FF2B5EF4-FFF2-40B4-BE49-F238E27FC236}">
                  <a16:creationId xmlns:a16="http://schemas.microsoft.com/office/drawing/2014/main" id="{353439BE-4CAE-4D45-A4A7-686950AE143F}"/>
                </a:ext>
              </a:extLst>
            </p:cNvPr>
            <p:cNvGrpSpPr/>
            <p:nvPr/>
          </p:nvGrpSpPr>
          <p:grpSpPr>
            <a:xfrm>
              <a:off x="7970435" y="-905020"/>
              <a:ext cx="330130" cy="495258"/>
              <a:chOff x="7943500" y="-884184"/>
              <a:chExt cx="330130" cy="495258"/>
            </a:xfrm>
            <a:scene3d>
              <a:camera prst="perspectiveContrastingRightFacing" fov="0">
                <a:rot lat="600000" lon="17400000" rev="1800000"/>
              </a:camera>
              <a:lightRig rig="threePt" dir="t"/>
            </a:scene3d>
          </p:grpSpPr>
          <p:grpSp>
            <p:nvGrpSpPr>
              <p:cNvPr id="638" name="Group 637">
                <a:extLst>
                  <a:ext uri="{FF2B5EF4-FFF2-40B4-BE49-F238E27FC236}">
                    <a16:creationId xmlns:a16="http://schemas.microsoft.com/office/drawing/2014/main" id="{0D89195B-DFF9-41D4-834C-64DF384608C3}"/>
                  </a:ext>
                </a:extLst>
              </p:cNvPr>
              <p:cNvGrpSpPr/>
              <p:nvPr/>
            </p:nvGrpSpPr>
            <p:grpSpPr>
              <a:xfrm rot="5400000">
                <a:off x="7860936" y="-801620"/>
                <a:ext cx="495258" cy="330130"/>
                <a:chOff x="10037763" y="1192213"/>
                <a:chExt cx="1186084" cy="790622"/>
              </a:xfrm>
            </p:grpSpPr>
            <p:grpSp>
              <p:nvGrpSpPr>
                <p:cNvPr id="679" name="Group 678">
                  <a:extLst>
                    <a:ext uri="{FF2B5EF4-FFF2-40B4-BE49-F238E27FC236}">
                      <a16:creationId xmlns:a16="http://schemas.microsoft.com/office/drawing/2014/main" id="{61C3E21C-3A21-4D33-AAB3-8FD25CEABDAD}"/>
                    </a:ext>
                  </a:extLst>
                </p:cNvPr>
                <p:cNvGrpSpPr/>
                <p:nvPr/>
              </p:nvGrpSpPr>
              <p:grpSpPr>
                <a:xfrm>
                  <a:off x="10037763" y="1192213"/>
                  <a:ext cx="1186084" cy="790622"/>
                  <a:chOff x="10037763" y="1192213"/>
                  <a:chExt cx="1186084" cy="790622"/>
                </a:xfrm>
                <a:solidFill>
                  <a:schemeClr val="tx1">
                    <a:lumMod val="85000"/>
                    <a:lumOff val="15000"/>
                  </a:schemeClr>
                </a:solidFill>
              </p:grpSpPr>
              <p:sp>
                <p:nvSpPr>
                  <p:cNvPr id="681" name="Rectangle: Rounded Corners 680">
                    <a:extLst>
                      <a:ext uri="{FF2B5EF4-FFF2-40B4-BE49-F238E27FC236}">
                        <a16:creationId xmlns:a16="http://schemas.microsoft.com/office/drawing/2014/main" id="{BC754BA8-15E1-4CFB-880E-82503E22898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037763" y="1192213"/>
                    <a:ext cx="1186084" cy="790622"/>
                  </a:xfrm>
                  <a:prstGeom prst="roundRect">
                    <a:avLst>
                      <a:gd name="adj" fmla="val 5383"/>
                    </a:avLst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10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82" name="Rectangle 681">
                    <a:extLst>
                      <a:ext uri="{FF2B5EF4-FFF2-40B4-BE49-F238E27FC236}">
                        <a16:creationId xmlns:a16="http://schemas.microsoft.com/office/drawing/2014/main" id="{2F1F88DC-A605-40A7-BB15-AECBEC89866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076286" y="1227089"/>
                    <a:ext cx="1109039" cy="720871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10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680" name="Rectangle 679">
                  <a:extLst>
                    <a:ext uri="{FF2B5EF4-FFF2-40B4-BE49-F238E27FC236}">
                      <a16:creationId xmlns:a16="http://schemas.microsoft.com/office/drawing/2014/main" id="{55DB7AD8-A78D-4EA8-AD41-F0C1DE3758DF}"/>
                    </a:ext>
                  </a:extLst>
                </p:cNvPr>
                <p:cNvSpPr/>
                <p:nvPr/>
              </p:nvSpPr>
              <p:spPr bwMode="auto">
                <a:xfrm>
                  <a:off x="10080833" y="1233173"/>
                  <a:ext cx="825733" cy="71478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39" name="TextBox 638">
                <a:extLst>
                  <a:ext uri="{FF2B5EF4-FFF2-40B4-BE49-F238E27FC236}">
                    <a16:creationId xmlns:a16="http://schemas.microsoft.com/office/drawing/2014/main" id="{B3E6E841-D60F-4BE8-9599-7D75CDB06A27}"/>
                  </a:ext>
                </a:extLst>
              </p:cNvPr>
              <p:cNvSpPr txBox="1"/>
              <p:nvPr/>
            </p:nvSpPr>
            <p:spPr>
              <a:xfrm>
                <a:off x="7987140" y="-500976"/>
                <a:ext cx="236887" cy="382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294" b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ustomer</a:t>
                </a:r>
              </a:p>
            </p:txBody>
          </p:sp>
          <p:grpSp>
            <p:nvGrpSpPr>
              <p:cNvPr id="640" name="Graphic 35">
                <a:extLst>
                  <a:ext uri="{FF2B5EF4-FFF2-40B4-BE49-F238E27FC236}">
                    <a16:creationId xmlns:a16="http://schemas.microsoft.com/office/drawing/2014/main" id="{D0CFFC3A-4649-4913-BE85-6825DB087C69}"/>
                  </a:ext>
                </a:extLst>
              </p:cNvPr>
              <p:cNvGrpSpPr/>
              <p:nvPr/>
            </p:nvGrpSpPr>
            <p:grpSpPr>
              <a:xfrm>
                <a:off x="8072974" y="-844332"/>
                <a:ext cx="60809" cy="290385"/>
                <a:chOff x="718877" y="1766194"/>
                <a:chExt cx="465864" cy="2224672"/>
              </a:xfrm>
              <a:solidFill>
                <a:schemeClr val="accent1"/>
              </a:solidFill>
            </p:grpSpPr>
            <p:sp>
              <p:nvSpPr>
                <p:cNvPr id="641" name="Freeform: Shape 640">
                  <a:extLst>
                    <a:ext uri="{FF2B5EF4-FFF2-40B4-BE49-F238E27FC236}">
                      <a16:creationId xmlns:a16="http://schemas.microsoft.com/office/drawing/2014/main" id="{440AD7BD-78A2-4324-937B-08A3F5119679}"/>
                    </a:ext>
                  </a:extLst>
                </p:cNvPr>
                <p:cNvSpPr/>
                <p:nvPr/>
              </p:nvSpPr>
              <p:spPr>
                <a:xfrm>
                  <a:off x="741639" y="2465000"/>
                  <a:ext cx="68543" cy="366331"/>
                </a:xfrm>
                <a:custGeom>
                  <a:avLst/>
                  <a:gdLst>
                    <a:gd name="connsiteX0" fmla="*/ 0 w 68543"/>
                    <a:gd name="connsiteY0" fmla="*/ 6001 h 366331"/>
                    <a:gd name="connsiteX1" fmla="*/ 38576 w 68543"/>
                    <a:gd name="connsiteY1" fmla="*/ 366332 h 366331"/>
                    <a:gd name="connsiteX2" fmla="*/ 50578 w 68543"/>
                    <a:gd name="connsiteY2" fmla="*/ 366332 h 366331"/>
                    <a:gd name="connsiteX3" fmla="*/ 63532 w 68543"/>
                    <a:gd name="connsiteY3" fmla="*/ 0 h 366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543" h="366331">
                      <a:moveTo>
                        <a:pt x="0" y="6001"/>
                      </a:moveTo>
                      <a:cubicBezTo>
                        <a:pt x="0" y="6001"/>
                        <a:pt x="2477" y="222123"/>
                        <a:pt x="38576" y="366332"/>
                      </a:cubicBezTo>
                      <a:lnTo>
                        <a:pt x="50578" y="366332"/>
                      </a:lnTo>
                      <a:cubicBezTo>
                        <a:pt x="50578" y="366332"/>
                        <a:pt x="80010" y="167926"/>
                        <a:pt x="63532" y="0"/>
                      </a:cubicBez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2" name="Freeform: Shape 641">
                  <a:extLst>
                    <a:ext uri="{FF2B5EF4-FFF2-40B4-BE49-F238E27FC236}">
                      <a16:creationId xmlns:a16="http://schemas.microsoft.com/office/drawing/2014/main" id="{DB45A40E-822E-4E44-B393-DE1FF5B2F55C}"/>
                    </a:ext>
                  </a:extLst>
                </p:cNvPr>
                <p:cNvSpPr/>
                <p:nvPr/>
              </p:nvSpPr>
              <p:spPr>
                <a:xfrm>
                  <a:off x="732315" y="2077428"/>
                  <a:ext cx="90960" cy="443934"/>
                </a:xfrm>
                <a:custGeom>
                  <a:avLst/>
                  <a:gdLst>
                    <a:gd name="connsiteX0" fmla="*/ 37232 w 90960"/>
                    <a:gd name="connsiteY0" fmla="*/ 0 h 443934"/>
                    <a:gd name="connsiteX1" fmla="*/ 2942 w 90960"/>
                    <a:gd name="connsiteY1" fmla="*/ 75248 h 443934"/>
                    <a:gd name="connsiteX2" fmla="*/ 28660 w 90960"/>
                    <a:gd name="connsiteY2" fmla="*/ 442341 h 443934"/>
                    <a:gd name="connsiteX3" fmla="*/ 89048 w 90960"/>
                    <a:gd name="connsiteY3" fmla="*/ 167545 h 443934"/>
                    <a:gd name="connsiteX4" fmla="*/ 37232 w 90960"/>
                    <a:gd name="connsiteY4" fmla="*/ 0 h 443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960" h="443934">
                      <a:moveTo>
                        <a:pt x="37232" y="0"/>
                      </a:moveTo>
                      <a:cubicBezTo>
                        <a:pt x="37232" y="0"/>
                        <a:pt x="5609" y="11906"/>
                        <a:pt x="2942" y="75248"/>
                      </a:cubicBezTo>
                      <a:cubicBezTo>
                        <a:pt x="-1535" y="186976"/>
                        <a:pt x="-5630" y="429006"/>
                        <a:pt x="28660" y="442341"/>
                      </a:cubicBezTo>
                      <a:cubicBezTo>
                        <a:pt x="95335" y="468344"/>
                        <a:pt x="89048" y="167545"/>
                        <a:pt x="89048" y="167545"/>
                      </a:cubicBezTo>
                      <a:cubicBezTo>
                        <a:pt x="89048" y="167545"/>
                        <a:pt x="106288" y="16478"/>
                        <a:pt x="37232" y="0"/>
                      </a:cubicBez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3" name="Freeform: Shape 642">
                  <a:extLst>
                    <a:ext uri="{FF2B5EF4-FFF2-40B4-BE49-F238E27FC236}">
                      <a16:creationId xmlns:a16="http://schemas.microsoft.com/office/drawing/2014/main" id="{0B813F88-3AF4-4D6C-BD05-A176570CA351}"/>
                    </a:ext>
                  </a:extLst>
                </p:cNvPr>
                <p:cNvSpPr/>
                <p:nvPr/>
              </p:nvSpPr>
              <p:spPr>
                <a:xfrm>
                  <a:off x="765119" y="3122415"/>
                  <a:ext cx="159399" cy="729043"/>
                </a:xfrm>
                <a:custGeom>
                  <a:avLst/>
                  <a:gdLst>
                    <a:gd name="connsiteX0" fmla="*/ 159400 w 159399"/>
                    <a:gd name="connsiteY0" fmla="*/ 52388 h 729043"/>
                    <a:gd name="connsiteX1" fmla="*/ 125777 w 159399"/>
                    <a:gd name="connsiteY1" fmla="*/ 349187 h 729043"/>
                    <a:gd name="connsiteX2" fmla="*/ 90439 w 159399"/>
                    <a:gd name="connsiteY2" fmla="*/ 729043 h 729043"/>
                    <a:gd name="connsiteX3" fmla="*/ 62721 w 159399"/>
                    <a:gd name="connsiteY3" fmla="*/ 723424 h 729043"/>
                    <a:gd name="connsiteX4" fmla="*/ 142 w 159399"/>
                    <a:gd name="connsiteY4" fmla="*/ 318611 h 729043"/>
                    <a:gd name="connsiteX5" fmla="*/ 52625 w 159399"/>
                    <a:gd name="connsiteY5" fmla="*/ 139160 h 729043"/>
                    <a:gd name="connsiteX6" fmla="*/ 37385 w 159399"/>
                    <a:gd name="connsiteY6" fmla="*/ 0 h 729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9399" h="729043">
                      <a:moveTo>
                        <a:pt x="159400" y="52388"/>
                      </a:moveTo>
                      <a:cubicBezTo>
                        <a:pt x="159400" y="52388"/>
                        <a:pt x="142541" y="177260"/>
                        <a:pt x="125777" y="349187"/>
                      </a:cubicBezTo>
                      <a:cubicBezTo>
                        <a:pt x="113204" y="478060"/>
                        <a:pt x="90248" y="572072"/>
                        <a:pt x="90439" y="729043"/>
                      </a:cubicBezTo>
                      <a:cubicBezTo>
                        <a:pt x="90439" y="729043"/>
                        <a:pt x="92439" y="723424"/>
                        <a:pt x="62721" y="723424"/>
                      </a:cubicBezTo>
                      <a:cubicBezTo>
                        <a:pt x="50053" y="664559"/>
                        <a:pt x="-3097" y="379190"/>
                        <a:pt x="142" y="318611"/>
                      </a:cubicBezTo>
                      <a:cubicBezTo>
                        <a:pt x="3380" y="258032"/>
                        <a:pt x="52625" y="139160"/>
                        <a:pt x="52625" y="139160"/>
                      </a:cubicBezTo>
                      <a:lnTo>
                        <a:pt x="37385" y="0"/>
                      </a:ln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4" name="Freeform: Shape 643">
                  <a:extLst>
                    <a:ext uri="{FF2B5EF4-FFF2-40B4-BE49-F238E27FC236}">
                      <a16:creationId xmlns:a16="http://schemas.microsoft.com/office/drawing/2014/main" id="{5839D71B-4C9D-4B91-AC77-6648F2ECB129}"/>
                    </a:ext>
                  </a:extLst>
                </p:cNvPr>
                <p:cNvSpPr/>
                <p:nvPr/>
              </p:nvSpPr>
              <p:spPr>
                <a:xfrm>
                  <a:off x="830127" y="3887555"/>
                  <a:ext cx="47720" cy="42961"/>
                </a:xfrm>
                <a:custGeom>
                  <a:avLst/>
                  <a:gdLst>
                    <a:gd name="connsiteX0" fmla="*/ 47720 w 47720"/>
                    <a:gd name="connsiteY0" fmla="*/ 42962 h 42961"/>
                    <a:gd name="connsiteX1" fmla="*/ 25336 w 47720"/>
                    <a:gd name="connsiteY1" fmla="*/ 28579 h 42961"/>
                    <a:gd name="connsiteX2" fmla="*/ 0 w 47720"/>
                    <a:gd name="connsiteY2" fmla="*/ 4 h 42961"/>
                    <a:gd name="connsiteX3" fmla="*/ 47720 w 47720"/>
                    <a:gd name="connsiteY3" fmla="*/ 42962 h 4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20" h="42961">
                      <a:moveTo>
                        <a:pt x="47720" y="42962"/>
                      </a:moveTo>
                      <a:cubicBezTo>
                        <a:pt x="39772" y="38971"/>
                        <a:pt x="32268" y="34151"/>
                        <a:pt x="25336" y="28579"/>
                      </a:cubicBezTo>
                      <a:cubicBezTo>
                        <a:pt x="25336" y="28579"/>
                        <a:pt x="23717" y="14863"/>
                        <a:pt x="0" y="4"/>
                      </a:cubicBezTo>
                      <a:cubicBezTo>
                        <a:pt x="0" y="-282"/>
                        <a:pt x="45529" y="15149"/>
                        <a:pt x="47720" y="42962"/>
                      </a:cubicBezTo>
                      <a:close/>
                    </a:path>
                  </a:pathLst>
                </a:custGeom>
                <a:solidFill>
                  <a:srgbClr val="2A30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5" name="Freeform: Shape 644">
                  <a:extLst>
                    <a:ext uri="{FF2B5EF4-FFF2-40B4-BE49-F238E27FC236}">
                      <a16:creationId xmlns:a16="http://schemas.microsoft.com/office/drawing/2014/main" id="{DAD814EB-8D48-491A-B79B-D30CFDD8D473}"/>
                    </a:ext>
                  </a:extLst>
                </p:cNvPr>
                <p:cNvSpPr/>
                <p:nvPr/>
              </p:nvSpPr>
              <p:spPr>
                <a:xfrm>
                  <a:off x="820598" y="3841553"/>
                  <a:ext cx="88993" cy="88963"/>
                </a:xfrm>
                <a:custGeom>
                  <a:avLst/>
                  <a:gdLst>
                    <a:gd name="connsiteX0" fmla="*/ 6671 w 88993"/>
                    <a:gd name="connsiteY0" fmla="*/ 4667 h 88963"/>
                    <a:gd name="connsiteX1" fmla="*/ 9529 w 88993"/>
                    <a:gd name="connsiteY1" fmla="*/ 45720 h 88963"/>
                    <a:gd name="connsiteX2" fmla="*/ 57154 w 88993"/>
                    <a:gd name="connsiteY2" fmla="*/ 88963 h 88963"/>
                    <a:gd name="connsiteX3" fmla="*/ 84395 w 88993"/>
                    <a:gd name="connsiteY3" fmla="*/ 46101 h 88963"/>
                    <a:gd name="connsiteX4" fmla="*/ 55820 w 88993"/>
                    <a:gd name="connsiteY4" fmla="*/ 47339 h 88963"/>
                    <a:gd name="connsiteX5" fmla="*/ 22102 w 88993"/>
                    <a:gd name="connsiteY5" fmla="*/ 1810 h 88963"/>
                    <a:gd name="connsiteX6" fmla="*/ 11719 w 88993"/>
                    <a:gd name="connsiteY6" fmla="*/ 0 h 8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8993" h="88963">
                      <a:moveTo>
                        <a:pt x="6671" y="4667"/>
                      </a:moveTo>
                      <a:cubicBezTo>
                        <a:pt x="6671" y="4667"/>
                        <a:pt x="-10093" y="35909"/>
                        <a:pt x="9529" y="45720"/>
                      </a:cubicBezTo>
                      <a:cubicBezTo>
                        <a:pt x="32579" y="57150"/>
                        <a:pt x="52867" y="76200"/>
                        <a:pt x="57154" y="88963"/>
                      </a:cubicBezTo>
                      <a:cubicBezTo>
                        <a:pt x="57154" y="88963"/>
                        <a:pt x="103445" y="56483"/>
                        <a:pt x="84395" y="46101"/>
                      </a:cubicBezTo>
                      <a:cubicBezTo>
                        <a:pt x="75156" y="42262"/>
                        <a:pt x="64693" y="42720"/>
                        <a:pt x="55820" y="47339"/>
                      </a:cubicBezTo>
                      <a:lnTo>
                        <a:pt x="22102" y="1810"/>
                      </a:lnTo>
                      <a:lnTo>
                        <a:pt x="11719" y="0"/>
                      </a:ln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6" name="Freeform: Shape 645">
                  <a:extLst>
                    <a:ext uri="{FF2B5EF4-FFF2-40B4-BE49-F238E27FC236}">
                      <a16:creationId xmlns:a16="http://schemas.microsoft.com/office/drawing/2014/main" id="{ED0CFB52-2AF2-4D0F-8067-5B9193701233}"/>
                    </a:ext>
                  </a:extLst>
                </p:cNvPr>
                <p:cNvSpPr/>
                <p:nvPr/>
              </p:nvSpPr>
              <p:spPr>
                <a:xfrm>
                  <a:off x="827269" y="3834153"/>
                  <a:ext cx="63827" cy="65422"/>
                </a:xfrm>
                <a:custGeom>
                  <a:avLst/>
                  <a:gdLst>
                    <a:gd name="connsiteX0" fmla="*/ 0 w 63827"/>
                    <a:gd name="connsiteY0" fmla="*/ 12067 h 65422"/>
                    <a:gd name="connsiteX1" fmla="*/ 18383 w 63827"/>
                    <a:gd name="connsiteY1" fmla="*/ 15115 h 65422"/>
                    <a:gd name="connsiteX2" fmla="*/ 52102 w 63827"/>
                    <a:gd name="connsiteY2" fmla="*/ 65216 h 65422"/>
                    <a:gd name="connsiteX3" fmla="*/ 53531 w 63827"/>
                    <a:gd name="connsiteY3" fmla="*/ 52834 h 65422"/>
                    <a:gd name="connsiteX4" fmla="*/ 29623 w 63827"/>
                    <a:gd name="connsiteY4" fmla="*/ 14734 h 65422"/>
                    <a:gd name="connsiteX5" fmla="*/ 0 w 63827"/>
                    <a:gd name="connsiteY5" fmla="*/ 12067 h 654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827" h="65422">
                      <a:moveTo>
                        <a:pt x="0" y="12067"/>
                      </a:moveTo>
                      <a:cubicBezTo>
                        <a:pt x="0" y="12067"/>
                        <a:pt x="7525" y="3304"/>
                        <a:pt x="18383" y="15115"/>
                      </a:cubicBezTo>
                      <a:cubicBezTo>
                        <a:pt x="29242" y="26926"/>
                        <a:pt x="40291" y="61692"/>
                        <a:pt x="52102" y="65216"/>
                      </a:cubicBezTo>
                      <a:cubicBezTo>
                        <a:pt x="59055" y="67407"/>
                        <a:pt x="73819" y="51405"/>
                        <a:pt x="53531" y="52834"/>
                      </a:cubicBezTo>
                      <a:cubicBezTo>
                        <a:pt x="46958" y="49690"/>
                        <a:pt x="43148" y="40927"/>
                        <a:pt x="29623" y="14734"/>
                      </a:cubicBezTo>
                      <a:cubicBezTo>
                        <a:pt x="29623" y="14829"/>
                        <a:pt x="18288" y="-16604"/>
                        <a:pt x="0" y="12067"/>
                      </a:cubicBez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7" name="Freeform: Shape 646">
                  <a:extLst>
                    <a:ext uri="{FF2B5EF4-FFF2-40B4-BE49-F238E27FC236}">
                      <a16:creationId xmlns:a16="http://schemas.microsoft.com/office/drawing/2014/main" id="{5DD39B3E-7199-4482-8049-A89258ECF1B6}"/>
                    </a:ext>
                  </a:extLst>
                </p:cNvPr>
                <p:cNvSpPr/>
                <p:nvPr/>
              </p:nvSpPr>
              <p:spPr>
                <a:xfrm>
                  <a:off x="824792" y="3883177"/>
                  <a:ext cx="19526" cy="54063"/>
                </a:xfrm>
                <a:custGeom>
                  <a:avLst/>
                  <a:gdLst>
                    <a:gd name="connsiteX0" fmla="*/ 19526 w 19526"/>
                    <a:gd name="connsiteY0" fmla="*/ 8477 h 54063"/>
                    <a:gd name="connsiteX1" fmla="*/ 13621 w 19526"/>
                    <a:gd name="connsiteY1" fmla="*/ 53150 h 54063"/>
                    <a:gd name="connsiteX2" fmla="*/ 7715 w 19526"/>
                    <a:gd name="connsiteY2" fmla="*/ 53150 h 54063"/>
                    <a:gd name="connsiteX3" fmla="*/ 0 w 19526"/>
                    <a:gd name="connsiteY3" fmla="*/ 0 h 54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26" h="54063">
                      <a:moveTo>
                        <a:pt x="19526" y="8477"/>
                      </a:moveTo>
                      <a:cubicBezTo>
                        <a:pt x="14772" y="22870"/>
                        <a:pt x="12769" y="38024"/>
                        <a:pt x="13621" y="53150"/>
                      </a:cubicBezTo>
                      <a:cubicBezTo>
                        <a:pt x="11840" y="54369"/>
                        <a:pt x="9496" y="54369"/>
                        <a:pt x="7715" y="53150"/>
                      </a:cubicBezTo>
                      <a:cubicBezTo>
                        <a:pt x="7715" y="53150"/>
                        <a:pt x="6572" y="10668"/>
                        <a:pt x="0" y="0"/>
                      </a:cubicBez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8" name="Freeform: Shape 647">
                  <a:extLst>
                    <a:ext uri="{FF2B5EF4-FFF2-40B4-BE49-F238E27FC236}">
                      <a16:creationId xmlns:a16="http://schemas.microsoft.com/office/drawing/2014/main" id="{38C238B6-BA7E-40E6-A3AB-C013638A2216}"/>
                    </a:ext>
                  </a:extLst>
                </p:cNvPr>
                <p:cNvSpPr/>
                <p:nvPr/>
              </p:nvSpPr>
              <p:spPr>
                <a:xfrm>
                  <a:off x="858369" y="3178041"/>
                  <a:ext cx="159590" cy="726471"/>
                </a:xfrm>
                <a:custGeom>
                  <a:avLst/>
                  <a:gdLst>
                    <a:gd name="connsiteX0" fmla="*/ 159590 w 159590"/>
                    <a:gd name="connsiteY0" fmla="*/ 52673 h 726471"/>
                    <a:gd name="connsiteX1" fmla="*/ 125967 w 159590"/>
                    <a:gd name="connsiteY1" fmla="*/ 349472 h 726471"/>
                    <a:gd name="connsiteX2" fmla="*/ 91391 w 159590"/>
                    <a:gd name="connsiteY2" fmla="*/ 726472 h 726471"/>
                    <a:gd name="connsiteX3" fmla="*/ 62816 w 159590"/>
                    <a:gd name="connsiteY3" fmla="*/ 723710 h 726471"/>
                    <a:gd name="connsiteX4" fmla="*/ 142 w 159590"/>
                    <a:gd name="connsiteY4" fmla="*/ 318897 h 726471"/>
                    <a:gd name="connsiteX5" fmla="*/ 52720 w 159590"/>
                    <a:gd name="connsiteY5" fmla="*/ 139065 h 726471"/>
                    <a:gd name="connsiteX6" fmla="*/ 37384 w 159590"/>
                    <a:gd name="connsiteY6" fmla="*/ 0 h 726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9590" h="726471">
                      <a:moveTo>
                        <a:pt x="159590" y="52673"/>
                      </a:moveTo>
                      <a:cubicBezTo>
                        <a:pt x="159590" y="52673"/>
                        <a:pt x="142731" y="177737"/>
                        <a:pt x="125967" y="349472"/>
                      </a:cubicBezTo>
                      <a:cubicBezTo>
                        <a:pt x="113394" y="478441"/>
                        <a:pt x="91296" y="569405"/>
                        <a:pt x="91391" y="726472"/>
                      </a:cubicBezTo>
                      <a:cubicBezTo>
                        <a:pt x="91391" y="726472"/>
                        <a:pt x="92534" y="723710"/>
                        <a:pt x="62816" y="723710"/>
                      </a:cubicBezTo>
                      <a:cubicBezTo>
                        <a:pt x="50148" y="664940"/>
                        <a:pt x="-3097" y="379476"/>
                        <a:pt x="142" y="318897"/>
                      </a:cubicBezTo>
                      <a:cubicBezTo>
                        <a:pt x="3380" y="258318"/>
                        <a:pt x="52720" y="139065"/>
                        <a:pt x="52720" y="139065"/>
                      </a:cubicBezTo>
                      <a:lnTo>
                        <a:pt x="37384" y="0"/>
                      </a:ln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49" name="Freeform: Shape 648">
                  <a:extLst>
                    <a:ext uri="{FF2B5EF4-FFF2-40B4-BE49-F238E27FC236}">
                      <a16:creationId xmlns:a16="http://schemas.microsoft.com/office/drawing/2014/main" id="{F6CA9366-83F1-4F03-81BF-777008F0482E}"/>
                    </a:ext>
                  </a:extLst>
                </p:cNvPr>
                <p:cNvSpPr/>
                <p:nvPr/>
              </p:nvSpPr>
              <p:spPr>
                <a:xfrm>
                  <a:off x="923567" y="3941180"/>
                  <a:ext cx="47815" cy="42961"/>
                </a:xfrm>
                <a:custGeom>
                  <a:avLst/>
                  <a:gdLst>
                    <a:gd name="connsiteX0" fmla="*/ 47816 w 47815"/>
                    <a:gd name="connsiteY0" fmla="*/ 42962 h 42961"/>
                    <a:gd name="connsiteX1" fmla="*/ 25336 w 47815"/>
                    <a:gd name="connsiteY1" fmla="*/ 28579 h 42961"/>
                    <a:gd name="connsiteX2" fmla="*/ 0 w 47815"/>
                    <a:gd name="connsiteY2" fmla="*/ 4 h 42961"/>
                    <a:gd name="connsiteX3" fmla="*/ 47816 w 47815"/>
                    <a:gd name="connsiteY3" fmla="*/ 42962 h 42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815" h="42961">
                      <a:moveTo>
                        <a:pt x="47816" y="42962"/>
                      </a:moveTo>
                      <a:cubicBezTo>
                        <a:pt x="39847" y="38952"/>
                        <a:pt x="32314" y="34132"/>
                        <a:pt x="25336" y="28579"/>
                      </a:cubicBezTo>
                      <a:cubicBezTo>
                        <a:pt x="25336" y="28579"/>
                        <a:pt x="23813" y="14863"/>
                        <a:pt x="0" y="4"/>
                      </a:cubicBezTo>
                      <a:cubicBezTo>
                        <a:pt x="0" y="-282"/>
                        <a:pt x="45530" y="15149"/>
                        <a:pt x="47816" y="42962"/>
                      </a:cubicBezTo>
                      <a:close/>
                    </a:path>
                  </a:pathLst>
                </a:custGeom>
                <a:solidFill>
                  <a:srgbClr val="2A30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0" name="Freeform: Shape 649">
                  <a:extLst>
                    <a:ext uri="{FF2B5EF4-FFF2-40B4-BE49-F238E27FC236}">
                      <a16:creationId xmlns:a16="http://schemas.microsoft.com/office/drawing/2014/main" id="{7BCF3DBC-ACC1-4618-9D18-0AA96B6AD1EA}"/>
                    </a:ext>
                  </a:extLst>
                </p:cNvPr>
                <p:cNvSpPr/>
                <p:nvPr/>
              </p:nvSpPr>
              <p:spPr>
                <a:xfrm>
                  <a:off x="914067" y="3895083"/>
                  <a:ext cx="88964" cy="88963"/>
                </a:xfrm>
                <a:custGeom>
                  <a:avLst/>
                  <a:gdLst>
                    <a:gd name="connsiteX0" fmla="*/ 6737 w 88964"/>
                    <a:gd name="connsiteY0" fmla="*/ 4667 h 88963"/>
                    <a:gd name="connsiteX1" fmla="*/ 9499 w 88964"/>
                    <a:gd name="connsiteY1" fmla="*/ 45720 h 88963"/>
                    <a:gd name="connsiteX2" fmla="*/ 57124 w 88964"/>
                    <a:gd name="connsiteY2" fmla="*/ 88964 h 88963"/>
                    <a:gd name="connsiteX3" fmla="*/ 84366 w 88964"/>
                    <a:gd name="connsiteY3" fmla="*/ 46101 h 88963"/>
                    <a:gd name="connsiteX4" fmla="*/ 55791 w 88964"/>
                    <a:gd name="connsiteY4" fmla="*/ 47339 h 88963"/>
                    <a:gd name="connsiteX5" fmla="*/ 21977 w 88964"/>
                    <a:gd name="connsiteY5" fmla="*/ 1810 h 88963"/>
                    <a:gd name="connsiteX6" fmla="*/ 11595 w 88964"/>
                    <a:gd name="connsiteY6" fmla="*/ 0 h 88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8964" h="88963">
                      <a:moveTo>
                        <a:pt x="6737" y="4667"/>
                      </a:moveTo>
                      <a:cubicBezTo>
                        <a:pt x="6737" y="4667"/>
                        <a:pt x="-10122" y="35909"/>
                        <a:pt x="9499" y="45720"/>
                      </a:cubicBezTo>
                      <a:cubicBezTo>
                        <a:pt x="32550" y="57150"/>
                        <a:pt x="52838" y="76200"/>
                        <a:pt x="57124" y="88964"/>
                      </a:cubicBezTo>
                      <a:cubicBezTo>
                        <a:pt x="57124" y="88964"/>
                        <a:pt x="103416" y="56483"/>
                        <a:pt x="84366" y="46101"/>
                      </a:cubicBezTo>
                      <a:cubicBezTo>
                        <a:pt x="75128" y="42253"/>
                        <a:pt x="64660" y="42710"/>
                        <a:pt x="55791" y="47339"/>
                      </a:cubicBezTo>
                      <a:lnTo>
                        <a:pt x="21977" y="1810"/>
                      </a:lnTo>
                      <a:lnTo>
                        <a:pt x="11595" y="0"/>
                      </a:ln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1" name="Freeform: Shape 650">
                  <a:extLst>
                    <a:ext uri="{FF2B5EF4-FFF2-40B4-BE49-F238E27FC236}">
                      <a16:creationId xmlns:a16="http://schemas.microsoft.com/office/drawing/2014/main" id="{F467B0F0-4215-4C5E-897B-74DDB156F655}"/>
                    </a:ext>
                  </a:extLst>
                </p:cNvPr>
                <p:cNvSpPr/>
                <p:nvPr/>
              </p:nvSpPr>
              <p:spPr>
                <a:xfrm>
                  <a:off x="920805" y="3887745"/>
                  <a:ext cx="63827" cy="65361"/>
                </a:xfrm>
                <a:custGeom>
                  <a:avLst/>
                  <a:gdLst>
                    <a:gd name="connsiteX0" fmla="*/ 0 w 63827"/>
                    <a:gd name="connsiteY0" fmla="*/ 12005 h 65361"/>
                    <a:gd name="connsiteX1" fmla="*/ 18288 w 63827"/>
                    <a:gd name="connsiteY1" fmla="*/ 15053 h 65361"/>
                    <a:gd name="connsiteX2" fmla="*/ 52102 w 63827"/>
                    <a:gd name="connsiteY2" fmla="*/ 65155 h 65361"/>
                    <a:gd name="connsiteX3" fmla="*/ 53530 w 63827"/>
                    <a:gd name="connsiteY3" fmla="*/ 52772 h 65361"/>
                    <a:gd name="connsiteX4" fmla="*/ 29623 w 63827"/>
                    <a:gd name="connsiteY4" fmla="*/ 14672 h 65361"/>
                    <a:gd name="connsiteX5" fmla="*/ 0 w 63827"/>
                    <a:gd name="connsiteY5" fmla="*/ 12005 h 6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3827" h="65361">
                      <a:moveTo>
                        <a:pt x="0" y="12005"/>
                      </a:moveTo>
                      <a:cubicBezTo>
                        <a:pt x="0" y="12005"/>
                        <a:pt x="7525" y="3242"/>
                        <a:pt x="18288" y="15053"/>
                      </a:cubicBezTo>
                      <a:cubicBezTo>
                        <a:pt x="29051" y="26864"/>
                        <a:pt x="40291" y="61630"/>
                        <a:pt x="52102" y="65155"/>
                      </a:cubicBezTo>
                      <a:cubicBezTo>
                        <a:pt x="59055" y="67345"/>
                        <a:pt x="73819" y="51343"/>
                        <a:pt x="53530" y="52772"/>
                      </a:cubicBezTo>
                      <a:cubicBezTo>
                        <a:pt x="46958" y="49629"/>
                        <a:pt x="43053" y="40866"/>
                        <a:pt x="29623" y="14672"/>
                      </a:cubicBezTo>
                      <a:cubicBezTo>
                        <a:pt x="29623" y="14863"/>
                        <a:pt x="18288" y="-16570"/>
                        <a:pt x="0" y="12005"/>
                      </a:cubicBez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2" name="Freeform: Shape 651">
                  <a:extLst>
                    <a:ext uri="{FF2B5EF4-FFF2-40B4-BE49-F238E27FC236}">
                      <a16:creationId xmlns:a16="http://schemas.microsoft.com/office/drawing/2014/main" id="{819C5D0E-D6EC-4345-80A3-2A2F9B28594D}"/>
                    </a:ext>
                  </a:extLst>
                </p:cNvPr>
                <p:cNvSpPr/>
                <p:nvPr/>
              </p:nvSpPr>
              <p:spPr>
                <a:xfrm>
                  <a:off x="918423" y="3936803"/>
                  <a:ext cx="19526" cy="54063"/>
                </a:xfrm>
                <a:custGeom>
                  <a:avLst/>
                  <a:gdLst>
                    <a:gd name="connsiteX0" fmla="*/ 19526 w 19526"/>
                    <a:gd name="connsiteY0" fmla="*/ 8477 h 54063"/>
                    <a:gd name="connsiteX1" fmla="*/ 13621 w 19526"/>
                    <a:gd name="connsiteY1" fmla="*/ 53150 h 54063"/>
                    <a:gd name="connsiteX2" fmla="*/ 7715 w 19526"/>
                    <a:gd name="connsiteY2" fmla="*/ 53150 h 54063"/>
                    <a:gd name="connsiteX3" fmla="*/ 0 w 19526"/>
                    <a:gd name="connsiteY3" fmla="*/ 0 h 54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526" h="54063">
                      <a:moveTo>
                        <a:pt x="19526" y="8477"/>
                      </a:moveTo>
                      <a:cubicBezTo>
                        <a:pt x="14714" y="22850"/>
                        <a:pt x="12709" y="38014"/>
                        <a:pt x="13621" y="53150"/>
                      </a:cubicBezTo>
                      <a:cubicBezTo>
                        <a:pt x="11840" y="54369"/>
                        <a:pt x="9496" y="54369"/>
                        <a:pt x="7715" y="53150"/>
                      </a:cubicBezTo>
                      <a:cubicBezTo>
                        <a:pt x="7715" y="53150"/>
                        <a:pt x="6477" y="10668"/>
                        <a:pt x="0" y="0"/>
                      </a:cubicBez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3" name="Freeform: Shape 652">
                  <a:extLst>
                    <a:ext uri="{FF2B5EF4-FFF2-40B4-BE49-F238E27FC236}">
                      <a16:creationId xmlns:a16="http://schemas.microsoft.com/office/drawing/2014/main" id="{4A0AB1EB-4CB0-421C-AE92-90E1BAE3BFEB}"/>
                    </a:ext>
                  </a:extLst>
                </p:cNvPr>
                <p:cNvSpPr/>
                <p:nvPr/>
              </p:nvSpPr>
              <p:spPr>
                <a:xfrm>
                  <a:off x="727915" y="2587110"/>
                  <a:ext cx="398285" cy="755363"/>
                </a:xfrm>
                <a:custGeom>
                  <a:avLst/>
                  <a:gdLst>
                    <a:gd name="connsiteX0" fmla="*/ 68874 w 398285"/>
                    <a:gd name="connsiteY0" fmla="*/ 607123 h 755363"/>
                    <a:gd name="connsiteX1" fmla="*/ 60683 w 398285"/>
                    <a:gd name="connsiteY1" fmla="*/ 0 h 755363"/>
                    <a:gd name="connsiteX2" fmla="*/ 393105 w 398285"/>
                    <a:gd name="connsiteY2" fmla="*/ 200025 h 755363"/>
                    <a:gd name="connsiteX3" fmla="*/ 303665 w 398285"/>
                    <a:gd name="connsiteY3" fmla="*/ 737997 h 755363"/>
                    <a:gd name="connsiteX4" fmla="*/ 215845 w 398285"/>
                    <a:gd name="connsiteY4" fmla="*/ 747522 h 755363"/>
                    <a:gd name="connsiteX5" fmla="*/ 68874 w 398285"/>
                    <a:gd name="connsiteY5" fmla="*/ 607123 h 755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98285" h="755363">
                      <a:moveTo>
                        <a:pt x="68874" y="607123"/>
                      </a:moveTo>
                      <a:cubicBezTo>
                        <a:pt x="68874" y="607123"/>
                        <a:pt x="-80478" y="205454"/>
                        <a:pt x="60683" y="0"/>
                      </a:cubicBezTo>
                      <a:cubicBezTo>
                        <a:pt x="60683" y="0"/>
                        <a:pt x="318429" y="76200"/>
                        <a:pt x="393105" y="200025"/>
                      </a:cubicBezTo>
                      <a:cubicBezTo>
                        <a:pt x="393105" y="200025"/>
                        <a:pt x="430634" y="352425"/>
                        <a:pt x="303665" y="737997"/>
                      </a:cubicBezTo>
                      <a:cubicBezTo>
                        <a:pt x="303665" y="737997"/>
                        <a:pt x="281567" y="769620"/>
                        <a:pt x="215845" y="747522"/>
                      </a:cubicBezTo>
                      <a:cubicBezTo>
                        <a:pt x="98401" y="700850"/>
                        <a:pt x="68874" y="607123"/>
                        <a:pt x="68874" y="607123"/>
                      </a:cubicBezTo>
                      <a:close/>
                    </a:path>
                  </a:pathLst>
                </a:custGeom>
                <a:solidFill>
                  <a:srgbClr val="EF9B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4" name="Freeform: Shape 653">
                  <a:extLst>
                    <a:ext uri="{FF2B5EF4-FFF2-40B4-BE49-F238E27FC236}">
                      <a16:creationId xmlns:a16="http://schemas.microsoft.com/office/drawing/2014/main" id="{22FD6EAC-20E3-4E80-B069-E5B17D90075D}"/>
                    </a:ext>
                  </a:extLst>
                </p:cNvPr>
                <p:cNvSpPr/>
                <p:nvPr/>
              </p:nvSpPr>
              <p:spPr>
                <a:xfrm>
                  <a:off x="760564" y="2077428"/>
                  <a:ext cx="347193" cy="481012"/>
                </a:xfrm>
                <a:custGeom>
                  <a:avLst/>
                  <a:gdLst>
                    <a:gd name="connsiteX0" fmla="*/ 312736 w 347193"/>
                    <a:gd name="connsiteY0" fmla="*/ 174498 h 481012"/>
                    <a:gd name="connsiteX1" fmla="*/ 8984 w 347193"/>
                    <a:gd name="connsiteY1" fmla="*/ 0 h 481012"/>
                    <a:gd name="connsiteX2" fmla="*/ 602 w 347193"/>
                    <a:gd name="connsiteY2" fmla="*/ 73533 h 481012"/>
                    <a:gd name="connsiteX3" fmla="*/ 100233 w 347193"/>
                    <a:gd name="connsiteY3" fmla="*/ 400431 h 481012"/>
                    <a:gd name="connsiteX4" fmla="*/ 241013 w 347193"/>
                    <a:gd name="connsiteY4" fmla="*/ 481013 h 481012"/>
                    <a:gd name="connsiteX5" fmla="*/ 344073 w 347193"/>
                    <a:gd name="connsiteY5" fmla="*/ 301752 h 481012"/>
                    <a:gd name="connsiteX6" fmla="*/ 312736 w 347193"/>
                    <a:gd name="connsiteY6" fmla="*/ 174498 h 481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7193" h="481012">
                      <a:moveTo>
                        <a:pt x="312736" y="174498"/>
                      </a:moveTo>
                      <a:cubicBezTo>
                        <a:pt x="312736" y="174498"/>
                        <a:pt x="214057" y="83153"/>
                        <a:pt x="8984" y="0"/>
                      </a:cubicBezTo>
                      <a:cubicBezTo>
                        <a:pt x="1486" y="23744"/>
                        <a:pt x="-1360" y="48711"/>
                        <a:pt x="602" y="73533"/>
                      </a:cubicBezTo>
                      <a:cubicBezTo>
                        <a:pt x="4697" y="144304"/>
                        <a:pt x="31272" y="259461"/>
                        <a:pt x="100233" y="400431"/>
                      </a:cubicBezTo>
                      <a:lnTo>
                        <a:pt x="241013" y="481013"/>
                      </a:lnTo>
                      <a:cubicBezTo>
                        <a:pt x="252157" y="393573"/>
                        <a:pt x="325976" y="362617"/>
                        <a:pt x="344073" y="301752"/>
                      </a:cubicBezTo>
                      <a:cubicBezTo>
                        <a:pt x="353313" y="270796"/>
                        <a:pt x="341787" y="242506"/>
                        <a:pt x="312736" y="174498"/>
                      </a:cubicBezTo>
                      <a:close/>
                    </a:path>
                  </a:pathLst>
                </a:custGeom>
                <a:solidFill>
                  <a:srgbClr val="EF9B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5" name="Freeform: Shape 654">
                  <a:extLst>
                    <a:ext uri="{FF2B5EF4-FFF2-40B4-BE49-F238E27FC236}">
                      <a16:creationId xmlns:a16="http://schemas.microsoft.com/office/drawing/2014/main" id="{5A247042-5539-4F32-9585-4E636CA77C9F}"/>
                    </a:ext>
                  </a:extLst>
                </p:cNvPr>
                <p:cNvSpPr/>
                <p:nvPr/>
              </p:nvSpPr>
              <p:spPr>
                <a:xfrm>
                  <a:off x="776882" y="2475287"/>
                  <a:ext cx="344138" cy="311753"/>
                </a:xfrm>
                <a:custGeom>
                  <a:avLst/>
                  <a:gdLst>
                    <a:gd name="connsiteX0" fmla="*/ 224695 w 344138"/>
                    <a:gd name="connsiteY0" fmla="*/ 83153 h 311753"/>
                    <a:gd name="connsiteX1" fmla="*/ 344138 w 344138"/>
                    <a:gd name="connsiteY1" fmla="*/ 311753 h 311753"/>
                    <a:gd name="connsiteX2" fmla="*/ 0 w 344138"/>
                    <a:gd name="connsiteY2" fmla="*/ 114300 h 311753"/>
                    <a:gd name="connsiteX3" fmla="*/ 85725 w 344138"/>
                    <a:gd name="connsiteY3" fmla="*/ 0 h 311753"/>
                    <a:gd name="connsiteX4" fmla="*/ 224695 w 344138"/>
                    <a:gd name="connsiteY4" fmla="*/ 83153 h 311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138" h="311753">
                      <a:moveTo>
                        <a:pt x="224695" y="83153"/>
                      </a:moveTo>
                      <a:cubicBezTo>
                        <a:pt x="224695" y="83153"/>
                        <a:pt x="290703" y="154019"/>
                        <a:pt x="344138" y="311753"/>
                      </a:cubicBezTo>
                      <a:lnTo>
                        <a:pt x="0" y="114300"/>
                      </a:lnTo>
                      <a:lnTo>
                        <a:pt x="85725" y="0"/>
                      </a:lnTo>
                      <a:cubicBezTo>
                        <a:pt x="85725" y="0"/>
                        <a:pt x="186595" y="2096"/>
                        <a:pt x="224695" y="83153"/>
                      </a:cubicBezTo>
                      <a:close/>
                    </a:path>
                  </a:pathLst>
                </a:custGeom>
                <a:solidFill>
                  <a:srgbClr val="EF9B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6" name="Freeform: Shape 655">
                  <a:extLst>
                    <a:ext uri="{FF2B5EF4-FFF2-40B4-BE49-F238E27FC236}">
                      <a16:creationId xmlns:a16="http://schemas.microsoft.com/office/drawing/2014/main" id="{E5F6E681-6BA8-4B1F-AA5A-2D97F45416B2}"/>
                    </a:ext>
                  </a:extLst>
                </p:cNvPr>
                <p:cNvSpPr/>
                <p:nvPr/>
              </p:nvSpPr>
              <p:spPr>
                <a:xfrm>
                  <a:off x="718877" y="2077428"/>
                  <a:ext cx="376615" cy="1265647"/>
                </a:xfrm>
                <a:custGeom>
                  <a:avLst/>
                  <a:gdLst>
                    <a:gd name="connsiteX0" fmla="*/ 77912 w 376615"/>
                    <a:gd name="connsiteY0" fmla="*/ 1116806 h 1265647"/>
                    <a:gd name="connsiteX1" fmla="*/ 58005 w 376615"/>
                    <a:gd name="connsiteY1" fmla="*/ 512159 h 1265647"/>
                    <a:gd name="connsiteX2" fmla="*/ 141920 w 376615"/>
                    <a:gd name="connsiteY2" fmla="*/ 400431 h 1265647"/>
                    <a:gd name="connsiteX3" fmla="*/ 42288 w 376615"/>
                    <a:gd name="connsiteY3" fmla="*/ 73533 h 1265647"/>
                    <a:gd name="connsiteX4" fmla="*/ 50670 w 376615"/>
                    <a:gd name="connsiteY4" fmla="*/ 0 h 1265647"/>
                    <a:gd name="connsiteX5" fmla="*/ 338802 w 376615"/>
                    <a:gd name="connsiteY5" fmla="*/ 161068 h 1265647"/>
                    <a:gd name="connsiteX6" fmla="*/ 267269 w 376615"/>
                    <a:gd name="connsiteY6" fmla="*/ 477298 h 1265647"/>
                    <a:gd name="connsiteX7" fmla="*/ 29144 w 376615"/>
                    <a:gd name="connsiteY7" fmla="*/ 607314 h 1265647"/>
                    <a:gd name="connsiteX8" fmla="*/ 376616 w 376615"/>
                    <a:gd name="connsiteY8" fmla="*/ 805625 h 1265647"/>
                    <a:gd name="connsiteX9" fmla="*/ 274889 w 376615"/>
                    <a:gd name="connsiteY9" fmla="*/ 1264253 h 1265647"/>
                    <a:gd name="connsiteX10" fmla="*/ 164970 w 376615"/>
                    <a:gd name="connsiteY10" fmla="*/ 1224725 h 1265647"/>
                    <a:gd name="connsiteX11" fmla="*/ 77912 w 376615"/>
                    <a:gd name="connsiteY11" fmla="*/ 1116806 h 1265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76615" h="1265647">
                      <a:moveTo>
                        <a:pt x="77912" y="1116806"/>
                      </a:moveTo>
                      <a:cubicBezTo>
                        <a:pt x="77912" y="1116806"/>
                        <a:pt x="-83251" y="717423"/>
                        <a:pt x="58005" y="512159"/>
                      </a:cubicBezTo>
                      <a:lnTo>
                        <a:pt x="141920" y="400431"/>
                      </a:lnTo>
                      <a:cubicBezTo>
                        <a:pt x="72959" y="259461"/>
                        <a:pt x="46384" y="144304"/>
                        <a:pt x="42288" y="73533"/>
                      </a:cubicBezTo>
                      <a:cubicBezTo>
                        <a:pt x="40326" y="48711"/>
                        <a:pt x="43172" y="23744"/>
                        <a:pt x="50670" y="0"/>
                      </a:cubicBezTo>
                      <a:cubicBezTo>
                        <a:pt x="208785" y="64198"/>
                        <a:pt x="303654" y="133350"/>
                        <a:pt x="338802" y="161068"/>
                      </a:cubicBezTo>
                      <a:cubicBezTo>
                        <a:pt x="297273" y="173926"/>
                        <a:pt x="230979" y="279273"/>
                        <a:pt x="267269" y="477298"/>
                      </a:cubicBezTo>
                      <a:cubicBezTo>
                        <a:pt x="267269" y="477298"/>
                        <a:pt x="39336" y="509492"/>
                        <a:pt x="29144" y="607314"/>
                      </a:cubicBezTo>
                      <a:cubicBezTo>
                        <a:pt x="15809" y="736473"/>
                        <a:pt x="326800" y="853631"/>
                        <a:pt x="376616" y="805625"/>
                      </a:cubicBezTo>
                      <a:cubicBezTo>
                        <a:pt x="376616" y="805625"/>
                        <a:pt x="374616" y="970216"/>
                        <a:pt x="274889" y="1264253"/>
                      </a:cubicBezTo>
                      <a:cubicBezTo>
                        <a:pt x="274889" y="1264253"/>
                        <a:pt x="240313" y="1277112"/>
                        <a:pt x="164970" y="1224725"/>
                      </a:cubicBezTo>
                      <a:cubicBezTo>
                        <a:pt x="89628" y="1172337"/>
                        <a:pt x="77912" y="1116806"/>
                        <a:pt x="77912" y="1116806"/>
                      </a:cubicBezTo>
                      <a:close/>
                    </a:path>
                  </a:pathLst>
                </a:custGeom>
                <a:solidFill>
                  <a:srgbClr val="EF9B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7" name="Freeform: Shape 656">
                  <a:extLst>
                    <a:ext uri="{FF2B5EF4-FFF2-40B4-BE49-F238E27FC236}">
                      <a16:creationId xmlns:a16="http://schemas.microsoft.com/office/drawing/2014/main" id="{F2375C60-7260-4C85-B8AD-C69484A0F4D1}"/>
                    </a:ext>
                  </a:extLst>
                </p:cNvPr>
                <p:cNvSpPr/>
                <p:nvPr/>
              </p:nvSpPr>
              <p:spPr>
                <a:xfrm>
                  <a:off x="790788" y="2085714"/>
                  <a:ext cx="247173" cy="209550"/>
                </a:xfrm>
                <a:custGeom>
                  <a:avLst/>
                  <a:gdLst>
                    <a:gd name="connsiteX0" fmla="*/ 247174 w 247173"/>
                    <a:gd name="connsiteY0" fmla="*/ 137636 h 209550"/>
                    <a:gd name="connsiteX1" fmla="*/ 82677 w 247173"/>
                    <a:gd name="connsiteY1" fmla="*/ 209550 h 209550"/>
                    <a:gd name="connsiteX2" fmla="*/ 0 w 247173"/>
                    <a:gd name="connsiteY2" fmla="*/ 0 h 209550"/>
                    <a:gd name="connsiteX3" fmla="*/ 247174 w 247173"/>
                    <a:gd name="connsiteY3" fmla="*/ 137636 h 20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173" h="209550">
                      <a:moveTo>
                        <a:pt x="247174" y="137636"/>
                      </a:moveTo>
                      <a:cubicBezTo>
                        <a:pt x="191028" y="158482"/>
                        <a:pt x="136107" y="182491"/>
                        <a:pt x="82677" y="209550"/>
                      </a:cubicBezTo>
                      <a:cubicBezTo>
                        <a:pt x="69818" y="185071"/>
                        <a:pt x="16002" y="111824"/>
                        <a:pt x="0" y="0"/>
                      </a:cubicBezTo>
                      <a:cubicBezTo>
                        <a:pt x="0" y="381"/>
                        <a:pt x="171164" y="78677"/>
                        <a:pt x="247174" y="137636"/>
                      </a:cubicBez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8" name="Freeform: Shape 657">
                  <a:extLst>
                    <a:ext uri="{FF2B5EF4-FFF2-40B4-BE49-F238E27FC236}">
                      <a16:creationId xmlns:a16="http://schemas.microsoft.com/office/drawing/2014/main" id="{BCCF9335-34AB-43D7-905D-D7677600CCFB}"/>
                    </a:ext>
                  </a:extLst>
                </p:cNvPr>
                <p:cNvSpPr/>
                <p:nvPr/>
              </p:nvSpPr>
              <p:spPr>
                <a:xfrm>
                  <a:off x="790788" y="2086095"/>
                  <a:ext cx="230028" cy="127319"/>
                </a:xfrm>
                <a:custGeom>
                  <a:avLst/>
                  <a:gdLst>
                    <a:gd name="connsiteX0" fmla="*/ 230029 w 230028"/>
                    <a:gd name="connsiteY0" fmla="*/ 125063 h 127319"/>
                    <a:gd name="connsiteX1" fmla="*/ 0 w 230028"/>
                    <a:gd name="connsiteY1" fmla="*/ 0 h 127319"/>
                    <a:gd name="connsiteX2" fmla="*/ 230029 w 230028"/>
                    <a:gd name="connsiteY2" fmla="*/ 125063 h 127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0028" h="127319">
                      <a:moveTo>
                        <a:pt x="230029" y="125063"/>
                      </a:moveTo>
                      <a:cubicBezTo>
                        <a:pt x="230029" y="125063"/>
                        <a:pt x="65723" y="154591"/>
                        <a:pt x="0" y="0"/>
                      </a:cubicBezTo>
                      <a:cubicBezTo>
                        <a:pt x="81646" y="31814"/>
                        <a:pt x="158937" y="73835"/>
                        <a:pt x="230029" y="125063"/>
                      </a:cubicBezTo>
                      <a:close/>
                    </a:path>
                  </a:pathLst>
                </a:custGeom>
                <a:solidFill>
                  <a:srgbClr val="E2A25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59" name="Freeform: Shape 658">
                  <a:extLst>
                    <a:ext uri="{FF2B5EF4-FFF2-40B4-BE49-F238E27FC236}">
                      <a16:creationId xmlns:a16="http://schemas.microsoft.com/office/drawing/2014/main" id="{F5017456-4602-4EDF-AB26-ADF7ECB8DA24}"/>
                    </a:ext>
                  </a:extLst>
                </p:cNvPr>
                <p:cNvSpPr/>
                <p:nvPr/>
              </p:nvSpPr>
              <p:spPr>
                <a:xfrm>
                  <a:off x="852225" y="1997515"/>
                  <a:ext cx="161925" cy="218310"/>
                </a:xfrm>
                <a:custGeom>
                  <a:avLst/>
                  <a:gdLst>
                    <a:gd name="connsiteX0" fmla="*/ 161925 w 161925"/>
                    <a:gd name="connsiteY0" fmla="*/ 107535 h 218310"/>
                    <a:gd name="connsiteX1" fmla="*/ 128302 w 161925"/>
                    <a:gd name="connsiteY1" fmla="*/ 218310 h 218310"/>
                    <a:gd name="connsiteX2" fmla="*/ 0 w 161925"/>
                    <a:gd name="connsiteY2" fmla="*/ 169638 h 218310"/>
                    <a:gd name="connsiteX3" fmla="*/ 1905 w 161925"/>
                    <a:gd name="connsiteY3" fmla="*/ 5903 h 218310"/>
                    <a:gd name="connsiteX4" fmla="*/ 161925 w 161925"/>
                    <a:gd name="connsiteY4" fmla="*/ 107535 h 218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925" h="218310">
                      <a:moveTo>
                        <a:pt x="161925" y="107535"/>
                      </a:moveTo>
                      <a:cubicBezTo>
                        <a:pt x="161925" y="107535"/>
                        <a:pt x="111347" y="154493"/>
                        <a:pt x="128302" y="218310"/>
                      </a:cubicBezTo>
                      <a:lnTo>
                        <a:pt x="0" y="169638"/>
                      </a:lnTo>
                      <a:cubicBezTo>
                        <a:pt x="6749" y="115302"/>
                        <a:pt x="7389" y="60381"/>
                        <a:pt x="1905" y="5903"/>
                      </a:cubicBezTo>
                      <a:cubicBezTo>
                        <a:pt x="-1619" y="-29721"/>
                        <a:pt x="161925" y="107535"/>
                        <a:pt x="161925" y="107535"/>
                      </a:cubicBezTo>
                      <a:close/>
                    </a:path>
                  </a:pathLst>
                </a:custGeom>
                <a:solidFill>
                  <a:srgbClr val="E2A25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0" name="Freeform: Shape 659">
                  <a:extLst>
                    <a:ext uri="{FF2B5EF4-FFF2-40B4-BE49-F238E27FC236}">
                      <a16:creationId xmlns:a16="http://schemas.microsoft.com/office/drawing/2014/main" id="{E644D5E7-6648-4EB7-A3DB-852CCDCE3067}"/>
                    </a:ext>
                  </a:extLst>
                </p:cNvPr>
                <p:cNvSpPr/>
                <p:nvPr/>
              </p:nvSpPr>
              <p:spPr>
                <a:xfrm>
                  <a:off x="833831" y="1860162"/>
                  <a:ext cx="146123" cy="231323"/>
                </a:xfrm>
                <a:custGeom>
                  <a:avLst/>
                  <a:gdLst>
                    <a:gd name="connsiteX0" fmla="*/ 486 w 146123"/>
                    <a:gd name="connsiteY0" fmla="*/ 0 h 231323"/>
                    <a:gd name="connsiteX1" fmla="*/ 136122 w 146123"/>
                    <a:gd name="connsiteY1" fmla="*/ 228600 h 231323"/>
                    <a:gd name="connsiteX2" fmla="*/ 146123 w 146123"/>
                    <a:gd name="connsiteY2" fmla="*/ 71057 h 231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6123" h="231323">
                      <a:moveTo>
                        <a:pt x="486" y="0"/>
                      </a:moveTo>
                      <a:cubicBezTo>
                        <a:pt x="486" y="0"/>
                        <a:pt x="-15516" y="260604"/>
                        <a:pt x="136122" y="228600"/>
                      </a:cubicBezTo>
                      <a:lnTo>
                        <a:pt x="146123" y="71057"/>
                      </a:ln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1" name="Freeform: Shape 660">
                  <a:extLst>
                    <a:ext uri="{FF2B5EF4-FFF2-40B4-BE49-F238E27FC236}">
                      <a16:creationId xmlns:a16="http://schemas.microsoft.com/office/drawing/2014/main" id="{22CDA0F4-4F32-41B2-A30C-26BDF70A14FD}"/>
                    </a:ext>
                  </a:extLst>
                </p:cNvPr>
                <p:cNvSpPr/>
                <p:nvPr/>
              </p:nvSpPr>
              <p:spPr>
                <a:xfrm>
                  <a:off x="965096" y="1892547"/>
                  <a:ext cx="161353" cy="254741"/>
                </a:xfrm>
                <a:custGeom>
                  <a:avLst/>
                  <a:gdLst>
                    <a:gd name="connsiteX0" fmla="*/ 161354 w 161353"/>
                    <a:gd name="connsiteY0" fmla="*/ 0 h 254741"/>
                    <a:gd name="connsiteX1" fmla="*/ 134779 w 161353"/>
                    <a:gd name="connsiteY1" fmla="*/ 143256 h 254741"/>
                    <a:gd name="connsiteX2" fmla="*/ 89726 w 161353"/>
                    <a:gd name="connsiteY2" fmla="*/ 252603 h 254741"/>
                    <a:gd name="connsiteX3" fmla="*/ 17621 w 161353"/>
                    <a:gd name="connsiteY3" fmla="*/ 226886 h 254741"/>
                    <a:gd name="connsiteX4" fmla="*/ 0 w 161353"/>
                    <a:gd name="connsiteY4" fmla="*/ 61151 h 254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353" h="254741">
                      <a:moveTo>
                        <a:pt x="161354" y="0"/>
                      </a:moveTo>
                      <a:cubicBezTo>
                        <a:pt x="145447" y="37338"/>
                        <a:pt x="144304" y="92678"/>
                        <a:pt x="134779" y="143256"/>
                      </a:cubicBezTo>
                      <a:cubicBezTo>
                        <a:pt x="123730" y="199072"/>
                        <a:pt x="103918" y="248031"/>
                        <a:pt x="89726" y="252603"/>
                      </a:cubicBezTo>
                      <a:cubicBezTo>
                        <a:pt x="77724" y="256413"/>
                        <a:pt x="52102" y="258699"/>
                        <a:pt x="17621" y="226886"/>
                      </a:cubicBezTo>
                      <a:lnTo>
                        <a:pt x="0" y="61151"/>
                      </a:ln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2" name="Freeform: Shape 661">
                  <a:extLst>
                    <a:ext uri="{FF2B5EF4-FFF2-40B4-BE49-F238E27FC236}">
                      <a16:creationId xmlns:a16="http://schemas.microsoft.com/office/drawing/2014/main" id="{CF48FA3C-248B-4943-B0B3-A44E22DCE82A}"/>
                    </a:ext>
                  </a:extLst>
                </p:cNvPr>
                <p:cNvSpPr/>
                <p:nvPr/>
              </p:nvSpPr>
              <p:spPr>
                <a:xfrm>
                  <a:off x="976050" y="2059806"/>
                  <a:ext cx="74009" cy="87153"/>
                </a:xfrm>
                <a:custGeom>
                  <a:avLst/>
                  <a:gdLst>
                    <a:gd name="connsiteX0" fmla="*/ 0 w 74009"/>
                    <a:gd name="connsiteY0" fmla="*/ 19050 h 87153"/>
                    <a:gd name="connsiteX1" fmla="*/ 8763 w 74009"/>
                    <a:gd name="connsiteY1" fmla="*/ 0 h 87153"/>
                    <a:gd name="connsiteX2" fmla="*/ 74009 w 74009"/>
                    <a:gd name="connsiteY2" fmla="*/ 86487 h 87153"/>
                    <a:gd name="connsiteX3" fmla="*/ 4096 w 74009"/>
                    <a:gd name="connsiteY3" fmla="*/ 57150 h 87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" h="87153">
                      <a:moveTo>
                        <a:pt x="0" y="19050"/>
                      </a:moveTo>
                      <a:lnTo>
                        <a:pt x="8763" y="0"/>
                      </a:lnTo>
                      <a:cubicBezTo>
                        <a:pt x="33242" y="96107"/>
                        <a:pt x="74009" y="86487"/>
                        <a:pt x="74009" y="86487"/>
                      </a:cubicBezTo>
                      <a:cubicBezTo>
                        <a:pt x="74009" y="86487"/>
                        <a:pt x="40672" y="94202"/>
                        <a:pt x="4096" y="57150"/>
                      </a:cubicBezTo>
                      <a:close/>
                    </a:path>
                  </a:pathLst>
                </a:custGeom>
                <a:solidFill>
                  <a:srgbClr val="E2A25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3" name="Freeform: Shape 662">
                  <a:extLst>
                    <a:ext uri="{FF2B5EF4-FFF2-40B4-BE49-F238E27FC236}">
                      <a16:creationId xmlns:a16="http://schemas.microsoft.com/office/drawing/2014/main" id="{5AF72878-4246-4FBC-B6BF-80F7DEFE52C6}"/>
                    </a:ext>
                  </a:extLst>
                </p:cNvPr>
                <p:cNvSpPr/>
                <p:nvPr/>
              </p:nvSpPr>
              <p:spPr>
                <a:xfrm>
                  <a:off x="820510" y="1766194"/>
                  <a:ext cx="309177" cy="345641"/>
                </a:xfrm>
                <a:custGeom>
                  <a:avLst/>
                  <a:gdLst>
                    <a:gd name="connsiteX0" fmla="*/ 12093 w 309177"/>
                    <a:gd name="connsiteY0" fmla="*/ 51582 h 345641"/>
                    <a:gd name="connsiteX1" fmla="*/ 309178 w 309177"/>
                    <a:gd name="connsiteY1" fmla="*/ 83205 h 345641"/>
                    <a:gd name="connsiteX2" fmla="*/ 229930 w 309177"/>
                    <a:gd name="connsiteY2" fmla="*/ 196553 h 345641"/>
                    <a:gd name="connsiteX3" fmla="*/ 171256 w 309177"/>
                    <a:gd name="connsiteY3" fmla="*/ 246845 h 345641"/>
                    <a:gd name="connsiteX4" fmla="*/ 52765 w 309177"/>
                    <a:gd name="connsiteY4" fmla="*/ 328283 h 345641"/>
                    <a:gd name="connsiteX5" fmla="*/ 12093 w 309177"/>
                    <a:gd name="connsiteY5" fmla="*/ 51582 h 3456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09177" h="345641">
                      <a:moveTo>
                        <a:pt x="12093" y="51582"/>
                      </a:moveTo>
                      <a:cubicBezTo>
                        <a:pt x="60289" y="-28618"/>
                        <a:pt x="260314" y="-13188"/>
                        <a:pt x="309178" y="83205"/>
                      </a:cubicBezTo>
                      <a:cubicBezTo>
                        <a:pt x="309178" y="83205"/>
                        <a:pt x="272697" y="168073"/>
                        <a:pt x="229930" y="196553"/>
                      </a:cubicBezTo>
                      <a:cubicBezTo>
                        <a:pt x="205165" y="265037"/>
                        <a:pt x="196687" y="258275"/>
                        <a:pt x="171256" y="246845"/>
                      </a:cubicBezTo>
                      <a:cubicBezTo>
                        <a:pt x="166303" y="250655"/>
                        <a:pt x="173923" y="394387"/>
                        <a:pt x="52765" y="328283"/>
                      </a:cubicBezTo>
                      <a:cubicBezTo>
                        <a:pt x="-13053" y="292374"/>
                        <a:pt x="-5147" y="79967"/>
                        <a:pt x="12093" y="51582"/>
                      </a:cubicBezTo>
                      <a:close/>
                    </a:path>
                  </a:pathLst>
                </a:custGeom>
                <a:solidFill>
                  <a:srgbClr val="6B331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4" name="Freeform: Shape 663">
                  <a:extLst>
                    <a:ext uri="{FF2B5EF4-FFF2-40B4-BE49-F238E27FC236}">
                      <a16:creationId xmlns:a16="http://schemas.microsoft.com/office/drawing/2014/main" id="{17CD7F03-F2F9-49EB-8F3F-910D78B4FAC9}"/>
                    </a:ext>
                  </a:extLst>
                </p:cNvPr>
                <p:cNvSpPr/>
                <p:nvPr/>
              </p:nvSpPr>
              <p:spPr>
                <a:xfrm>
                  <a:off x="1048249" y="1829206"/>
                  <a:ext cx="88990" cy="159448"/>
                </a:xfrm>
                <a:custGeom>
                  <a:avLst/>
                  <a:gdLst>
                    <a:gd name="connsiteX0" fmla="*/ 19050 w 88990"/>
                    <a:gd name="connsiteY0" fmla="*/ 84963 h 159448"/>
                    <a:gd name="connsiteX1" fmla="*/ 0 w 88990"/>
                    <a:gd name="connsiteY1" fmla="*/ 159449 h 159448"/>
                    <a:gd name="connsiteX2" fmla="*/ 78010 w 88990"/>
                    <a:gd name="connsiteY2" fmla="*/ 119348 h 159448"/>
                    <a:gd name="connsiteX3" fmla="*/ 68485 w 88990"/>
                    <a:gd name="connsiteY3" fmla="*/ 0 h 1594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90" h="159448">
                      <a:moveTo>
                        <a:pt x="19050" y="84963"/>
                      </a:moveTo>
                      <a:lnTo>
                        <a:pt x="0" y="159449"/>
                      </a:lnTo>
                      <a:cubicBezTo>
                        <a:pt x="28732" y="152234"/>
                        <a:pt x="55421" y="138514"/>
                        <a:pt x="78010" y="119348"/>
                      </a:cubicBezTo>
                      <a:cubicBezTo>
                        <a:pt x="81820" y="106109"/>
                        <a:pt x="105537" y="39624"/>
                        <a:pt x="68485" y="0"/>
                      </a:cubicBezTo>
                      <a:close/>
                    </a:path>
                  </a:pathLst>
                </a:custGeom>
                <a:solidFill>
                  <a:srgbClr val="6B331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5" name="Freeform: Shape 664">
                  <a:extLst>
                    <a:ext uri="{FF2B5EF4-FFF2-40B4-BE49-F238E27FC236}">
                      <a16:creationId xmlns:a16="http://schemas.microsoft.com/office/drawing/2014/main" id="{9734C45D-9B7F-4192-96F0-A26B453F0E1C}"/>
                    </a:ext>
                  </a:extLst>
                </p:cNvPr>
                <p:cNvSpPr/>
                <p:nvPr/>
              </p:nvSpPr>
              <p:spPr>
                <a:xfrm>
                  <a:off x="980145" y="2821330"/>
                  <a:ext cx="204596" cy="296703"/>
                </a:xfrm>
                <a:custGeom>
                  <a:avLst/>
                  <a:gdLst>
                    <a:gd name="connsiteX0" fmla="*/ 204597 w 204596"/>
                    <a:gd name="connsiteY0" fmla="*/ 179927 h 296703"/>
                    <a:gd name="connsiteX1" fmla="*/ 2381 w 204596"/>
                    <a:gd name="connsiteY1" fmla="*/ 296704 h 296703"/>
                    <a:gd name="connsiteX2" fmla="*/ 0 w 204596"/>
                    <a:gd name="connsiteY2" fmla="*/ 103918 h 296703"/>
                    <a:gd name="connsiteX3" fmla="*/ 180118 w 204596"/>
                    <a:gd name="connsiteY3" fmla="*/ 0 h 296703"/>
                    <a:gd name="connsiteX4" fmla="*/ 204597 w 204596"/>
                    <a:gd name="connsiteY4" fmla="*/ 179927 h 296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4596" h="296703">
                      <a:moveTo>
                        <a:pt x="204597" y="179927"/>
                      </a:moveTo>
                      <a:lnTo>
                        <a:pt x="2381" y="296704"/>
                      </a:lnTo>
                      <a:lnTo>
                        <a:pt x="0" y="103918"/>
                      </a:lnTo>
                      <a:lnTo>
                        <a:pt x="180118" y="0"/>
                      </a:lnTo>
                      <a:lnTo>
                        <a:pt x="204597" y="179927"/>
                      </a:lnTo>
                      <a:close/>
                    </a:path>
                  </a:pathLst>
                </a:custGeom>
                <a:solidFill>
                  <a:srgbClr val="2A30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6" name="Freeform: Shape 665">
                  <a:extLst>
                    <a:ext uri="{FF2B5EF4-FFF2-40B4-BE49-F238E27FC236}">
                      <a16:creationId xmlns:a16="http://schemas.microsoft.com/office/drawing/2014/main" id="{B7CF6060-0CE6-4D17-9926-63F435214132}"/>
                    </a:ext>
                  </a:extLst>
                </p:cNvPr>
                <p:cNvSpPr/>
                <p:nvPr/>
              </p:nvSpPr>
              <p:spPr>
                <a:xfrm>
                  <a:off x="945474" y="2912580"/>
                  <a:ext cx="37052" cy="205454"/>
                </a:xfrm>
                <a:custGeom>
                  <a:avLst/>
                  <a:gdLst>
                    <a:gd name="connsiteX0" fmla="*/ 37052 w 37052"/>
                    <a:gd name="connsiteY0" fmla="*/ 205454 h 205454"/>
                    <a:gd name="connsiteX1" fmla="*/ 0 w 37052"/>
                    <a:gd name="connsiteY1" fmla="*/ 184309 h 205454"/>
                    <a:gd name="connsiteX2" fmla="*/ 12382 w 37052"/>
                    <a:gd name="connsiteY2" fmla="*/ 0 h 205454"/>
                    <a:gd name="connsiteX3" fmla="*/ 34671 w 37052"/>
                    <a:gd name="connsiteY3" fmla="*/ 12668 h 205454"/>
                    <a:gd name="connsiteX4" fmla="*/ 37052 w 37052"/>
                    <a:gd name="connsiteY4" fmla="*/ 205454 h 20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052" h="205454">
                      <a:moveTo>
                        <a:pt x="37052" y="205454"/>
                      </a:moveTo>
                      <a:lnTo>
                        <a:pt x="0" y="184309"/>
                      </a:lnTo>
                      <a:lnTo>
                        <a:pt x="12382" y="0"/>
                      </a:lnTo>
                      <a:lnTo>
                        <a:pt x="34671" y="12668"/>
                      </a:lnTo>
                      <a:lnTo>
                        <a:pt x="37052" y="205454"/>
                      </a:ln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7" name="Freeform: Shape 666">
                  <a:extLst>
                    <a:ext uri="{FF2B5EF4-FFF2-40B4-BE49-F238E27FC236}">
                      <a16:creationId xmlns:a16="http://schemas.microsoft.com/office/drawing/2014/main" id="{3752AFD1-863E-4DA8-9E17-CC67B77929EA}"/>
                    </a:ext>
                  </a:extLst>
                </p:cNvPr>
                <p:cNvSpPr/>
                <p:nvPr/>
              </p:nvSpPr>
              <p:spPr>
                <a:xfrm>
                  <a:off x="957857" y="2810281"/>
                  <a:ext cx="202406" cy="114966"/>
                </a:xfrm>
                <a:custGeom>
                  <a:avLst/>
                  <a:gdLst>
                    <a:gd name="connsiteX0" fmla="*/ 0 w 202406"/>
                    <a:gd name="connsiteY0" fmla="*/ 102298 h 114966"/>
                    <a:gd name="connsiteX1" fmla="*/ 183451 w 202406"/>
                    <a:gd name="connsiteY1" fmla="*/ 0 h 114966"/>
                    <a:gd name="connsiteX2" fmla="*/ 202406 w 202406"/>
                    <a:gd name="connsiteY2" fmla="*/ 11049 h 114966"/>
                    <a:gd name="connsiteX3" fmla="*/ 22289 w 202406"/>
                    <a:gd name="connsiteY3" fmla="*/ 114967 h 114966"/>
                    <a:gd name="connsiteX4" fmla="*/ 0 w 202406"/>
                    <a:gd name="connsiteY4" fmla="*/ 102298 h 114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2406" h="114966">
                      <a:moveTo>
                        <a:pt x="0" y="102298"/>
                      </a:moveTo>
                      <a:lnTo>
                        <a:pt x="183451" y="0"/>
                      </a:lnTo>
                      <a:lnTo>
                        <a:pt x="202406" y="11049"/>
                      </a:lnTo>
                      <a:lnTo>
                        <a:pt x="22289" y="114967"/>
                      </a:lnTo>
                      <a:lnTo>
                        <a:pt x="0" y="102298"/>
                      </a:lnTo>
                      <a:close/>
                    </a:path>
                  </a:pathLst>
                </a:custGeom>
                <a:solidFill>
                  <a:srgbClr val="47505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8" name="Freeform: Shape 667">
                  <a:extLst>
                    <a:ext uri="{FF2B5EF4-FFF2-40B4-BE49-F238E27FC236}">
                      <a16:creationId xmlns:a16="http://schemas.microsoft.com/office/drawing/2014/main" id="{C97832D4-E336-4192-AE8A-BD2C0331CF47}"/>
                    </a:ext>
                  </a:extLst>
                </p:cNvPr>
                <p:cNvSpPr/>
                <p:nvPr/>
              </p:nvSpPr>
              <p:spPr>
                <a:xfrm>
                  <a:off x="993036" y="2242084"/>
                  <a:ext cx="151722" cy="684949"/>
                </a:xfrm>
                <a:custGeom>
                  <a:avLst/>
                  <a:gdLst>
                    <a:gd name="connsiteX0" fmla="*/ 4751 w 151722"/>
                    <a:gd name="connsiteY0" fmla="*/ 684950 h 684949"/>
                    <a:gd name="connsiteX1" fmla="*/ 6752 w 151722"/>
                    <a:gd name="connsiteY1" fmla="*/ 596462 h 684949"/>
                    <a:gd name="connsiteX2" fmla="*/ 6752 w 151722"/>
                    <a:gd name="connsiteY2" fmla="*/ 507880 h 684949"/>
                    <a:gd name="connsiteX3" fmla="*/ 4751 w 151722"/>
                    <a:gd name="connsiteY3" fmla="*/ 419393 h 684949"/>
                    <a:gd name="connsiteX4" fmla="*/ 2465 w 151722"/>
                    <a:gd name="connsiteY4" fmla="*/ 330810 h 684949"/>
                    <a:gd name="connsiteX5" fmla="*/ 465 w 151722"/>
                    <a:gd name="connsiteY5" fmla="*/ 242132 h 684949"/>
                    <a:gd name="connsiteX6" fmla="*/ 465 w 151722"/>
                    <a:gd name="connsiteY6" fmla="*/ 153455 h 684949"/>
                    <a:gd name="connsiteX7" fmla="*/ 3037 w 151722"/>
                    <a:gd name="connsiteY7" fmla="*/ 108973 h 684949"/>
                    <a:gd name="connsiteX8" fmla="*/ 9228 w 151722"/>
                    <a:gd name="connsiteY8" fmla="*/ 64682 h 684949"/>
                    <a:gd name="connsiteX9" fmla="*/ 24373 w 151722"/>
                    <a:gd name="connsiteY9" fmla="*/ 21819 h 684949"/>
                    <a:gd name="connsiteX10" fmla="*/ 41232 w 151722"/>
                    <a:gd name="connsiteY10" fmla="*/ 4769 h 684949"/>
                    <a:gd name="connsiteX11" fmla="*/ 65330 w 151722"/>
                    <a:gd name="connsiteY11" fmla="*/ 388 h 684949"/>
                    <a:gd name="connsiteX12" fmla="*/ 65330 w 151722"/>
                    <a:gd name="connsiteY12" fmla="*/ 388 h 684949"/>
                    <a:gd name="connsiteX13" fmla="*/ 84476 w 151722"/>
                    <a:gd name="connsiteY13" fmla="*/ 10961 h 684949"/>
                    <a:gd name="connsiteX14" fmla="*/ 96668 w 151722"/>
                    <a:gd name="connsiteY14" fmla="*/ 27534 h 684949"/>
                    <a:gd name="connsiteX15" fmla="*/ 110765 w 151722"/>
                    <a:gd name="connsiteY15" fmla="*/ 64586 h 684949"/>
                    <a:gd name="connsiteX16" fmla="*/ 124004 w 151722"/>
                    <a:gd name="connsiteY16" fmla="*/ 141548 h 684949"/>
                    <a:gd name="connsiteX17" fmla="*/ 129910 w 151722"/>
                    <a:gd name="connsiteY17" fmla="*/ 219082 h 684949"/>
                    <a:gd name="connsiteX18" fmla="*/ 133148 w 151722"/>
                    <a:gd name="connsiteY18" fmla="*/ 296711 h 684949"/>
                    <a:gd name="connsiteX19" fmla="*/ 138673 w 151722"/>
                    <a:gd name="connsiteY19" fmla="*/ 451682 h 684949"/>
                    <a:gd name="connsiteX20" fmla="*/ 151722 w 151722"/>
                    <a:gd name="connsiteY20" fmla="*/ 605702 h 684949"/>
                    <a:gd name="connsiteX21" fmla="*/ 136101 w 151722"/>
                    <a:gd name="connsiteY21" fmla="*/ 607511 h 684949"/>
                    <a:gd name="connsiteX22" fmla="*/ 131243 w 151722"/>
                    <a:gd name="connsiteY22" fmla="*/ 529692 h 684949"/>
                    <a:gd name="connsiteX23" fmla="*/ 128862 w 151722"/>
                    <a:gd name="connsiteY23" fmla="*/ 452063 h 684949"/>
                    <a:gd name="connsiteX24" fmla="*/ 125719 w 151722"/>
                    <a:gd name="connsiteY24" fmla="*/ 296901 h 684949"/>
                    <a:gd name="connsiteX25" fmla="*/ 116194 w 151722"/>
                    <a:gd name="connsiteY25" fmla="*/ 142501 h 684949"/>
                    <a:gd name="connsiteX26" fmla="*/ 102764 w 151722"/>
                    <a:gd name="connsiteY26" fmla="*/ 66301 h 684949"/>
                    <a:gd name="connsiteX27" fmla="*/ 89238 w 151722"/>
                    <a:gd name="connsiteY27" fmla="*/ 31154 h 684949"/>
                    <a:gd name="connsiteX28" fmla="*/ 63902 w 151722"/>
                    <a:gd name="connsiteY28" fmla="*/ 8198 h 684949"/>
                    <a:gd name="connsiteX29" fmla="*/ 63902 w 151722"/>
                    <a:gd name="connsiteY29" fmla="*/ 8198 h 684949"/>
                    <a:gd name="connsiteX30" fmla="*/ 44852 w 151722"/>
                    <a:gd name="connsiteY30" fmla="*/ 11342 h 684949"/>
                    <a:gd name="connsiteX31" fmla="*/ 30850 w 151722"/>
                    <a:gd name="connsiteY31" fmla="*/ 25343 h 684949"/>
                    <a:gd name="connsiteX32" fmla="*/ 16277 w 151722"/>
                    <a:gd name="connsiteY32" fmla="*/ 65444 h 684949"/>
                    <a:gd name="connsiteX33" fmla="*/ 9800 w 151722"/>
                    <a:gd name="connsiteY33" fmla="*/ 108878 h 684949"/>
                    <a:gd name="connsiteX34" fmla="*/ 6847 w 151722"/>
                    <a:gd name="connsiteY34" fmla="*/ 152788 h 684949"/>
                    <a:gd name="connsiteX35" fmla="*/ 5609 w 151722"/>
                    <a:gd name="connsiteY35" fmla="*/ 241275 h 684949"/>
                    <a:gd name="connsiteX36" fmla="*/ 7514 w 151722"/>
                    <a:gd name="connsiteY36" fmla="*/ 329762 h 684949"/>
                    <a:gd name="connsiteX37" fmla="*/ 10657 w 151722"/>
                    <a:gd name="connsiteY37" fmla="*/ 418250 h 684949"/>
                    <a:gd name="connsiteX38" fmla="*/ 13895 w 151722"/>
                    <a:gd name="connsiteY38" fmla="*/ 506832 h 684949"/>
                    <a:gd name="connsiteX39" fmla="*/ 16658 w 151722"/>
                    <a:gd name="connsiteY39" fmla="*/ 595510 h 684949"/>
                    <a:gd name="connsiteX40" fmla="*/ 18563 w 151722"/>
                    <a:gd name="connsiteY40" fmla="*/ 684188 h 684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151722" h="684949">
                      <a:moveTo>
                        <a:pt x="4751" y="684950"/>
                      </a:moveTo>
                      <a:cubicBezTo>
                        <a:pt x="5704" y="655422"/>
                        <a:pt x="6466" y="625990"/>
                        <a:pt x="6752" y="596462"/>
                      </a:cubicBezTo>
                      <a:cubicBezTo>
                        <a:pt x="7037" y="566935"/>
                        <a:pt x="6752" y="537407"/>
                        <a:pt x="6752" y="507880"/>
                      </a:cubicBezTo>
                      <a:lnTo>
                        <a:pt x="4751" y="419393"/>
                      </a:lnTo>
                      <a:lnTo>
                        <a:pt x="2465" y="330810"/>
                      </a:lnTo>
                      <a:cubicBezTo>
                        <a:pt x="1608" y="301283"/>
                        <a:pt x="1037" y="271755"/>
                        <a:pt x="465" y="242132"/>
                      </a:cubicBezTo>
                      <a:cubicBezTo>
                        <a:pt x="-106" y="212510"/>
                        <a:pt x="-202" y="182982"/>
                        <a:pt x="465" y="153455"/>
                      </a:cubicBezTo>
                      <a:cubicBezTo>
                        <a:pt x="941" y="138596"/>
                        <a:pt x="1799" y="123832"/>
                        <a:pt x="3037" y="108973"/>
                      </a:cubicBezTo>
                      <a:cubicBezTo>
                        <a:pt x="4258" y="94103"/>
                        <a:pt x="6325" y="79316"/>
                        <a:pt x="9228" y="64682"/>
                      </a:cubicBezTo>
                      <a:cubicBezTo>
                        <a:pt x="11876" y="49656"/>
                        <a:pt x="16994" y="35173"/>
                        <a:pt x="24373" y="21819"/>
                      </a:cubicBezTo>
                      <a:cubicBezTo>
                        <a:pt x="28447" y="14791"/>
                        <a:pt x="34250" y="8921"/>
                        <a:pt x="41232" y="4769"/>
                      </a:cubicBezTo>
                      <a:cubicBezTo>
                        <a:pt x="48581" y="743"/>
                        <a:pt x="57035" y="-794"/>
                        <a:pt x="65330" y="388"/>
                      </a:cubicBezTo>
                      <a:lnTo>
                        <a:pt x="65330" y="388"/>
                      </a:lnTo>
                      <a:cubicBezTo>
                        <a:pt x="72574" y="2056"/>
                        <a:pt x="79206" y="5718"/>
                        <a:pt x="84476" y="10961"/>
                      </a:cubicBezTo>
                      <a:cubicBezTo>
                        <a:pt x="89332" y="15855"/>
                        <a:pt x="93440" y="21440"/>
                        <a:pt x="96668" y="27534"/>
                      </a:cubicBezTo>
                      <a:cubicBezTo>
                        <a:pt x="102824" y="39280"/>
                        <a:pt x="107557" y="51719"/>
                        <a:pt x="110765" y="64586"/>
                      </a:cubicBezTo>
                      <a:cubicBezTo>
                        <a:pt x="117092" y="89874"/>
                        <a:pt x="121517" y="115600"/>
                        <a:pt x="124004" y="141548"/>
                      </a:cubicBezTo>
                      <a:cubicBezTo>
                        <a:pt x="126767" y="167361"/>
                        <a:pt x="128576" y="193269"/>
                        <a:pt x="129910" y="219082"/>
                      </a:cubicBezTo>
                      <a:cubicBezTo>
                        <a:pt x="131243" y="244894"/>
                        <a:pt x="132386" y="270803"/>
                        <a:pt x="133148" y="296711"/>
                      </a:cubicBezTo>
                      <a:cubicBezTo>
                        <a:pt x="134863" y="348431"/>
                        <a:pt x="136482" y="400057"/>
                        <a:pt x="138673" y="451682"/>
                      </a:cubicBezTo>
                      <a:cubicBezTo>
                        <a:pt x="140864" y="503308"/>
                        <a:pt x="144388" y="554838"/>
                        <a:pt x="151722" y="605702"/>
                      </a:cubicBezTo>
                      <a:lnTo>
                        <a:pt x="136101" y="607511"/>
                      </a:lnTo>
                      <a:cubicBezTo>
                        <a:pt x="133625" y="581508"/>
                        <a:pt x="132291" y="555600"/>
                        <a:pt x="131243" y="529692"/>
                      </a:cubicBezTo>
                      <a:cubicBezTo>
                        <a:pt x="130196" y="503784"/>
                        <a:pt x="129338" y="477876"/>
                        <a:pt x="128862" y="452063"/>
                      </a:cubicBezTo>
                      <a:cubicBezTo>
                        <a:pt x="127529" y="400247"/>
                        <a:pt x="127338" y="348622"/>
                        <a:pt x="125719" y="296901"/>
                      </a:cubicBezTo>
                      <a:cubicBezTo>
                        <a:pt x="124100" y="245180"/>
                        <a:pt x="122004" y="193650"/>
                        <a:pt x="116194" y="142501"/>
                      </a:cubicBezTo>
                      <a:cubicBezTo>
                        <a:pt x="113685" y="116793"/>
                        <a:pt x="109195" y="91317"/>
                        <a:pt x="102764" y="66301"/>
                      </a:cubicBezTo>
                      <a:cubicBezTo>
                        <a:pt x="99656" y="54093"/>
                        <a:pt x="95116" y="42295"/>
                        <a:pt x="89238" y="31154"/>
                      </a:cubicBezTo>
                      <a:cubicBezTo>
                        <a:pt x="84276" y="20366"/>
                        <a:pt x="75124" y="12074"/>
                        <a:pt x="63902" y="8198"/>
                      </a:cubicBezTo>
                      <a:lnTo>
                        <a:pt x="63902" y="8198"/>
                      </a:lnTo>
                      <a:cubicBezTo>
                        <a:pt x="57379" y="7126"/>
                        <a:pt x="50684" y="8231"/>
                        <a:pt x="44852" y="11342"/>
                      </a:cubicBezTo>
                      <a:cubicBezTo>
                        <a:pt x="39069" y="14742"/>
                        <a:pt x="34250" y="19561"/>
                        <a:pt x="30850" y="25343"/>
                      </a:cubicBezTo>
                      <a:cubicBezTo>
                        <a:pt x="23862" y="37837"/>
                        <a:pt x="18941" y="51379"/>
                        <a:pt x="16277" y="65444"/>
                      </a:cubicBezTo>
                      <a:cubicBezTo>
                        <a:pt x="13346" y="79796"/>
                        <a:pt x="11184" y="94295"/>
                        <a:pt x="9800" y="108878"/>
                      </a:cubicBezTo>
                      <a:cubicBezTo>
                        <a:pt x="8371" y="123451"/>
                        <a:pt x="7418" y="138119"/>
                        <a:pt x="6847" y="152788"/>
                      </a:cubicBezTo>
                      <a:cubicBezTo>
                        <a:pt x="5609" y="182220"/>
                        <a:pt x="5418" y="211748"/>
                        <a:pt x="5609" y="241275"/>
                      </a:cubicBezTo>
                      <a:cubicBezTo>
                        <a:pt x="5799" y="270803"/>
                        <a:pt x="6656" y="300235"/>
                        <a:pt x="7514" y="329762"/>
                      </a:cubicBezTo>
                      <a:cubicBezTo>
                        <a:pt x="8371" y="359290"/>
                        <a:pt x="9514" y="388817"/>
                        <a:pt x="10657" y="418250"/>
                      </a:cubicBezTo>
                      <a:lnTo>
                        <a:pt x="13895" y="506832"/>
                      </a:lnTo>
                      <a:cubicBezTo>
                        <a:pt x="15038" y="536360"/>
                        <a:pt x="15959" y="565916"/>
                        <a:pt x="16658" y="595510"/>
                      </a:cubicBezTo>
                      <a:cubicBezTo>
                        <a:pt x="17515" y="625037"/>
                        <a:pt x="18277" y="654660"/>
                        <a:pt x="18563" y="684188"/>
                      </a:cubicBezTo>
                      <a:close/>
                    </a:path>
                  </a:pathLst>
                </a:custGeom>
                <a:solidFill>
                  <a:srgbClr val="47505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69" name="Freeform: Shape 668">
                  <a:extLst>
                    <a:ext uri="{FF2B5EF4-FFF2-40B4-BE49-F238E27FC236}">
                      <a16:creationId xmlns:a16="http://schemas.microsoft.com/office/drawing/2014/main" id="{5079D864-1377-4CF5-8FE0-AF71C8D7DDFF}"/>
                    </a:ext>
                  </a:extLst>
                </p:cNvPr>
                <p:cNvSpPr/>
                <p:nvPr/>
              </p:nvSpPr>
              <p:spPr>
                <a:xfrm>
                  <a:off x="980145" y="2821330"/>
                  <a:ext cx="180117" cy="160671"/>
                </a:xfrm>
                <a:custGeom>
                  <a:avLst/>
                  <a:gdLst>
                    <a:gd name="connsiteX0" fmla="*/ 0 w 180117"/>
                    <a:gd name="connsiteY0" fmla="*/ 104013 h 160671"/>
                    <a:gd name="connsiteX1" fmla="*/ 117634 w 180117"/>
                    <a:gd name="connsiteY1" fmla="*/ 159544 h 160671"/>
                    <a:gd name="connsiteX2" fmla="*/ 180118 w 180117"/>
                    <a:gd name="connsiteY2" fmla="*/ 0 h 160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0117" h="160671">
                      <a:moveTo>
                        <a:pt x="0" y="104013"/>
                      </a:moveTo>
                      <a:cubicBezTo>
                        <a:pt x="0" y="104013"/>
                        <a:pt x="96488" y="170021"/>
                        <a:pt x="117634" y="159544"/>
                      </a:cubicBezTo>
                      <a:cubicBezTo>
                        <a:pt x="144590" y="146018"/>
                        <a:pt x="180118" y="0"/>
                        <a:pt x="180118" y="0"/>
                      </a:cubicBezTo>
                      <a:close/>
                    </a:path>
                  </a:pathLst>
                </a:custGeom>
                <a:solidFill>
                  <a:srgbClr val="3F464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0" name="Freeform: Shape 669">
                  <a:extLst>
                    <a:ext uri="{FF2B5EF4-FFF2-40B4-BE49-F238E27FC236}">
                      <a16:creationId xmlns:a16="http://schemas.microsoft.com/office/drawing/2014/main" id="{E3B56F0C-36DB-4DD2-BFC3-75CBE9DEDEDB}"/>
                    </a:ext>
                  </a:extLst>
                </p:cNvPr>
                <p:cNvSpPr/>
                <p:nvPr/>
              </p:nvSpPr>
              <p:spPr>
                <a:xfrm>
                  <a:off x="909897" y="2578171"/>
                  <a:ext cx="195788" cy="228205"/>
                </a:xfrm>
                <a:custGeom>
                  <a:avLst/>
                  <a:gdLst>
                    <a:gd name="connsiteX0" fmla="*/ 2907 w 195788"/>
                    <a:gd name="connsiteY0" fmla="*/ 50278 h 228205"/>
                    <a:gd name="connsiteX1" fmla="*/ 185596 w 195788"/>
                    <a:gd name="connsiteY1" fmla="*/ 228205 h 228205"/>
                    <a:gd name="connsiteX2" fmla="*/ 195788 w 195788"/>
                    <a:gd name="connsiteY2" fmla="*/ 211251 h 228205"/>
                    <a:gd name="connsiteX3" fmla="*/ 157688 w 195788"/>
                    <a:gd name="connsiteY3" fmla="*/ 153339 h 228205"/>
                    <a:gd name="connsiteX4" fmla="*/ 5288 w 195788"/>
                    <a:gd name="connsiteY4" fmla="*/ 8749 h 228205"/>
                    <a:gd name="connsiteX5" fmla="*/ 2907 w 195788"/>
                    <a:gd name="connsiteY5" fmla="*/ 50278 h 2282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5788" h="228205">
                      <a:moveTo>
                        <a:pt x="2907" y="50278"/>
                      </a:moveTo>
                      <a:cubicBezTo>
                        <a:pt x="2907" y="50278"/>
                        <a:pt x="48817" y="128002"/>
                        <a:pt x="185596" y="228205"/>
                      </a:cubicBezTo>
                      <a:lnTo>
                        <a:pt x="195788" y="211251"/>
                      </a:lnTo>
                      <a:cubicBezTo>
                        <a:pt x="181918" y="192744"/>
                        <a:pt x="169194" y="173398"/>
                        <a:pt x="157688" y="153339"/>
                      </a:cubicBezTo>
                      <a:cubicBezTo>
                        <a:pt x="117397" y="82663"/>
                        <a:pt x="53580" y="-32685"/>
                        <a:pt x="5288" y="8749"/>
                      </a:cubicBezTo>
                      <a:cubicBezTo>
                        <a:pt x="-817" y="21771"/>
                        <a:pt x="-1670" y="36644"/>
                        <a:pt x="2907" y="50278"/>
                      </a:cubicBez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1" name="Freeform: Shape 670">
                  <a:extLst>
                    <a:ext uri="{FF2B5EF4-FFF2-40B4-BE49-F238E27FC236}">
                      <a16:creationId xmlns:a16="http://schemas.microsoft.com/office/drawing/2014/main" id="{1A129ED4-A3BE-43CE-A473-6C0560CC1882}"/>
                    </a:ext>
                  </a:extLst>
                </p:cNvPr>
                <p:cNvSpPr/>
                <p:nvPr/>
              </p:nvSpPr>
              <p:spPr>
                <a:xfrm>
                  <a:off x="1087683" y="2767853"/>
                  <a:ext cx="68761" cy="48175"/>
                </a:xfrm>
                <a:custGeom>
                  <a:avLst/>
                  <a:gdLst>
                    <a:gd name="connsiteX0" fmla="*/ 0 w 68761"/>
                    <a:gd name="connsiteY0" fmla="*/ 18044 h 48175"/>
                    <a:gd name="connsiteX1" fmla="*/ 59150 w 68761"/>
                    <a:gd name="connsiteY1" fmla="*/ 42 h 48175"/>
                    <a:gd name="connsiteX2" fmla="*/ 64865 w 68761"/>
                    <a:gd name="connsiteY2" fmla="*/ 10138 h 48175"/>
                    <a:gd name="connsiteX3" fmla="*/ 65913 w 68761"/>
                    <a:gd name="connsiteY3" fmla="*/ 24140 h 48175"/>
                    <a:gd name="connsiteX4" fmla="*/ 63817 w 68761"/>
                    <a:gd name="connsiteY4" fmla="*/ 37189 h 48175"/>
                    <a:gd name="connsiteX5" fmla="*/ 57436 w 68761"/>
                    <a:gd name="connsiteY5" fmla="*/ 47286 h 48175"/>
                    <a:gd name="connsiteX6" fmla="*/ 4572 w 68761"/>
                    <a:gd name="connsiteY6" fmla="*/ 35856 h 48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8761" h="48175">
                      <a:moveTo>
                        <a:pt x="0" y="18044"/>
                      </a:moveTo>
                      <a:cubicBezTo>
                        <a:pt x="0" y="18044"/>
                        <a:pt x="42481" y="-1006"/>
                        <a:pt x="59150" y="42"/>
                      </a:cubicBezTo>
                      <a:cubicBezTo>
                        <a:pt x="67913" y="42"/>
                        <a:pt x="67437" y="6423"/>
                        <a:pt x="64865" y="10138"/>
                      </a:cubicBezTo>
                      <a:cubicBezTo>
                        <a:pt x="69247" y="11757"/>
                        <a:pt x="70390" y="16996"/>
                        <a:pt x="65913" y="24140"/>
                      </a:cubicBezTo>
                      <a:cubicBezTo>
                        <a:pt x="68866" y="28140"/>
                        <a:pt x="68580" y="30236"/>
                        <a:pt x="63817" y="37189"/>
                      </a:cubicBezTo>
                      <a:cubicBezTo>
                        <a:pt x="66008" y="42714"/>
                        <a:pt x="63817" y="46714"/>
                        <a:pt x="57436" y="47286"/>
                      </a:cubicBezTo>
                      <a:cubicBezTo>
                        <a:pt x="39008" y="50143"/>
                        <a:pt x="20175" y="46066"/>
                        <a:pt x="4572" y="35856"/>
                      </a:cubicBezTo>
                      <a:close/>
                    </a:path>
                  </a:pathLst>
                </a:custGeom>
                <a:solidFill>
                  <a:srgbClr val="F2B26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2" name="Freeform: Shape 671">
                  <a:extLst>
                    <a:ext uri="{FF2B5EF4-FFF2-40B4-BE49-F238E27FC236}">
                      <a16:creationId xmlns:a16="http://schemas.microsoft.com/office/drawing/2014/main" id="{26FA36E3-1D4A-4604-8EAF-6FFB55C41908}"/>
                    </a:ext>
                  </a:extLst>
                </p:cNvPr>
                <p:cNvSpPr/>
                <p:nvPr/>
              </p:nvSpPr>
              <p:spPr>
                <a:xfrm>
                  <a:off x="908820" y="2243258"/>
                  <a:ext cx="180261" cy="391202"/>
                </a:xfrm>
                <a:custGeom>
                  <a:avLst/>
                  <a:gdLst>
                    <a:gd name="connsiteX0" fmla="*/ 154192 w 180261"/>
                    <a:gd name="connsiteY0" fmla="*/ 0 h 391202"/>
                    <a:gd name="connsiteX1" fmla="*/ 98757 w 180261"/>
                    <a:gd name="connsiteY1" fmla="*/ 62674 h 391202"/>
                    <a:gd name="connsiteX2" fmla="*/ 5793 w 180261"/>
                    <a:gd name="connsiteY2" fmla="*/ 385382 h 391202"/>
                    <a:gd name="connsiteX3" fmla="*/ 148668 w 180261"/>
                    <a:gd name="connsiteY3" fmla="*/ 178784 h 391202"/>
                    <a:gd name="connsiteX4" fmla="*/ 154192 w 180261"/>
                    <a:gd name="connsiteY4" fmla="*/ 0 h 391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261" h="391202">
                      <a:moveTo>
                        <a:pt x="154192" y="0"/>
                      </a:moveTo>
                      <a:cubicBezTo>
                        <a:pt x="154192" y="0"/>
                        <a:pt x="122665" y="4000"/>
                        <a:pt x="98757" y="62674"/>
                      </a:cubicBezTo>
                      <a:cubicBezTo>
                        <a:pt x="56561" y="166211"/>
                        <a:pt x="-21925" y="361093"/>
                        <a:pt x="5793" y="385382"/>
                      </a:cubicBezTo>
                      <a:cubicBezTo>
                        <a:pt x="59609" y="432435"/>
                        <a:pt x="148668" y="178784"/>
                        <a:pt x="148668" y="178784"/>
                      </a:cubicBezTo>
                      <a:cubicBezTo>
                        <a:pt x="148668" y="178784"/>
                        <a:pt x="215914" y="40576"/>
                        <a:pt x="154192" y="0"/>
                      </a:cubicBez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3" name="Freeform: Shape 672">
                  <a:extLst>
                    <a:ext uri="{FF2B5EF4-FFF2-40B4-BE49-F238E27FC236}">
                      <a16:creationId xmlns:a16="http://schemas.microsoft.com/office/drawing/2014/main" id="{18A11FDB-F6AD-4CB7-89DB-E91DCA661599}"/>
                    </a:ext>
                  </a:extLst>
                </p:cNvPr>
                <p:cNvSpPr/>
                <p:nvPr/>
              </p:nvSpPr>
              <p:spPr>
                <a:xfrm>
                  <a:off x="729162" y="1822387"/>
                  <a:ext cx="323087" cy="560309"/>
                </a:xfrm>
                <a:custGeom>
                  <a:avLst/>
                  <a:gdLst>
                    <a:gd name="connsiteX0" fmla="*/ 100298 w 323087"/>
                    <a:gd name="connsiteY0" fmla="*/ 3009 h 560309"/>
                    <a:gd name="connsiteX1" fmla="*/ 0 w 323087"/>
                    <a:gd name="connsiteY1" fmla="*/ 386010 h 560309"/>
                    <a:gd name="connsiteX2" fmla="*/ 134398 w 323087"/>
                    <a:gd name="connsiteY2" fmla="*/ 540791 h 560309"/>
                    <a:gd name="connsiteX3" fmla="*/ 323088 w 323087"/>
                    <a:gd name="connsiteY3" fmla="*/ 542886 h 560309"/>
                    <a:gd name="connsiteX4" fmla="*/ 264795 w 323087"/>
                    <a:gd name="connsiteY4" fmla="*/ 517264 h 560309"/>
                    <a:gd name="connsiteX5" fmla="*/ 259652 w 323087"/>
                    <a:gd name="connsiteY5" fmla="*/ 218655 h 560309"/>
                    <a:gd name="connsiteX6" fmla="*/ 100298 w 323087"/>
                    <a:gd name="connsiteY6" fmla="*/ 3009 h 560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3087" h="560309">
                      <a:moveTo>
                        <a:pt x="100298" y="3009"/>
                      </a:moveTo>
                      <a:cubicBezTo>
                        <a:pt x="85630" y="35966"/>
                        <a:pt x="67437" y="464019"/>
                        <a:pt x="0" y="386010"/>
                      </a:cubicBezTo>
                      <a:cubicBezTo>
                        <a:pt x="0" y="386010"/>
                        <a:pt x="17717" y="490785"/>
                        <a:pt x="134398" y="540791"/>
                      </a:cubicBezTo>
                      <a:cubicBezTo>
                        <a:pt x="180213" y="560508"/>
                        <a:pt x="279749" y="571557"/>
                        <a:pt x="323088" y="542886"/>
                      </a:cubicBezTo>
                      <a:cubicBezTo>
                        <a:pt x="323088" y="542886"/>
                        <a:pt x="277368" y="550602"/>
                        <a:pt x="264795" y="517264"/>
                      </a:cubicBezTo>
                      <a:cubicBezTo>
                        <a:pt x="244412" y="463162"/>
                        <a:pt x="259652" y="218655"/>
                        <a:pt x="259652" y="218655"/>
                      </a:cubicBezTo>
                      <a:cubicBezTo>
                        <a:pt x="259652" y="218655"/>
                        <a:pt x="114872" y="-29947"/>
                        <a:pt x="100298" y="3009"/>
                      </a:cubicBezTo>
                      <a:close/>
                    </a:path>
                  </a:pathLst>
                </a:custGeom>
                <a:solidFill>
                  <a:srgbClr val="6B331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4" name="Freeform: Shape 673">
                  <a:extLst>
                    <a:ext uri="{FF2B5EF4-FFF2-40B4-BE49-F238E27FC236}">
                      <a16:creationId xmlns:a16="http://schemas.microsoft.com/office/drawing/2014/main" id="{5DA48E87-74D1-4FA1-B557-FE17A13063A6}"/>
                    </a:ext>
                  </a:extLst>
                </p:cNvPr>
                <p:cNvSpPr/>
                <p:nvPr/>
              </p:nvSpPr>
              <p:spPr>
                <a:xfrm>
                  <a:off x="967953" y="1995142"/>
                  <a:ext cx="41742" cy="66653"/>
                </a:xfrm>
                <a:custGeom>
                  <a:avLst/>
                  <a:gdLst>
                    <a:gd name="connsiteX0" fmla="*/ 13907 w 41742"/>
                    <a:gd name="connsiteY0" fmla="*/ 60378 h 66653"/>
                    <a:gd name="connsiteX1" fmla="*/ 40672 w 41742"/>
                    <a:gd name="connsiteY1" fmla="*/ 52758 h 66653"/>
                    <a:gd name="connsiteX2" fmla="*/ 27813 w 41742"/>
                    <a:gd name="connsiteY2" fmla="*/ 6276 h 66653"/>
                    <a:gd name="connsiteX3" fmla="*/ 1048 w 41742"/>
                    <a:gd name="connsiteY3" fmla="*/ 13896 h 66653"/>
                    <a:gd name="connsiteX4" fmla="*/ 13907 w 41742"/>
                    <a:gd name="connsiteY4" fmla="*/ 60378 h 66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742" h="66653">
                      <a:moveTo>
                        <a:pt x="13907" y="60378"/>
                      </a:moveTo>
                      <a:cubicBezTo>
                        <a:pt x="24860" y="71141"/>
                        <a:pt x="36862" y="67712"/>
                        <a:pt x="40672" y="52758"/>
                      </a:cubicBezTo>
                      <a:cubicBezTo>
                        <a:pt x="44067" y="36099"/>
                        <a:pt x="39287" y="18821"/>
                        <a:pt x="27813" y="6276"/>
                      </a:cubicBezTo>
                      <a:cubicBezTo>
                        <a:pt x="16859" y="-4487"/>
                        <a:pt x="4858" y="-1058"/>
                        <a:pt x="1048" y="13896"/>
                      </a:cubicBezTo>
                      <a:cubicBezTo>
                        <a:pt x="-2299" y="30553"/>
                        <a:pt x="2475" y="47810"/>
                        <a:pt x="13907" y="60378"/>
                      </a:cubicBezTo>
                      <a:close/>
                    </a:path>
                  </a:pathLst>
                </a:custGeom>
                <a:solidFill>
                  <a:srgbClr val="FFC37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5" name="Freeform: Shape 674">
                  <a:extLst>
                    <a:ext uri="{FF2B5EF4-FFF2-40B4-BE49-F238E27FC236}">
                      <a16:creationId xmlns:a16="http://schemas.microsoft.com/office/drawing/2014/main" id="{84FBF399-52DB-44CE-93BA-C3475C3BE68D}"/>
                    </a:ext>
                  </a:extLst>
                </p:cNvPr>
                <p:cNvSpPr/>
                <p:nvPr/>
              </p:nvSpPr>
              <p:spPr>
                <a:xfrm>
                  <a:off x="978444" y="2011519"/>
                  <a:ext cx="21363" cy="34091"/>
                </a:xfrm>
                <a:custGeom>
                  <a:avLst/>
                  <a:gdLst>
                    <a:gd name="connsiteX0" fmla="*/ 7130 w 21363"/>
                    <a:gd name="connsiteY0" fmla="*/ 30857 h 34091"/>
                    <a:gd name="connsiteX1" fmla="*/ 20846 w 21363"/>
                    <a:gd name="connsiteY1" fmla="*/ 26952 h 34091"/>
                    <a:gd name="connsiteX2" fmla="*/ 14179 w 21363"/>
                    <a:gd name="connsiteY2" fmla="*/ 3234 h 34091"/>
                    <a:gd name="connsiteX3" fmla="*/ 558 w 21363"/>
                    <a:gd name="connsiteY3" fmla="*/ 7140 h 34091"/>
                    <a:gd name="connsiteX4" fmla="*/ 7130 w 21363"/>
                    <a:gd name="connsiteY4" fmla="*/ 30857 h 34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363" h="34091">
                      <a:moveTo>
                        <a:pt x="7130" y="30857"/>
                      </a:moveTo>
                      <a:cubicBezTo>
                        <a:pt x="12750" y="36381"/>
                        <a:pt x="18846" y="34667"/>
                        <a:pt x="20846" y="26952"/>
                      </a:cubicBezTo>
                      <a:cubicBezTo>
                        <a:pt x="22530" y="18435"/>
                        <a:pt x="20054" y="9626"/>
                        <a:pt x="14179" y="3234"/>
                      </a:cubicBezTo>
                      <a:cubicBezTo>
                        <a:pt x="8654" y="-2290"/>
                        <a:pt x="2463" y="-576"/>
                        <a:pt x="558" y="7140"/>
                      </a:cubicBezTo>
                      <a:cubicBezTo>
                        <a:pt x="-1199" y="15643"/>
                        <a:pt x="1247" y="24471"/>
                        <a:pt x="7130" y="30857"/>
                      </a:cubicBezTo>
                      <a:close/>
                    </a:path>
                  </a:pathLst>
                </a:custGeom>
                <a:solidFill>
                  <a:srgbClr val="E2A25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6" name="Freeform: Shape 675">
                  <a:extLst>
                    <a:ext uri="{FF2B5EF4-FFF2-40B4-BE49-F238E27FC236}">
                      <a16:creationId xmlns:a16="http://schemas.microsoft.com/office/drawing/2014/main" id="{429213E8-F5BF-487B-BC8E-0D1823EACFD7}"/>
                    </a:ext>
                  </a:extLst>
                </p:cNvPr>
                <p:cNvSpPr/>
                <p:nvPr/>
              </p:nvSpPr>
              <p:spPr>
                <a:xfrm>
                  <a:off x="985098" y="2062569"/>
                  <a:ext cx="15239" cy="46577"/>
                </a:xfrm>
                <a:custGeom>
                  <a:avLst/>
                  <a:gdLst>
                    <a:gd name="connsiteX0" fmla="*/ 15240 w 15239"/>
                    <a:gd name="connsiteY0" fmla="*/ 28575 h 46577"/>
                    <a:gd name="connsiteX1" fmla="*/ 7620 w 15239"/>
                    <a:gd name="connsiteY1" fmla="*/ 46577 h 46577"/>
                    <a:gd name="connsiteX2" fmla="*/ 0 w 15239"/>
                    <a:gd name="connsiteY2" fmla="*/ 28575 h 46577"/>
                    <a:gd name="connsiteX3" fmla="*/ 7620 w 15239"/>
                    <a:gd name="connsiteY3" fmla="*/ 0 h 46577"/>
                    <a:gd name="connsiteX4" fmla="*/ 15240 w 15239"/>
                    <a:gd name="connsiteY4" fmla="*/ 28575 h 46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39" h="46577">
                      <a:moveTo>
                        <a:pt x="15240" y="28575"/>
                      </a:moveTo>
                      <a:cubicBezTo>
                        <a:pt x="15240" y="41434"/>
                        <a:pt x="11811" y="46577"/>
                        <a:pt x="7620" y="46577"/>
                      </a:cubicBezTo>
                      <a:cubicBezTo>
                        <a:pt x="3429" y="46577"/>
                        <a:pt x="0" y="41434"/>
                        <a:pt x="0" y="28575"/>
                      </a:cubicBezTo>
                      <a:cubicBezTo>
                        <a:pt x="0" y="15716"/>
                        <a:pt x="3429" y="0"/>
                        <a:pt x="7620" y="0"/>
                      </a:cubicBezTo>
                      <a:cubicBezTo>
                        <a:pt x="11811" y="0"/>
                        <a:pt x="15240" y="15716"/>
                        <a:pt x="15240" y="28575"/>
                      </a:cubicBezTo>
                      <a:close/>
                    </a:path>
                  </a:pathLst>
                </a:custGeom>
                <a:solidFill>
                  <a:srgbClr val="2A30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7" name="Freeform: Shape 676">
                  <a:extLst>
                    <a:ext uri="{FF2B5EF4-FFF2-40B4-BE49-F238E27FC236}">
                      <a16:creationId xmlns:a16="http://schemas.microsoft.com/office/drawing/2014/main" id="{0D3AB728-2D40-40C1-8D36-7DC4B372710C}"/>
                    </a:ext>
                  </a:extLst>
                </p:cNvPr>
                <p:cNvSpPr/>
                <p:nvPr/>
              </p:nvSpPr>
              <p:spPr>
                <a:xfrm>
                  <a:off x="987003" y="2052377"/>
                  <a:ext cx="11430" cy="11430"/>
                </a:xfrm>
                <a:custGeom>
                  <a:avLst/>
                  <a:gdLst>
                    <a:gd name="connsiteX0" fmla="*/ 11430 w 11430"/>
                    <a:gd name="connsiteY0" fmla="*/ 5715 h 11430"/>
                    <a:gd name="connsiteX1" fmla="*/ 5715 w 11430"/>
                    <a:gd name="connsiteY1" fmla="*/ 11430 h 11430"/>
                    <a:gd name="connsiteX2" fmla="*/ 0 w 11430"/>
                    <a:gd name="connsiteY2" fmla="*/ 5715 h 11430"/>
                    <a:gd name="connsiteX3" fmla="*/ 5715 w 11430"/>
                    <a:gd name="connsiteY3" fmla="*/ 0 h 11430"/>
                    <a:gd name="connsiteX4" fmla="*/ 11430 w 11430"/>
                    <a:gd name="connsiteY4" fmla="*/ 5715 h 11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30" h="11430">
                      <a:moveTo>
                        <a:pt x="11430" y="5715"/>
                      </a:moveTo>
                      <a:cubicBezTo>
                        <a:pt x="11430" y="8871"/>
                        <a:pt x="8871" y="11430"/>
                        <a:pt x="5715" y="11430"/>
                      </a:cubicBezTo>
                      <a:cubicBezTo>
                        <a:pt x="2559" y="11430"/>
                        <a:pt x="0" y="8871"/>
                        <a:pt x="0" y="5715"/>
                      </a:cubicBezTo>
                      <a:cubicBezTo>
                        <a:pt x="0" y="2559"/>
                        <a:pt x="2559" y="0"/>
                        <a:pt x="5715" y="0"/>
                      </a:cubicBezTo>
                      <a:cubicBezTo>
                        <a:pt x="8871" y="0"/>
                        <a:pt x="11430" y="2559"/>
                        <a:pt x="11430" y="5715"/>
                      </a:cubicBezTo>
                      <a:close/>
                    </a:path>
                  </a:pathLst>
                </a:custGeom>
                <a:solidFill>
                  <a:srgbClr val="2A303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678" name="Freeform: Shape 677">
                  <a:extLst>
                    <a:ext uri="{FF2B5EF4-FFF2-40B4-BE49-F238E27FC236}">
                      <a16:creationId xmlns:a16="http://schemas.microsoft.com/office/drawing/2014/main" id="{292E7004-2135-4F57-ACE2-369733EB5FE6}"/>
                    </a:ext>
                  </a:extLst>
                </p:cNvPr>
                <p:cNvSpPr/>
                <p:nvPr/>
              </p:nvSpPr>
              <p:spPr>
                <a:xfrm>
                  <a:off x="836828" y="1769763"/>
                  <a:ext cx="285239" cy="141727"/>
                </a:xfrm>
                <a:custGeom>
                  <a:avLst/>
                  <a:gdLst>
                    <a:gd name="connsiteX0" fmla="*/ 41971 w 285239"/>
                    <a:gd name="connsiteY0" fmla="*/ 117640 h 141727"/>
                    <a:gd name="connsiteX1" fmla="*/ 3871 w 285239"/>
                    <a:gd name="connsiteY1" fmla="*/ 39440 h 141727"/>
                    <a:gd name="connsiteX2" fmla="*/ 284192 w 285239"/>
                    <a:gd name="connsiteY2" fmla="*/ 72587 h 141727"/>
                    <a:gd name="connsiteX3" fmla="*/ 285240 w 285239"/>
                    <a:gd name="connsiteY3" fmla="*/ 74587 h 141727"/>
                    <a:gd name="connsiteX4" fmla="*/ 245616 w 285239"/>
                    <a:gd name="connsiteY4" fmla="*/ 117164 h 141727"/>
                    <a:gd name="connsiteX5" fmla="*/ 41971 w 285239"/>
                    <a:gd name="connsiteY5" fmla="*/ 117640 h 141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5239" h="141727">
                      <a:moveTo>
                        <a:pt x="41971" y="117640"/>
                      </a:moveTo>
                      <a:cubicBezTo>
                        <a:pt x="5395" y="96495"/>
                        <a:pt x="-7178" y="66682"/>
                        <a:pt x="3871" y="39440"/>
                      </a:cubicBezTo>
                      <a:cubicBezTo>
                        <a:pt x="69308" y="-26568"/>
                        <a:pt x="240948" y="-5804"/>
                        <a:pt x="284192" y="72587"/>
                      </a:cubicBezTo>
                      <a:lnTo>
                        <a:pt x="285240" y="74587"/>
                      </a:lnTo>
                      <a:cubicBezTo>
                        <a:pt x="277516" y="93040"/>
                        <a:pt x="263467" y="108135"/>
                        <a:pt x="245616" y="117164"/>
                      </a:cubicBezTo>
                      <a:cubicBezTo>
                        <a:pt x="189228" y="149740"/>
                        <a:pt x="98073" y="149930"/>
                        <a:pt x="41971" y="117640"/>
                      </a:cubicBezTo>
                      <a:close/>
                    </a:path>
                  </a:pathLst>
                </a:custGeom>
                <a:solidFill>
                  <a:srgbClr val="6B331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</p:grpSp>
      </p:grpSp>
      <p:sp>
        <p:nvSpPr>
          <p:cNvPr id="984" name="tablet cover">
            <a:extLst>
              <a:ext uri="{FF2B5EF4-FFF2-40B4-BE49-F238E27FC236}">
                <a16:creationId xmlns:a16="http://schemas.microsoft.com/office/drawing/2014/main" id="{67C79B81-0BAD-4C1B-9D90-401CE3FB8A3B}"/>
              </a:ext>
            </a:extLst>
          </p:cNvPr>
          <p:cNvSpPr/>
          <p:nvPr/>
        </p:nvSpPr>
        <p:spPr bwMode="auto">
          <a:xfrm>
            <a:off x="10817170" y="4445983"/>
            <a:ext cx="396808" cy="696304"/>
          </a:xfrm>
          <a:custGeom>
            <a:avLst/>
            <a:gdLst>
              <a:gd name="connsiteX0" fmla="*/ 0 w 531301"/>
              <a:gd name="connsiteY0" fmla="*/ 0 h 479627"/>
              <a:gd name="connsiteX1" fmla="*/ 531301 w 531301"/>
              <a:gd name="connsiteY1" fmla="*/ 0 h 479627"/>
              <a:gd name="connsiteX2" fmla="*/ 531301 w 531301"/>
              <a:gd name="connsiteY2" fmla="*/ 479627 h 479627"/>
              <a:gd name="connsiteX3" fmla="*/ 0 w 531301"/>
              <a:gd name="connsiteY3" fmla="*/ 479627 h 479627"/>
              <a:gd name="connsiteX4" fmla="*/ 0 w 531301"/>
              <a:gd name="connsiteY4" fmla="*/ 0 h 479627"/>
              <a:gd name="connsiteX0" fmla="*/ 0 w 531301"/>
              <a:gd name="connsiteY0" fmla="*/ 0 h 799667"/>
              <a:gd name="connsiteX1" fmla="*/ 531301 w 531301"/>
              <a:gd name="connsiteY1" fmla="*/ 0 h 799667"/>
              <a:gd name="connsiteX2" fmla="*/ 531301 w 531301"/>
              <a:gd name="connsiteY2" fmla="*/ 479627 h 799667"/>
              <a:gd name="connsiteX3" fmla="*/ 517616 w 531301"/>
              <a:gd name="connsiteY3" fmla="*/ 799667 h 799667"/>
              <a:gd name="connsiteX4" fmla="*/ 0 w 531301"/>
              <a:gd name="connsiteY4" fmla="*/ 0 h 799667"/>
              <a:gd name="connsiteX0" fmla="*/ 0 w 531301"/>
              <a:gd name="connsiteY0" fmla="*/ 128996 h 928663"/>
              <a:gd name="connsiteX1" fmla="*/ 98594 w 531301"/>
              <a:gd name="connsiteY1" fmla="*/ 0 h 928663"/>
              <a:gd name="connsiteX2" fmla="*/ 531301 w 531301"/>
              <a:gd name="connsiteY2" fmla="*/ 608623 h 928663"/>
              <a:gd name="connsiteX3" fmla="*/ 517616 w 531301"/>
              <a:gd name="connsiteY3" fmla="*/ 928663 h 928663"/>
              <a:gd name="connsiteX4" fmla="*/ 0 w 531301"/>
              <a:gd name="connsiteY4" fmla="*/ 128996 h 928663"/>
              <a:gd name="connsiteX0" fmla="*/ 0 w 531301"/>
              <a:gd name="connsiteY0" fmla="*/ 128996 h 835591"/>
              <a:gd name="connsiteX1" fmla="*/ 98594 w 531301"/>
              <a:gd name="connsiteY1" fmla="*/ 0 h 835591"/>
              <a:gd name="connsiteX2" fmla="*/ 531301 w 531301"/>
              <a:gd name="connsiteY2" fmla="*/ 608623 h 835591"/>
              <a:gd name="connsiteX3" fmla="*/ 393519 w 531301"/>
              <a:gd name="connsiteY3" fmla="*/ 835591 h 835591"/>
              <a:gd name="connsiteX4" fmla="*/ 0 w 531301"/>
              <a:gd name="connsiteY4" fmla="*/ 128996 h 835591"/>
              <a:gd name="connsiteX0" fmla="*/ 0 w 498644"/>
              <a:gd name="connsiteY0" fmla="*/ 128996 h 835591"/>
              <a:gd name="connsiteX1" fmla="*/ 98594 w 498644"/>
              <a:gd name="connsiteY1" fmla="*/ 0 h 835591"/>
              <a:gd name="connsiteX2" fmla="*/ 498644 w 498644"/>
              <a:gd name="connsiteY2" fmla="*/ 672304 h 835591"/>
              <a:gd name="connsiteX3" fmla="*/ 393519 w 498644"/>
              <a:gd name="connsiteY3" fmla="*/ 835591 h 835591"/>
              <a:gd name="connsiteX4" fmla="*/ 0 w 498644"/>
              <a:gd name="connsiteY4" fmla="*/ 128996 h 835591"/>
              <a:gd name="connsiteX0" fmla="*/ 0 w 505176"/>
              <a:gd name="connsiteY0" fmla="*/ 148590 h 835591"/>
              <a:gd name="connsiteX1" fmla="*/ 105126 w 505176"/>
              <a:gd name="connsiteY1" fmla="*/ 0 h 835591"/>
              <a:gd name="connsiteX2" fmla="*/ 505176 w 505176"/>
              <a:gd name="connsiteY2" fmla="*/ 672304 h 835591"/>
              <a:gd name="connsiteX3" fmla="*/ 400051 w 505176"/>
              <a:gd name="connsiteY3" fmla="*/ 835591 h 835591"/>
              <a:gd name="connsiteX4" fmla="*/ 0 w 505176"/>
              <a:gd name="connsiteY4" fmla="*/ 148590 h 835591"/>
              <a:gd name="connsiteX0" fmla="*/ 0 w 505176"/>
              <a:gd name="connsiteY0" fmla="*/ 137160 h 824161"/>
              <a:gd name="connsiteX1" fmla="*/ 103493 w 505176"/>
              <a:gd name="connsiteY1" fmla="*/ 0 h 824161"/>
              <a:gd name="connsiteX2" fmla="*/ 505176 w 505176"/>
              <a:gd name="connsiteY2" fmla="*/ 660874 h 824161"/>
              <a:gd name="connsiteX3" fmla="*/ 400051 w 505176"/>
              <a:gd name="connsiteY3" fmla="*/ 824161 h 824161"/>
              <a:gd name="connsiteX4" fmla="*/ 0 w 505176"/>
              <a:gd name="connsiteY4" fmla="*/ 137160 h 824161"/>
              <a:gd name="connsiteX0" fmla="*/ 0 w 505176"/>
              <a:gd name="connsiteY0" fmla="*/ 124215 h 811216"/>
              <a:gd name="connsiteX1" fmla="*/ 43074 w 505176"/>
              <a:gd name="connsiteY1" fmla="*/ 0 h 811216"/>
              <a:gd name="connsiteX2" fmla="*/ 505176 w 505176"/>
              <a:gd name="connsiteY2" fmla="*/ 647929 h 811216"/>
              <a:gd name="connsiteX3" fmla="*/ 400051 w 505176"/>
              <a:gd name="connsiteY3" fmla="*/ 811216 h 811216"/>
              <a:gd name="connsiteX4" fmla="*/ 0 w 505176"/>
              <a:gd name="connsiteY4" fmla="*/ 124215 h 811216"/>
              <a:gd name="connsiteX0" fmla="*/ 0 w 529343"/>
              <a:gd name="connsiteY0" fmla="*/ 124215 h 811216"/>
              <a:gd name="connsiteX1" fmla="*/ 67241 w 529343"/>
              <a:gd name="connsiteY1" fmla="*/ 0 h 811216"/>
              <a:gd name="connsiteX2" fmla="*/ 529343 w 529343"/>
              <a:gd name="connsiteY2" fmla="*/ 647929 h 811216"/>
              <a:gd name="connsiteX3" fmla="*/ 424218 w 529343"/>
              <a:gd name="connsiteY3" fmla="*/ 811216 h 811216"/>
              <a:gd name="connsiteX4" fmla="*/ 0 w 529343"/>
              <a:gd name="connsiteY4" fmla="*/ 124215 h 811216"/>
              <a:gd name="connsiteX0" fmla="*/ 0 w 577676"/>
              <a:gd name="connsiteY0" fmla="*/ 124215 h 811216"/>
              <a:gd name="connsiteX1" fmla="*/ 67241 w 577676"/>
              <a:gd name="connsiteY1" fmla="*/ 0 h 811216"/>
              <a:gd name="connsiteX2" fmla="*/ 577676 w 577676"/>
              <a:gd name="connsiteY2" fmla="*/ 673819 h 811216"/>
              <a:gd name="connsiteX3" fmla="*/ 424218 w 577676"/>
              <a:gd name="connsiteY3" fmla="*/ 811216 h 811216"/>
              <a:gd name="connsiteX4" fmla="*/ 0 w 577676"/>
              <a:gd name="connsiteY4" fmla="*/ 124215 h 811216"/>
              <a:gd name="connsiteX0" fmla="*/ 0 w 577676"/>
              <a:gd name="connsiteY0" fmla="*/ 124215 h 814452"/>
              <a:gd name="connsiteX1" fmla="*/ 67241 w 577676"/>
              <a:gd name="connsiteY1" fmla="*/ 0 h 814452"/>
              <a:gd name="connsiteX2" fmla="*/ 577676 w 577676"/>
              <a:gd name="connsiteY2" fmla="*/ 673819 h 814452"/>
              <a:gd name="connsiteX3" fmla="*/ 456441 w 577676"/>
              <a:gd name="connsiteY3" fmla="*/ 814452 h 814452"/>
              <a:gd name="connsiteX4" fmla="*/ 0 w 577676"/>
              <a:gd name="connsiteY4" fmla="*/ 124215 h 81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676" h="814452">
                <a:moveTo>
                  <a:pt x="0" y="124215"/>
                </a:moveTo>
                <a:lnTo>
                  <a:pt x="67241" y="0"/>
                </a:lnTo>
                <a:lnTo>
                  <a:pt x="577676" y="673819"/>
                </a:lnTo>
                <a:lnTo>
                  <a:pt x="456441" y="814452"/>
                </a:lnTo>
                <a:lnTo>
                  <a:pt x="0" y="124215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85" name="CHECK OUT">
            <a:extLst>
              <a:ext uri="{FF2B5EF4-FFF2-40B4-BE49-F238E27FC236}">
                <a16:creationId xmlns:a16="http://schemas.microsoft.com/office/drawing/2014/main" id="{F66E946B-636F-4B9D-A3DE-8FF307CAEB08}"/>
              </a:ext>
            </a:extLst>
          </p:cNvPr>
          <p:cNvSpPr txBox="1"/>
          <p:nvPr/>
        </p:nvSpPr>
        <p:spPr>
          <a:xfrm>
            <a:off x="5353645" y="5905683"/>
            <a:ext cx="3228517" cy="720545"/>
          </a:xfrm>
          <a:prstGeom prst="rect">
            <a:avLst/>
          </a:prstGeom>
          <a:solidFill>
            <a:srgbClr val="FFFFFF"/>
          </a:solidFill>
        </p:spPr>
        <p:txBody>
          <a:bodyPr wrap="square" lIns="179285" tIns="143428" rIns="179285" bIns="143428" rtlCol="0">
            <a:spAutoFit/>
          </a:bodyPr>
          <a:lstStyle/>
          <a:p>
            <a:pPr algn="ctr"/>
            <a:r>
              <a:rPr lang="en-US" sz="1600">
                <a:latin typeface="+mj-lt"/>
              </a:rPr>
              <a:t>CHECK OUT</a:t>
            </a:r>
          </a:p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th an opt in for recognition</a:t>
            </a:r>
          </a:p>
        </p:txBody>
      </p:sp>
      <p:pic>
        <p:nvPicPr>
          <p:cNvPr id="986" name="sensor" descr="Wireless">
            <a:extLst>
              <a:ext uri="{FF2B5EF4-FFF2-40B4-BE49-F238E27FC236}">
                <a16:creationId xmlns:a16="http://schemas.microsoft.com/office/drawing/2014/main" id="{1DA7F4FF-C9FA-46B5-BCAD-F39A57FBAF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486087">
            <a:off x="5343121" y="630336"/>
            <a:ext cx="691624" cy="691624"/>
          </a:xfrm>
          <a:prstGeom prst="rect">
            <a:avLst/>
          </a:prstGeom>
        </p:spPr>
      </p:pic>
      <p:pic>
        <p:nvPicPr>
          <p:cNvPr id="987" name="sensor" descr="Wireless">
            <a:extLst>
              <a:ext uri="{FF2B5EF4-FFF2-40B4-BE49-F238E27FC236}">
                <a16:creationId xmlns:a16="http://schemas.microsoft.com/office/drawing/2014/main" id="{7FBF5523-211F-4F16-9791-4336D967BC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484985">
            <a:off x="5343121" y="630336"/>
            <a:ext cx="691624" cy="691624"/>
          </a:xfrm>
          <a:prstGeom prst="rect">
            <a:avLst/>
          </a:prstGeom>
        </p:spPr>
      </p:pic>
      <p:pic>
        <p:nvPicPr>
          <p:cNvPr id="913" name="sensor" descr="Wireless">
            <a:extLst>
              <a:ext uri="{FF2B5EF4-FFF2-40B4-BE49-F238E27FC236}">
                <a16:creationId xmlns:a16="http://schemas.microsoft.com/office/drawing/2014/main" id="{A17D9B5C-1034-42CE-8ECE-D27F2DDB0F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656032">
            <a:off x="7050941" y="2098683"/>
            <a:ext cx="691624" cy="691624"/>
          </a:xfrm>
          <a:prstGeom prst="rect">
            <a:avLst/>
          </a:prstGeom>
        </p:spPr>
      </p:pic>
      <p:pic>
        <p:nvPicPr>
          <p:cNvPr id="920" name="sensor" descr="Wireless">
            <a:extLst>
              <a:ext uri="{FF2B5EF4-FFF2-40B4-BE49-F238E27FC236}">
                <a16:creationId xmlns:a16="http://schemas.microsoft.com/office/drawing/2014/main" id="{80F5405B-7327-4CB3-B293-1F546A7BD4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656032">
            <a:off x="7050941" y="2112833"/>
            <a:ext cx="691624" cy="691624"/>
          </a:xfrm>
          <a:prstGeom prst="rect">
            <a:avLst/>
          </a:prstGeom>
        </p:spPr>
      </p:pic>
      <p:grpSp>
        <p:nvGrpSpPr>
          <p:cNvPr id="7" name="CLERK - INVENTORY">
            <a:extLst>
              <a:ext uri="{FF2B5EF4-FFF2-40B4-BE49-F238E27FC236}">
                <a16:creationId xmlns:a16="http://schemas.microsoft.com/office/drawing/2014/main" id="{6FD34CF7-7F79-4670-A161-129AD02013A5}"/>
              </a:ext>
            </a:extLst>
          </p:cNvPr>
          <p:cNvGrpSpPr/>
          <p:nvPr/>
        </p:nvGrpSpPr>
        <p:grpSpPr>
          <a:xfrm>
            <a:off x="6922839" y="2825172"/>
            <a:ext cx="882770" cy="2839519"/>
            <a:chOff x="7061656" y="2881326"/>
            <a:chExt cx="900471" cy="2896457"/>
          </a:xfrm>
        </p:grpSpPr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DE784B9C-9F38-4065-A246-F177F775F165}"/>
                </a:ext>
              </a:extLst>
            </p:cNvPr>
            <p:cNvSpPr/>
            <p:nvPr/>
          </p:nvSpPr>
          <p:spPr>
            <a:xfrm>
              <a:off x="7631934" y="5705977"/>
              <a:ext cx="8559" cy="45898"/>
            </a:xfrm>
            <a:custGeom>
              <a:avLst/>
              <a:gdLst>
                <a:gd name="connsiteX0" fmla="*/ 4138 w 5387"/>
                <a:gd name="connsiteY0" fmla="*/ 28890 h 28889"/>
                <a:gd name="connsiteX1" fmla="*/ 2108 w 5387"/>
                <a:gd name="connsiteY1" fmla="*/ 27406 h 28889"/>
                <a:gd name="connsiteX2" fmla="*/ 0 w 5387"/>
                <a:gd name="connsiteY2" fmla="*/ 6168 h 28889"/>
                <a:gd name="connsiteX3" fmla="*/ 3358 w 5387"/>
                <a:gd name="connsiteY3" fmla="*/ 0 h 28889"/>
                <a:gd name="connsiteX4" fmla="*/ 5388 w 5387"/>
                <a:gd name="connsiteY4" fmla="*/ 3435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7" h="28889">
                  <a:moveTo>
                    <a:pt x="4138" y="28890"/>
                  </a:moveTo>
                  <a:lnTo>
                    <a:pt x="2108" y="27406"/>
                  </a:lnTo>
                  <a:cubicBezTo>
                    <a:pt x="690" y="20418"/>
                    <a:pt x="-15" y="13297"/>
                    <a:pt x="0" y="6168"/>
                  </a:cubicBezTo>
                  <a:cubicBezTo>
                    <a:pt x="0" y="5778"/>
                    <a:pt x="3358" y="0"/>
                    <a:pt x="3358" y="0"/>
                  </a:cubicBezTo>
                  <a:lnTo>
                    <a:pt x="5388" y="3435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F04FECEC-DE15-45EC-A9CE-315E745675A4}"/>
                </a:ext>
              </a:extLst>
            </p:cNvPr>
            <p:cNvSpPr/>
            <p:nvPr/>
          </p:nvSpPr>
          <p:spPr>
            <a:xfrm>
              <a:off x="7633920" y="5675088"/>
              <a:ext cx="21709" cy="77035"/>
            </a:xfrm>
            <a:custGeom>
              <a:avLst/>
              <a:gdLst>
                <a:gd name="connsiteX0" fmla="*/ 13664 w 13664"/>
                <a:gd name="connsiteY0" fmla="*/ 0 h 48487"/>
                <a:gd name="connsiteX1" fmla="*/ 5856 w 13664"/>
                <a:gd name="connsiteY1" fmla="*/ 46848 h 48487"/>
                <a:gd name="connsiteX2" fmla="*/ 3201 w 13664"/>
                <a:gd name="connsiteY2" fmla="*/ 48488 h 48487"/>
                <a:gd name="connsiteX3" fmla="*/ 2577 w 13664"/>
                <a:gd name="connsiteY3" fmla="*/ 23346 h 48487"/>
                <a:gd name="connsiteX4" fmla="*/ 0 w 13664"/>
                <a:gd name="connsiteY4" fmla="*/ 20067 h 48487"/>
                <a:gd name="connsiteX5" fmla="*/ 2577 w 13664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64" h="48487">
                  <a:moveTo>
                    <a:pt x="13664" y="0"/>
                  </a:moveTo>
                  <a:cubicBezTo>
                    <a:pt x="10257" y="15468"/>
                    <a:pt x="7651" y="31107"/>
                    <a:pt x="5856" y="46848"/>
                  </a:cubicBezTo>
                  <a:lnTo>
                    <a:pt x="3201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577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DD2C08C1-E962-419B-8EBA-941439AA6137}"/>
                </a:ext>
              </a:extLst>
            </p:cNvPr>
            <p:cNvSpPr/>
            <p:nvPr/>
          </p:nvSpPr>
          <p:spPr>
            <a:xfrm>
              <a:off x="7543776" y="5628691"/>
              <a:ext cx="102423" cy="149092"/>
            </a:xfrm>
            <a:custGeom>
              <a:avLst/>
              <a:gdLst>
                <a:gd name="connsiteX0" fmla="*/ 64468 w 64467"/>
                <a:gd name="connsiteY0" fmla="*/ 7419 h 93841"/>
                <a:gd name="connsiteX1" fmla="*/ 43855 w 64467"/>
                <a:gd name="connsiteY1" fmla="*/ 85967 h 93841"/>
                <a:gd name="connsiteX2" fmla="*/ 5439 w 64467"/>
                <a:gd name="connsiteY2" fmla="*/ 93229 h 93841"/>
                <a:gd name="connsiteX3" fmla="*/ 15668 w 64467"/>
                <a:gd name="connsiteY3" fmla="*/ 67072 h 93841"/>
                <a:gd name="connsiteX4" fmla="*/ 45182 w 64467"/>
                <a:gd name="connsiteY4" fmla="*/ 3515 h 93841"/>
                <a:gd name="connsiteX5" fmla="*/ 64468 w 64467"/>
                <a:gd name="connsiteY5" fmla="*/ 7419 h 9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67" h="93841">
                  <a:moveTo>
                    <a:pt x="64468" y="7419"/>
                  </a:moveTo>
                  <a:cubicBezTo>
                    <a:pt x="64468" y="7419"/>
                    <a:pt x="61110" y="66525"/>
                    <a:pt x="43855" y="85967"/>
                  </a:cubicBezTo>
                  <a:cubicBezTo>
                    <a:pt x="39248" y="91121"/>
                    <a:pt x="12232" y="95493"/>
                    <a:pt x="5439" y="93229"/>
                  </a:cubicBezTo>
                  <a:cubicBezTo>
                    <a:pt x="-6429" y="89169"/>
                    <a:pt x="3019" y="82922"/>
                    <a:pt x="15668" y="67072"/>
                  </a:cubicBezTo>
                  <a:cubicBezTo>
                    <a:pt x="32845" y="31077"/>
                    <a:pt x="42605" y="23581"/>
                    <a:pt x="45182" y="3515"/>
                  </a:cubicBezTo>
                  <a:cubicBezTo>
                    <a:pt x="48149" y="-6245"/>
                    <a:pt x="64468" y="7419"/>
                    <a:pt x="64468" y="7419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4D997E78-A94D-401A-81DD-24DBD4CFCA03}"/>
                </a:ext>
              </a:extLst>
            </p:cNvPr>
            <p:cNvSpPr/>
            <p:nvPr/>
          </p:nvSpPr>
          <p:spPr>
            <a:xfrm>
              <a:off x="7569470" y="5617232"/>
              <a:ext cx="76730" cy="128736"/>
            </a:xfrm>
            <a:custGeom>
              <a:avLst/>
              <a:gdLst>
                <a:gd name="connsiteX0" fmla="*/ 48296 w 48295"/>
                <a:gd name="connsiteY0" fmla="*/ 14631 h 81029"/>
                <a:gd name="connsiteX1" fmla="*/ 2151 w 48295"/>
                <a:gd name="connsiteY1" fmla="*/ 79985 h 81029"/>
                <a:gd name="connsiteX2" fmla="*/ 28385 w 48295"/>
                <a:gd name="connsiteY2" fmla="*/ 1904 h 81029"/>
                <a:gd name="connsiteX3" fmla="*/ 48296 w 48295"/>
                <a:gd name="connsiteY3" fmla="*/ 14631 h 8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95" h="81029">
                  <a:moveTo>
                    <a:pt x="48296" y="14631"/>
                  </a:moveTo>
                  <a:cubicBezTo>
                    <a:pt x="48296" y="14631"/>
                    <a:pt x="31977" y="90760"/>
                    <a:pt x="2151" y="79985"/>
                  </a:cubicBezTo>
                  <a:cubicBezTo>
                    <a:pt x="-8937" y="76159"/>
                    <a:pt x="26355" y="39383"/>
                    <a:pt x="28385" y="1904"/>
                  </a:cubicBezTo>
                  <a:cubicBezTo>
                    <a:pt x="28385" y="-6294"/>
                    <a:pt x="48296" y="14631"/>
                    <a:pt x="48296" y="146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E4CE1B55-080F-43D6-848E-35C5BA9B0147}"/>
                </a:ext>
              </a:extLst>
            </p:cNvPr>
            <p:cNvSpPr/>
            <p:nvPr/>
          </p:nvSpPr>
          <p:spPr>
            <a:xfrm>
              <a:off x="7639129" y="5640479"/>
              <a:ext cx="16498" cy="56195"/>
            </a:xfrm>
            <a:custGeom>
              <a:avLst/>
              <a:gdLst>
                <a:gd name="connsiteX0" fmla="*/ 4451 w 10384"/>
                <a:gd name="connsiteY0" fmla="*/ 0 h 35370"/>
                <a:gd name="connsiteX1" fmla="*/ 10385 w 10384"/>
                <a:gd name="connsiteY1" fmla="*/ 21784 h 35370"/>
                <a:gd name="connsiteX2" fmla="*/ 0 w 10384"/>
                <a:gd name="connsiteY2" fmla="*/ 35370 h 3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84" h="35370">
                  <a:moveTo>
                    <a:pt x="4451" y="0"/>
                  </a:moveTo>
                  <a:cubicBezTo>
                    <a:pt x="7812" y="6809"/>
                    <a:pt x="9826" y="14211"/>
                    <a:pt x="10385" y="21784"/>
                  </a:cubicBezTo>
                  <a:cubicBezTo>
                    <a:pt x="9057" y="27875"/>
                    <a:pt x="7652" y="26157"/>
                    <a:pt x="0" y="35370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B8DD1E80-66F7-4EA3-B0E2-AE15DD34896C}"/>
                </a:ext>
              </a:extLst>
            </p:cNvPr>
            <p:cNvSpPr/>
            <p:nvPr/>
          </p:nvSpPr>
          <p:spPr>
            <a:xfrm>
              <a:off x="7494113" y="5626461"/>
              <a:ext cx="8560" cy="45898"/>
            </a:xfrm>
            <a:custGeom>
              <a:avLst/>
              <a:gdLst>
                <a:gd name="connsiteX0" fmla="*/ 4217 w 5388"/>
                <a:gd name="connsiteY0" fmla="*/ 28890 h 28889"/>
                <a:gd name="connsiteX1" fmla="*/ 2109 w 5388"/>
                <a:gd name="connsiteY1" fmla="*/ 27406 h 28889"/>
                <a:gd name="connsiteX2" fmla="*/ 0 w 5388"/>
                <a:gd name="connsiteY2" fmla="*/ 6168 h 28889"/>
                <a:gd name="connsiteX3" fmla="*/ 3358 w 5388"/>
                <a:gd name="connsiteY3" fmla="*/ 0 h 28889"/>
                <a:gd name="connsiteX4" fmla="*/ 5388 w 5388"/>
                <a:gd name="connsiteY4" fmla="*/ 3514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" h="28889">
                  <a:moveTo>
                    <a:pt x="4217" y="28890"/>
                  </a:moveTo>
                  <a:lnTo>
                    <a:pt x="2109" y="27406"/>
                  </a:lnTo>
                  <a:cubicBezTo>
                    <a:pt x="686" y="20418"/>
                    <a:pt x="-21" y="13297"/>
                    <a:pt x="0" y="6168"/>
                  </a:cubicBezTo>
                  <a:cubicBezTo>
                    <a:pt x="0" y="6168"/>
                    <a:pt x="3358" y="0"/>
                    <a:pt x="3358" y="0"/>
                  </a:cubicBezTo>
                  <a:lnTo>
                    <a:pt x="5388" y="3514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C106D9A8-637C-4C69-9535-591068A90F56}"/>
                </a:ext>
              </a:extLst>
            </p:cNvPr>
            <p:cNvSpPr/>
            <p:nvPr/>
          </p:nvSpPr>
          <p:spPr>
            <a:xfrm>
              <a:off x="7495975" y="5595324"/>
              <a:ext cx="21833" cy="77035"/>
            </a:xfrm>
            <a:custGeom>
              <a:avLst/>
              <a:gdLst>
                <a:gd name="connsiteX0" fmla="*/ 13742 w 13742"/>
                <a:gd name="connsiteY0" fmla="*/ 0 h 48487"/>
                <a:gd name="connsiteX1" fmla="*/ 5934 w 13742"/>
                <a:gd name="connsiteY1" fmla="*/ 46848 h 48487"/>
                <a:gd name="connsiteX2" fmla="*/ 3279 w 13742"/>
                <a:gd name="connsiteY2" fmla="*/ 48488 h 48487"/>
                <a:gd name="connsiteX3" fmla="*/ 2577 w 13742"/>
                <a:gd name="connsiteY3" fmla="*/ 23346 h 48487"/>
                <a:gd name="connsiteX4" fmla="*/ 0 w 13742"/>
                <a:gd name="connsiteY4" fmla="*/ 20067 h 48487"/>
                <a:gd name="connsiteX5" fmla="*/ 2655 w 13742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42" h="48487">
                  <a:moveTo>
                    <a:pt x="13742" y="0"/>
                  </a:moveTo>
                  <a:cubicBezTo>
                    <a:pt x="10309" y="15468"/>
                    <a:pt x="7703" y="31107"/>
                    <a:pt x="5934" y="46848"/>
                  </a:cubicBezTo>
                  <a:lnTo>
                    <a:pt x="3279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655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40D44CC4-C84B-49BE-B57F-BD932B7541AE}"/>
                </a:ext>
              </a:extLst>
            </p:cNvPr>
            <p:cNvSpPr/>
            <p:nvPr/>
          </p:nvSpPr>
          <p:spPr>
            <a:xfrm>
              <a:off x="7405993" y="5548923"/>
              <a:ext cx="102385" cy="149141"/>
            </a:xfrm>
            <a:custGeom>
              <a:avLst/>
              <a:gdLst>
                <a:gd name="connsiteX0" fmla="*/ 64443 w 64443"/>
                <a:gd name="connsiteY0" fmla="*/ 7421 h 93872"/>
                <a:gd name="connsiteX1" fmla="*/ 43830 w 64443"/>
                <a:gd name="connsiteY1" fmla="*/ 85970 h 93872"/>
                <a:gd name="connsiteX2" fmla="*/ 5493 w 64443"/>
                <a:gd name="connsiteY2" fmla="*/ 93231 h 93872"/>
                <a:gd name="connsiteX3" fmla="*/ 15643 w 64443"/>
                <a:gd name="connsiteY3" fmla="*/ 67074 h 93872"/>
                <a:gd name="connsiteX4" fmla="*/ 45158 w 64443"/>
                <a:gd name="connsiteY4" fmla="*/ 3595 h 93872"/>
                <a:gd name="connsiteX5" fmla="*/ 64443 w 64443"/>
                <a:gd name="connsiteY5" fmla="*/ 7421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43" h="93872">
                  <a:moveTo>
                    <a:pt x="64443" y="7421"/>
                  </a:moveTo>
                  <a:cubicBezTo>
                    <a:pt x="64443" y="7421"/>
                    <a:pt x="61086" y="66606"/>
                    <a:pt x="43830" y="85970"/>
                  </a:cubicBezTo>
                  <a:cubicBezTo>
                    <a:pt x="39302" y="91123"/>
                    <a:pt x="12208" y="95573"/>
                    <a:pt x="5493" y="93231"/>
                  </a:cubicBezTo>
                  <a:cubicBezTo>
                    <a:pt x="-6453" y="89171"/>
                    <a:pt x="2994" y="83003"/>
                    <a:pt x="15643" y="67074"/>
                  </a:cubicBezTo>
                  <a:cubicBezTo>
                    <a:pt x="32899" y="31079"/>
                    <a:pt x="42581" y="23584"/>
                    <a:pt x="45158" y="3595"/>
                  </a:cubicBezTo>
                  <a:cubicBezTo>
                    <a:pt x="48203" y="-6321"/>
                    <a:pt x="64443" y="7421"/>
                    <a:pt x="64443" y="7421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E36FD698-6848-491B-9E0E-328FB7A67DE0}"/>
                </a:ext>
              </a:extLst>
            </p:cNvPr>
            <p:cNvSpPr/>
            <p:nvPr/>
          </p:nvSpPr>
          <p:spPr>
            <a:xfrm>
              <a:off x="7431734" y="5537468"/>
              <a:ext cx="76644" cy="128757"/>
            </a:xfrm>
            <a:custGeom>
              <a:avLst/>
              <a:gdLst>
                <a:gd name="connsiteX0" fmla="*/ 48242 w 48241"/>
                <a:gd name="connsiteY0" fmla="*/ 14631 h 81042"/>
                <a:gd name="connsiteX1" fmla="*/ 2174 w 48241"/>
                <a:gd name="connsiteY1" fmla="*/ 79984 h 81042"/>
                <a:gd name="connsiteX2" fmla="*/ 28331 w 48241"/>
                <a:gd name="connsiteY2" fmla="*/ 1904 h 81042"/>
                <a:gd name="connsiteX3" fmla="*/ 48242 w 48241"/>
                <a:gd name="connsiteY3" fmla="*/ 14631 h 8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41" h="81042">
                  <a:moveTo>
                    <a:pt x="48242" y="14631"/>
                  </a:moveTo>
                  <a:cubicBezTo>
                    <a:pt x="48242" y="14631"/>
                    <a:pt x="31923" y="90838"/>
                    <a:pt x="2174" y="79984"/>
                  </a:cubicBezTo>
                  <a:cubicBezTo>
                    <a:pt x="-8991" y="76159"/>
                    <a:pt x="26379" y="39461"/>
                    <a:pt x="28331" y="1904"/>
                  </a:cubicBezTo>
                  <a:cubicBezTo>
                    <a:pt x="28331" y="-6294"/>
                    <a:pt x="48242" y="14631"/>
                    <a:pt x="48242" y="14631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B41A821A-4D59-4C90-BE50-D100E4AAB6F4}"/>
                </a:ext>
              </a:extLst>
            </p:cNvPr>
            <p:cNvSpPr/>
            <p:nvPr/>
          </p:nvSpPr>
          <p:spPr>
            <a:xfrm>
              <a:off x="7501308" y="5560713"/>
              <a:ext cx="16755" cy="56319"/>
            </a:xfrm>
            <a:custGeom>
              <a:avLst/>
              <a:gdLst>
                <a:gd name="connsiteX0" fmla="*/ 4451 w 10546"/>
                <a:gd name="connsiteY0" fmla="*/ 0 h 35448"/>
                <a:gd name="connsiteX1" fmla="*/ 10385 w 10546"/>
                <a:gd name="connsiteY1" fmla="*/ 21862 h 35448"/>
                <a:gd name="connsiteX2" fmla="*/ 0 w 10546"/>
                <a:gd name="connsiteY2" fmla="*/ 35448 h 3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46" h="35448">
                  <a:moveTo>
                    <a:pt x="4451" y="0"/>
                  </a:moveTo>
                  <a:cubicBezTo>
                    <a:pt x="4451" y="0"/>
                    <a:pt x="11712" y="15616"/>
                    <a:pt x="10385" y="21862"/>
                  </a:cubicBezTo>
                  <a:cubicBezTo>
                    <a:pt x="9057" y="28109"/>
                    <a:pt x="7730" y="26157"/>
                    <a:pt x="0" y="35448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031A099C-8C6F-4D2B-91BC-663EADD4E6C4}"/>
                </a:ext>
              </a:extLst>
            </p:cNvPr>
            <p:cNvSpPr/>
            <p:nvPr/>
          </p:nvSpPr>
          <p:spPr>
            <a:xfrm>
              <a:off x="7352941" y="4193397"/>
              <a:ext cx="490005" cy="1461657"/>
            </a:xfrm>
            <a:custGeom>
              <a:avLst/>
              <a:gdLst>
                <a:gd name="connsiteX0" fmla="*/ 206914 w 308417"/>
                <a:gd name="connsiteY0" fmla="*/ 531897 h 919994"/>
                <a:gd name="connsiteX1" fmla="*/ 308418 w 308417"/>
                <a:gd name="connsiteY1" fmla="*/ 68180 h 919994"/>
                <a:gd name="connsiteX2" fmla="*/ 172949 w 308417"/>
                <a:gd name="connsiteY2" fmla="*/ 24533 h 919994"/>
                <a:gd name="connsiteX3" fmla="*/ 3281 w 308417"/>
                <a:gd name="connsiteY3" fmla="*/ 4154 h 919994"/>
                <a:gd name="connsiteX4" fmla="*/ 37168 w 308417"/>
                <a:gd name="connsiteY4" fmla="*/ 443198 h 919994"/>
                <a:gd name="connsiteX5" fmla="*/ 67775 w 308417"/>
                <a:gd name="connsiteY5" fmla="*/ 852807 h 919994"/>
                <a:gd name="connsiteX6" fmla="*/ 74412 w 308417"/>
                <a:gd name="connsiteY6" fmla="*/ 863035 h 919994"/>
                <a:gd name="connsiteX7" fmla="*/ 106971 w 308417"/>
                <a:gd name="connsiteY7" fmla="*/ 863035 h 919994"/>
                <a:gd name="connsiteX8" fmla="*/ 113452 w 308417"/>
                <a:gd name="connsiteY8" fmla="*/ 855227 h 919994"/>
                <a:gd name="connsiteX9" fmla="*/ 113452 w 308417"/>
                <a:gd name="connsiteY9" fmla="*/ 855227 h 919994"/>
                <a:gd name="connsiteX10" fmla="*/ 136017 w 308417"/>
                <a:gd name="connsiteY10" fmla="*/ 571172 h 919994"/>
                <a:gd name="connsiteX11" fmla="*/ 104785 w 308417"/>
                <a:gd name="connsiteY11" fmla="*/ 479349 h 919994"/>
                <a:gd name="connsiteX12" fmla="*/ 136017 w 308417"/>
                <a:gd name="connsiteY12" fmla="*/ 170152 h 919994"/>
                <a:gd name="connsiteX13" fmla="*/ 146089 w 308417"/>
                <a:gd name="connsiteY13" fmla="*/ 174212 h 919994"/>
                <a:gd name="connsiteX14" fmla="*/ 141014 w 308417"/>
                <a:gd name="connsiteY14" fmla="*/ 503945 h 919994"/>
                <a:gd name="connsiteX15" fmla="*/ 154054 w 308417"/>
                <a:gd name="connsiteY15" fmla="*/ 905120 h 919994"/>
                <a:gd name="connsiteX16" fmla="*/ 154054 w 308417"/>
                <a:gd name="connsiteY16" fmla="*/ 905120 h 919994"/>
                <a:gd name="connsiteX17" fmla="*/ 160612 w 308417"/>
                <a:gd name="connsiteY17" fmla="*/ 916129 h 919994"/>
                <a:gd name="connsiteX18" fmla="*/ 193094 w 308417"/>
                <a:gd name="connsiteY18" fmla="*/ 916129 h 919994"/>
                <a:gd name="connsiteX19" fmla="*/ 199574 w 308417"/>
                <a:gd name="connsiteY19" fmla="*/ 907853 h 919994"/>
                <a:gd name="connsiteX20" fmla="*/ 199574 w 308417"/>
                <a:gd name="connsiteY20" fmla="*/ 907853 h 919994"/>
                <a:gd name="connsiteX21" fmla="*/ 236428 w 308417"/>
                <a:gd name="connsiteY21" fmla="*/ 628170 h 919994"/>
                <a:gd name="connsiteX22" fmla="*/ 206914 w 308417"/>
                <a:gd name="connsiteY22" fmla="*/ 531897 h 919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8417" h="919994">
                  <a:moveTo>
                    <a:pt x="206914" y="531897"/>
                  </a:moveTo>
                  <a:cubicBezTo>
                    <a:pt x="209568" y="524089"/>
                    <a:pt x="307715" y="276029"/>
                    <a:pt x="308418" y="68180"/>
                  </a:cubicBezTo>
                  <a:lnTo>
                    <a:pt x="172949" y="24533"/>
                  </a:lnTo>
                  <a:cubicBezTo>
                    <a:pt x="172949" y="24533"/>
                    <a:pt x="11323" y="-12087"/>
                    <a:pt x="3281" y="4154"/>
                  </a:cubicBezTo>
                  <a:cubicBezTo>
                    <a:pt x="-9212" y="18052"/>
                    <a:pt x="16555" y="271344"/>
                    <a:pt x="37168" y="443198"/>
                  </a:cubicBezTo>
                  <a:cubicBezTo>
                    <a:pt x="37168" y="443198"/>
                    <a:pt x="69727" y="680171"/>
                    <a:pt x="67775" y="852807"/>
                  </a:cubicBezTo>
                  <a:cubicBezTo>
                    <a:pt x="67704" y="857249"/>
                    <a:pt x="70327" y="861294"/>
                    <a:pt x="74412" y="863035"/>
                  </a:cubicBezTo>
                  <a:cubicBezTo>
                    <a:pt x="84645" y="868227"/>
                    <a:pt x="96738" y="868227"/>
                    <a:pt x="106971" y="863035"/>
                  </a:cubicBezTo>
                  <a:cubicBezTo>
                    <a:pt x="110171" y="861505"/>
                    <a:pt x="112540" y="858655"/>
                    <a:pt x="113452" y="855227"/>
                  </a:cubicBezTo>
                  <a:lnTo>
                    <a:pt x="113452" y="855227"/>
                  </a:lnTo>
                  <a:cubicBezTo>
                    <a:pt x="131254" y="666898"/>
                    <a:pt x="136017" y="571172"/>
                    <a:pt x="136017" y="571172"/>
                  </a:cubicBezTo>
                  <a:cubicBezTo>
                    <a:pt x="136017" y="556336"/>
                    <a:pt x="104317" y="487001"/>
                    <a:pt x="104785" y="479349"/>
                  </a:cubicBezTo>
                  <a:cubicBezTo>
                    <a:pt x="105253" y="471698"/>
                    <a:pt x="134455" y="223715"/>
                    <a:pt x="136017" y="170152"/>
                  </a:cubicBezTo>
                  <a:lnTo>
                    <a:pt x="146089" y="174212"/>
                  </a:lnTo>
                  <a:cubicBezTo>
                    <a:pt x="146089" y="174212"/>
                    <a:pt x="141014" y="497933"/>
                    <a:pt x="141014" y="503945"/>
                  </a:cubicBezTo>
                  <a:cubicBezTo>
                    <a:pt x="141014" y="509957"/>
                    <a:pt x="164829" y="854368"/>
                    <a:pt x="154054" y="905120"/>
                  </a:cubicBezTo>
                  <a:lnTo>
                    <a:pt x="154054" y="905120"/>
                  </a:lnTo>
                  <a:cubicBezTo>
                    <a:pt x="153556" y="909836"/>
                    <a:pt x="156227" y="914318"/>
                    <a:pt x="160612" y="916129"/>
                  </a:cubicBezTo>
                  <a:cubicBezTo>
                    <a:pt x="170827" y="921283"/>
                    <a:pt x="182879" y="921283"/>
                    <a:pt x="193094" y="916129"/>
                  </a:cubicBezTo>
                  <a:cubicBezTo>
                    <a:pt x="196448" y="914560"/>
                    <a:pt x="198854" y="911484"/>
                    <a:pt x="199574" y="907853"/>
                  </a:cubicBezTo>
                  <a:lnTo>
                    <a:pt x="199574" y="907853"/>
                  </a:lnTo>
                  <a:cubicBezTo>
                    <a:pt x="220500" y="763092"/>
                    <a:pt x="236428" y="628170"/>
                    <a:pt x="236428" y="628170"/>
                  </a:cubicBezTo>
                  <a:cubicBezTo>
                    <a:pt x="237755" y="612008"/>
                    <a:pt x="204337" y="539862"/>
                    <a:pt x="206914" y="531897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40E475C3-D09F-4D16-9D1D-724AEDBF9505}"/>
                </a:ext>
              </a:extLst>
            </p:cNvPr>
            <p:cNvSpPr/>
            <p:nvPr/>
          </p:nvSpPr>
          <p:spPr>
            <a:xfrm>
              <a:off x="7711767" y="2881326"/>
              <a:ext cx="250360" cy="537491"/>
            </a:xfrm>
            <a:custGeom>
              <a:avLst/>
              <a:gdLst>
                <a:gd name="connsiteX0" fmla="*/ 11514 w 157581"/>
                <a:gd name="connsiteY0" fmla="*/ 48180 h 338307"/>
                <a:gd name="connsiteX1" fmla="*/ 72728 w 157581"/>
                <a:gd name="connsiteY1" fmla="*/ 942 h 338307"/>
                <a:gd name="connsiteX2" fmla="*/ 133553 w 157581"/>
                <a:gd name="connsiteY2" fmla="*/ 177637 h 338307"/>
                <a:gd name="connsiteX3" fmla="*/ 104819 w 157581"/>
                <a:gd name="connsiteY3" fmla="*/ 307875 h 338307"/>
                <a:gd name="connsiteX4" fmla="*/ 17213 w 157581"/>
                <a:gd name="connsiteY4" fmla="*/ 321539 h 338307"/>
                <a:gd name="connsiteX5" fmla="*/ 15261 w 157581"/>
                <a:gd name="connsiteY5" fmla="*/ 172328 h 33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581" h="338307">
                  <a:moveTo>
                    <a:pt x="11514" y="48180"/>
                  </a:moveTo>
                  <a:cubicBezTo>
                    <a:pt x="11514" y="48180"/>
                    <a:pt x="24475" y="-7881"/>
                    <a:pt x="72728" y="942"/>
                  </a:cubicBezTo>
                  <a:cubicBezTo>
                    <a:pt x="120982" y="9765"/>
                    <a:pt x="196641" y="82848"/>
                    <a:pt x="133553" y="177637"/>
                  </a:cubicBezTo>
                  <a:cubicBezTo>
                    <a:pt x="70464" y="272426"/>
                    <a:pt x="73978" y="315449"/>
                    <a:pt x="104819" y="307875"/>
                  </a:cubicBezTo>
                  <a:cubicBezTo>
                    <a:pt x="104819" y="307875"/>
                    <a:pt x="62890" y="366044"/>
                    <a:pt x="17213" y="321539"/>
                  </a:cubicBezTo>
                  <a:cubicBezTo>
                    <a:pt x="-20343" y="284919"/>
                    <a:pt x="15261" y="172328"/>
                    <a:pt x="15261" y="172328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AC7B0F49-FC0C-419F-BEBE-783172141BD3}"/>
                </a:ext>
              </a:extLst>
            </p:cNvPr>
            <p:cNvSpPr/>
            <p:nvPr/>
          </p:nvSpPr>
          <p:spPr>
            <a:xfrm>
              <a:off x="7684292" y="3045080"/>
              <a:ext cx="125828" cy="311988"/>
            </a:xfrm>
            <a:custGeom>
              <a:avLst/>
              <a:gdLst>
                <a:gd name="connsiteX0" fmla="*/ 152 w 79198"/>
                <a:gd name="connsiteY0" fmla="*/ 196371 h 196371"/>
                <a:gd name="connsiteX1" fmla="*/ 78232 w 79198"/>
                <a:gd name="connsiteY1" fmla="*/ 0 h 196371"/>
                <a:gd name="connsiteX2" fmla="*/ 152 w 79198"/>
                <a:gd name="connsiteY2" fmla="*/ 196371 h 196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198" h="196371">
                  <a:moveTo>
                    <a:pt x="152" y="196371"/>
                  </a:moveTo>
                  <a:cubicBezTo>
                    <a:pt x="152" y="196371"/>
                    <a:pt x="89397" y="139139"/>
                    <a:pt x="78232" y="0"/>
                  </a:cubicBezTo>
                  <a:cubicBezTo>
                    <a:pt x="77919" y="0"/>
                    <a:pt x="-3987" y="89167"/>
                    <a:pt x="152" y="196371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90B93E80-5630-4B2C-B60B-8E36480AA73B}"/>
                </a:ext>
              </a:extLst>
            </p:cNvPr>
            <p:cNvSpPr/>
            <p:nvPr/>
          </p:nvSpPr>
          <p:spPr>
            <a:xfrm rot="19985901">
              <a:off x="7123199" y="3487546"/>
              <a:ext cx="392826" cy="393241"/>
            </a:xfrm>
            <a:custGeom>
              <a:avLst/>
              <a:gdLst>
                <a:gd name="connsiteX0" fmla="*/ 16212 w 247251"/>
                <a:gd name="connsiteY0" fmla="*/ 247514 h 247513"/>
                <a:gd name="connsiteX1" fmla="*/ 212974 w 247251"/>
                <a:gd name="connsiteY1" fmla="*/ 132736 h 247513"/>
                <a:gd name="connsiteX2" fmla="*/ 247251 w 247251"/>
                <a:gd name="connsiteY2" fmla="*/ 0 h 247513"/>
                <a:gd name="connsiteX3" fmla="*/ 21834 w 247251"/>
                <a:gd name="connsiteY3" fmla="*/ 188563 h 247513"/>
                <a:gd name="connsiteX4" fmla="*/ 16212 w 247251"/>
                <a:gd name="connsiteY4" fmla="*/ 247514 h 2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251" h="247513">
                  <a:moveTo>
                    <a:pt x="16212" y="247514"/>
                  </a:moveTo>
                  <a:cubicBezTo>
                    <a:pt x="73991" y="240877"/>
                    <a:pt x="212974" y="132736"/>
                    <a:pt x="212974" y="132736"/>
                  </a:cubicBezTo>
                  <a:lnTo>
                    <a:pt x="247251" y="0"/>
                  </a:lnTo>
                  <a:cubicBezTo>
                    <a:pt x="247251" y="0"/>
                    <a:pt x="40807" y="179584"/>
                    <a:pt x="21834" y="188563"/>
                  </a:cubicBezTo>
                  <a:cubicBezTo>
                    <a:pt x="-23765" y="234240"/>
                    <a:pt x="16212" y="247514"/>
                    <a:pt x="16212" y="247514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03D91D5A-5C42-44AA-8CA7-A302E120D8AD}"/>
                </a:ext>
              </a:extLst>
            </p:cNvPr>
            <p:cNvSpPr/>
            <p:nvPr/>
          </p:nvSpPr>
          <p:spPr>
            <a:xfrm>
              <a:off x="7351453" y="3926092"/>
              <a:ext cx="491864" cy="418593"/>
            </a:xfrm>
            <a:custGeom>
              <a:avLst/>
              <a:gdLst>
                <a:gd name="connsiteX0" fmla="*/ 169668 w 309587"/>
                <a:gd name="connsiteY0" fmla="*/ 15147 h 263470"/>
                <a:gd name="connsiteX1" fmla="*/ 309588 w 309587"/>
                <a:gd name="connsiteY1" fmla="*/ 236426 h 263470"/>
                <a:gd name="connsiteX2" fmla="*/ 117589 w 309587"/>
                <a:gd name="connsiteY2" fmla="*/ 254307 h 263470"/>
                <a:gd name="connsiteX3" fmla="*/ 0 w 309587"/>
                <a:gd name="connsiteY3" fmla="*/ 175368 h 263470"/>
                <a:gd name="connsiteX4" fmla="*/ 72849 w 309587"/>
                <a:gd name="connsiteY4" fmla="*/ 0 h 26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587" h="263470">
                  <a:moveTo>
                    <a:pt x="169668" y="15147"/>
                  </a:moveTo>
                  <a:cubicBezTo>
                    <a:pt x="169668" y="15147"/>
                    <a:pt x="308182" y="180677"/>
                    <a:pt x="309588" y="236426"/>
                  </a:cubicBezTo>
                  <a:cubicBezTo>
                    <a:pt x="309588" y="236426"/>
                    <a:pt x="233225" y="282572"/>
                    <a:pt x="117589" y="254307"/>
                  </a:cubicBezTo>
                  <a:cubicBezTo>
                    <a:pt x="-625" y="225339"/>
                    <a:pt x="0" y="175368"/>
                    <a:pt x="0" y="175368"/>
                  </a:cubicBezTo>
                  <a:cubicBezTo>
                    <a:pt x="21299" y="115716"/>
                    <a:pt x="45613" y="57185"/>
                    <a:pt x="72849" y="0"/>
                  </a:cubicBezTo>
                  <a:close/>
                </a:path>
              </a:pathLst>
            </a:custGeom>
            <a:solidFill>
              <a:schemeClr val="accent1">
                <a:lumMod val="10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F39B2F69-0B9A-4EB1-8BAB-6E9B9F52698B}"/>
                </a:ext>
              </a:extLst>
            </p:cNvPr>
            <p:cNvSpPr/>
            <p:nvPr/>
          </p:nvSpPr>
          <p:spPr>
            <a:xfrm rot="21581400">
              <a:off x="7464312" y="3884564"/>
              <a:ext cx="167965" cy="97007"/>
            </a:xfrm>
            <a:custGeom>
              <a:avLst/>
              <a:gdLst>
                <a:gd name="connsiteX0" fmla="*/ 105720 w 105720"/>
                <a:gd name="connsiteY0" fmla="*/ 30529 h 61058"/>
                <a:gd name="connsiteX1" fmla="*/ 52860 w 105720"/>
                <a:gd name="connsiteY1" fmla="*/ 61059 h 61058"/>
                <a:gd name="connsiteX2" fmla="*/ 0 w 105720"/>
                <a:gd name="connsiteY2" fmla="*/ 30529 h 61058"/>
                <a:gd name="connsiteX3" fmla="*/ 52860 w 105720"/>
                <a:gd name="connsiteY3" fmla="*/ 0 h 61058"/>
                <a:gd name="connsiteX4" fmla="*/ 105720 w 105720"/>
                <a:gd name="connsiteY4" fmla="*/ 30529 h 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20" h="61058">
                  <a:moveTo>
                    <a:pt x="105720" y="30529"/>
                  </a:moveTo>
                  <a:cubicBezTo>
                    <a:pt x="105720" y="47390"/>
                    <a:pt x="82054" y="61059"/>
                    <a:pt x="52860" y="61059"/>
                  </a:cubicBezTo>
                  <a:cubicBezTo>
                    <a:pt x="23666" y="61059"/>
                    <a:pt x="0" y="47390"/>
                    <a:pt x="0" y="30529"/>
                  </a:cubicBezTo>
                  <a:cubicBezTo>
                    <a:pt x="0" y="13668"/>
                    <a:pt x="23666" y="0"/>
                    <a:pt x="52860" y="0"/>
                  </a:cubicBezTo>
                  <a:cubicBezTo>
                    <a:pt x="82054" y="0"/>
                    <a:pt x="105720" y="13668"/>
                    <a:pt x="105720" y="3052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89E45718-EF9A-4871-97C7-C63CA7A11BFD}"/>
                </a:ext>
              </a:extLst>
            </p:cNvPr>
            <p:cNvSpPr/>
            <p:nvPr/>
          </p:nvSpPr>
          <p:spPr>
            <a:xfrm>
              <a:off x="7343266" y="3369227"/>
              <a:ext cx="469411" cy="581821"/>
            </a:xfrm>
            <a:custGeom>
              <a:avLst/>
              <a:gdLst>
                <a:gd name="connsiteX0" fmla="*/ 295455 w 295455"/>
                <a:gd name="connsiteY0" fmla="*/ 124928 h 366209"/>
                <a:gd name="connsiteX1" fmla="*/ 66837 w 295455"/>
                <a:gd name="connsiteY1" fmla="*/ 0 h 366209"/>
                <a:gd name="connsiteX2" fmla="*/ 0 w 295455"/>
                <a:gd name="connsiteY2" fmla="*/ 197386 h 366209"/>
                <a:gd name="connsiteX3" fmla="*/ 76284 w 295455"/>
                <a:gd name="connsiteY3" fmla="*/ 354484 h 366209"/>
                <a:gd name="connsiteX4" fmla="*/ 178491 w 295455"/>
                <a:gd name="connsiteY4" fmla="*/ 365493 h 366209"/>
                <a:gd name="connsiteX5" fmla="*/ 295455 w 295455"/>
                <a:gd name="connsiteY5" fmla="*/ 124928 h 36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455" h="366209">
                  <a:moveTo>
                    <a:pt x="295455" y="124928"/>
                  </a:moveTo>
                  <a:cubicBezTo>
                    <a:pt x="295455" y="124928"/>
                    <a:pt x="195591" y="31232"/>
                    <a:pt x="66837" y="0"/>
                  </a:cubicBezTo>
                  <a:cubicBezTo>
                    <a:pt x="66837" y="0"/>
                    <a:pt x="47160" y="128676"/>
                    <a:pt x="0" y="197386"/>
                  </a:cubicBezTo>
                  <a:cubicBezTo>
                    <a:pt x="0" y="197386"/>
                    <a:pt x="70272" y="298891"/>
                    <a:pt x="76284" y="354484"/>
                  </a:cubicBezTo>
                  <a:cubicBezTo>
                    <a:pt x="76284" y="354484"/>
                    <a:pt x="134454" y="369631"/>
                    <a:pt x="178491" y="365493"/>
                  </a:cubicBezTo>
                  <a:cubicBezTo>
                    <a:pt x="178491" y="365337"/>
                    <a:pt x="294987" y="229477"/>
                    <a:pt x="295455" y="124928"/>
                  </a:cubicBezTo>
                  <a:close/>
                </a:path>
              </a:pathLst>
            </a:custGeom>
            <a:solidFill>
              <a:schemeClr val="accent1">
                <a:lumMod val="10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6BC4A122-104F-4C0A-8BEA-F3E2BDFE49EB}"/>
                </a:ext>
              </a:extLst>
            </p:cNvPr>
            <p:cNvSpPr/>
            <p:nvPr/>
          </p:nvSpPr>
          <p:spPr>
            <a:xfrm>
              <a:off x="7476328" y="3384112"/>
              <a:ext cx="244302" cy="291644"/>
            </a:xfrm>
            <a:custGeom>
              <a:avLst/>
              <a:gdLst>
                <a:gd name="connsiteX0" fmla="*/ 153769 w 153768"/>
                <a:gd name="connsiteY0" fmla="*/ 70428 h 183566"/>
                <a:gd name="connsiteX1" fmla="*/ 9242 w 153768"/>
                <a:gd name="connsiteY1" fmla="*/ 183566 h 183566"/>
                <a:gd name="connsiteX2" fmla="*/ 18144 w 153768"/>
                <a:gd name="connsiteY2" fmla="*/ 0 h 183566"/>
                <a:gd name="connsiteX3" fmla="*/ 153769 w 153768"/>
                <a:gd name="connsiteY3" fmla="*/ 70428 h 18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768" h="183566">
                  <a:moveTo>
                    <a:pt x="153769" y="70428"/>
                  </a:moveTo>
                  <a:cubicBezTo>
                    <a:pt x="153769" y="70428"/>
                    <a:pt x="88025" y="161470"/>
                    <a:pt x="9242" y="183566"/>
                  </a:cubicBezTo>
                  <a:cubicBezTo>
                    <a:pt x="9242" y="183566"/>
                    <a:pt x="-16602" y="83311"/>
                    <a:pt x="18144" y="0"/>
                  </a:cubicBezTo>
                  <a:cubicBezTo>
                    <a:pt x="18144" y="0"/>
                    <a:pt x="130657" y="46614"/>
                    <a:pt x="153769" y="70428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78272C6A-94A3-47E1-8A3A-CA32B4F86757}"/>
                </a:ext>
              </a:extLst>
            </p:cNvPr>
            <p:cNvSpPr/>
            <p:nvPr/>
          </p:nvSpPr>
          <p:spPr>
            <a:xfrm>
              <a:off x="7555890" y="3356449"/>
              <a:ext cx="114126" cy="146627"/>
            </a:xfrm>
            <a:custGeom>
              <a:avLst/>
              <a:gdLst>
                <a:gd name="connsiteX0" fmla="*/ 71834 w 71833"/>
                <a:gd name="connsiteY0" fmla="*/ 39665 h 92290"/>
                <a:gd name="connsiteX1" fmla="*/ 0 w 71833"/>
                <a:gd name="connsiteY1" fmla="*/ 0 h 92290"/>
                <a:gd name="connsiteX2" fmla="*/ 55359 w 71833"/>
                <a:gd name="connsiteY2" fmla="*/ 92291 h 9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833" h="92290">
                  <a:moveTo>
                    <a:pt x="71834" y="39665"/>
                  </a:moveTo>
                  <a:cubicBezTo>
                    <a:pt x="71834" y="39665"/>
                    <a:pt x="52626" y="10228"/>
                    <a:pt x="0" y="0"/>
                  </a:cubicBezTo>
                  <a:lnTo>
                    <a:pt x="55359" y="92291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818EC779-710D-4224-AFEA-991F6325A7AD}"/>
                </a:ext>
              </a:extLst>
            </p:cNvPr>
            <p:cNvSpPr/>
            <p:nvPr/>
          </p:nvSpPr>
          <p:spPr>
            <a:xfrm>
              <a:off x="7492899" y="3433609"/>
              <a:ext cx="194363" cy="154690"/>
            </a:xfrm>
            <a:custGeom>
              <a:avLst/>
              <a:gdLst>
                <a:gd name="connsiteX0" fmla="*/ 122335 w 122335"/>
                <a:gd name="connsiteY0" fmla="*/ 27094 h 97365"/>
                <a:gd name="connsiteX1" fmla="*/ 62838 w 122335"/>
                <a:gd name="connsiteY1" fmla="*/ 97366 h 97365"/>
                <a:gd name="connsiteX2" fmla="*/ 53078 w 122335"/>
                <a:gd name="connsiteY2" fmla="*/ 66134 h 97365"/>
                <a:gd name="connsiteX3" fmla="*/ 27702 w 122335"/>
                <a:gd name="connsiteY3" fmla="*/ 78549 h 97365"/>
                <a:gd name="connsiteX4" fmla="*/ 15287 w 122335"/>
                <a:gd name="connsiteY4" fmla="*/ 50518 h 97365"/>
                <a:gd name="connsiteX5" fmla="*/ 1623 w 122335"/>
                <a:gd name="connsiteY5" fmla="*/ 68086 h 97365"/>
                <a:gd name="connsiteX6" fmla="*/ 12086 w 122335"/>
                <a:gd name="connsiteY6" fmla="*/ 0 h 9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35" h="97365">
                  <a:moveTo>
                    <a:pt x="122335" y="27094"/>
                  </a:moveTo>
                  <a:cubicBezTo>
                    <a:pt x="122335" y="27094"/>
                    <a:pt x="118275" y="67149"/>
                    <a:pt x="62838" y="97366"/>
                  </a:cubicBezTo>
                  <a:lnTo>
                    <a:pt x="53078" y="66134"/>
                  </a:lnTo>
                  <a:lnTo>
                    <a:pt x="27702" y="78549"/>
                  </a:lnTo>
                  <a:lnTo>
                    <a:pt x="15287" y="50518"/>
                  </a:lnTo>
                  <a:lnTo>
                    <a:pt x="1623" y="68086"/>
                  </a:lnTo>
                  <a:cubicBezTo>
                    <a:pt x="-2462" y="44858"/>
                    <a:pt x="1214" y="20930"/>
                    <a:pt x="12086" y="0"/>
                  </a:cubicBezTo>
                  <a:close/>
                </a:path>
              </a:pathLst>
            </a:custGeom>
            <a:solidFill>
              <a:srgbClr val="9CA1AF">
                <a:alpha val="40000"/>
              </a:srgb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10CFE1C5-7156-454B-B687-B76AFCB2793C}"/>
                </a:ext>
              </a:extLst>
            </p:cNvPr>
            <p:cNvSpPr/>
            <p:nvPr/>
          </p:nvSpPr>
          <p:spPr>
            <a:xfrm>
              <a:off x="7542095" y="3302983"/>
              <a:ext cx="158687" cy="217461"/>
            </a:xfrm>
            <a:custGeom>
              <a:avLst/>
              <a:gdLst>
                <a:gd name="connsiteX0" fmla="*/ 99880 w 99880"/>
                <a:gd name="connsiteY0" fmla="*/ 8745 h 136874"/>
                <a:gd name="connsiteX1" fmla="*/ 67477 w 99880"/>
                <a:gd name="connsiteY1" fmla="*/ 104081 h 136874"/>
                <a:gd name="connsiteX2" fmla="*/ 2202 w 99880"/>
                <a:gd name="connsiteY2" fmla="*/ 136874 h 136874"/>
                <a:gd name="connsiteX3" fmla="*/ 16 w 99880"/>
                <a:gd name="connsiteY3" fmla="*/ 97834 h 136874"/>
                <a:gd name="connsiteX4" fmla="*/ 797 w 99880"/>
                <a:gd name="connsiteY4" fmla="*/ 0 h 13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80" h="136874">
                  <a:moveTo>
                    <a:pt x="99880" y="8745"/>
                  </a:moveTo>
                  <a:cubicBezTo>
                    <a:pt x="86652" y="39646"/>
                    <a:pt x="75819" y="71519"/>
                    <a:pt x="67477" y="104081"/>
                  </a:cubicBezTo>
                  <a:lnTo>
                    <a:pt x="2202" y="136874"/>
                  </a:lnTo>
                  <a:cubicBezTo>
                    <a:pt x="2202" y="136874"/>
                    <a:pt x="-218" y="107516"/>
                    <a:pt x="16" y="97834"/>
                  </a:cubicBezTo>
                  <a:lnTo>
                    <a:pt x="797" y="0"/>
                  </a:ln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936535A9-E6E8-4CDA-A3D0-376729BA960F}"/>
                </a:ext>
              </a:extLst>
            </p:cNvPr>
            <p:cNvSpPr/>
            <p:nvPr/>
          </p:nvSpPr>
          <p:spPr>
            <a:xfrm>
              <a:off x="7497212" y="3404580"/>
              <a:ext cx="52102" cy="121693"/>
            </a:xfrm>
            <a:custGeom>
              <a:avLst/>
              <a:gdLst>
                <a:gd name="connsiteX0" fmla="*/ 28500 w 32794"/>
                <a:gd name="connsiteY0" fmla="*/ 38572 h 76596"/>
                <a:gd name="connsiteX1" fmla="*/ 1 w 32794"/>
                <a:gd name="connsiteY1" fmla="*/ 76597 h 76596"/>
                <a:gd name="connsiteX2" fmla="*/ 32795 w 32794"/>
                <a:gd name="connsiteY2" fmla="*/ 0 h 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94" h="76596">
                  <a:moveTo>
                    <a:pt x="28500" y="38572"/>
                  </a:moveTo>
                  <a:lnTo>
                    <a:pt x="1" y="76597"/>
                  </a:lnTo>
                  <a:cubicBezTo>
                    <a:pt x="1" y="76597"/>
                    <a:pt x="-702" y="6324"/>
                    <a:pt x="32795" y="0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642ABE17-65CA-4FDB-8194-1FA27290EC29}"/>
                </a:ext>
              </a:extLst>
            </p:cNvPr>
            <p:cNvSpPr/>
            <p:nvPr/>
          </p:nvSpPr>
          <p:spPr>
            <a:xfrm>
              <a:off x="7564575" y="3419095"/>
              <a:ext cx="122687" cy="144395"/>
            </a:xfrm>
            <a:custGeom>
              <a:avLst/>
              <a:gdLst>
                <a:gd name="connsiteX0" fmla="*/ 77221 w 77221"/>
                <a:gd name="connsiteY0" fmla="*/ 36229 h 90885"/>
                <a:gd name="connsiteX1" fmla="*/ 66368 w 77221"/>
                <a:gd name="connsiteY1" fmla="*/ 0 h 90885"/>
                <a:gd name="connsiteX2" fmla="*/ 0 w 77221"/>
                <a:gd name="connsiteY2" fmla="*/ 36229 h 90885"/>
                <a:gd name="connsiteX3" fmla="*/ 21862 w 77221"/>
                <a:gd name="connsiteY3" fmla="*/ 90885 h 90885"/>
                <a:gd name="connsiteX4" fmla="*/ 77221 w 77221"/>
                <a:gd name="connsiteY4" fmla="*/ 36229 h 9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21" h="90885">
                  <a:moveTo>
                    <a:pt x="77221" y="36229"/>
                  </a:moveTo>
                  <a:lnTo>
                    <a:pt x="66368" y="0"/>
                  </a:lnTo>
                  <a:cubicBezTo>
                    <a:pt x="66368" y="0"/>
                    <a:pt x="49893" y="27328"/>
                    <a:pt x="0" y="36229"/>
                  </a:cubicBezTo>
                  <a:lnTo>
                    <a:pt x="21862" y="90885"/>
                  </a:lnTo>
                  <a:cubicBezTo>
                    <a:pt x="21862" y="90885"/>
                    <a:pt x="64260" y="69960"/>
                    <a:pt x="77221" y="36229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6DA04B8A-80C2-43A1-96FF-1BF0EBB53176}"/>
                </a:ext>
              </a:extLst>
            </p:cNvPr>
            <p:cNvSpPr/>
            <p:nvPr/>
          </p:nvSpPr>
          <p:spPr>
            <a:xfrm>
              <a:off x="7545595" y="3477027"/>
              <a:ext cx="39943" cy="51729"/>
            </a:xfrm>
            <a:custGeom>
              <a:avLst/>
              <a:gdLst>
                <a:gd name="connsiteX0" fmla="*/ 11946 w 25141"/>
                <a:gd name="connsiteY0" fmla="*/ 0 h 32559"/>
                <a:gd name="connsiteX1" fmla="*/ 0 w 25141"/>
                <a:gd name="connsiteY1" fmla="*/ 27328 h 32559"/>
                <a:gd name="connsiteX2" fmla="*/ 25142 w 25141"/>
                <a:gd name="connsiteY2" fmla="*/ 32559 h 32559"/>
                <a:gd name="connsiteX3" fmla="*/ 11946 w 25141"/>
                <a:gd name="connsiteY3" fmla="*/ 0 h 3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1" h="32559">
                  <a:moveTo>
                    <a:pt x="11946" y="0"/>
                  </a:moveTo>
                  <a:lnTo>
                    <a:pt x="0" y="27328"/>
                  </a:lnTo>
                  <a:lnTo>
                    <a:pt x="25142" y="32559"/>
                  </a:lnTo>
                  <a:lnTo>
                    <a:pt x="11946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C4A106B4-CFCF-4AE7-BB64-7CC91C28178F}"/>
                </a:ext>
              </a:extLst>
            </p:cNvPr>
            <p:cNvSpPr/>
            <p:nvPr/>
          </p:nvSpPr>
          <p:spPr>
            <a:xfrm>
              <a:off x="7518179" y="3465862"/>
              <a:ext cx="27414" cy="54582"/>
            </a:xfrm>
            <a:custGeom>
              <a:avLst/>
              <a:gdLst>
                <a:gd name="connsiteX0" fmla="*/ 15304 w 17255"/>
                <a:gd name="connsiteY0" fmla="*/ 0 h 34355"/>
                <a:gd name="connsiteX1" fmla="*/ 17256 w 17255"/>
                <a:gd name="connsiteY1" fmla="*/ 34355 h 34355"/>
                <a:gd name="connsiteX2" fmla="*/ 0 w 17255"/>
                <a:gd name="connsiteY2" fmla="*/ 20223 h 34355"/>
                <a:gd name="connsiteX3" fmla="*/ 15304 w 17255"/>
                <a:gd name="connsiteY3" fmla="*/ 0 h 3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4355">
                  <a:moveTo>
                    <a:pt x="15304" y="0"/>
                  </a:moveTo>
                  <a:lnTo>
                    <a:pt x="17256" y="34355"/>
                  </a:lnTo>
                  <a:lnTo>
                    <a:pt x="0" y="20223"/>
                  </a:lnTo>
                  <a:lnTo>
                    <a:pt x="15304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8D424CDB-DA92-402E-B829-22D4A0D03061}"/>
                </a:ext>
              </a:extLst>
            </p:cNvPr>
            <p:cNvSpPr/>
            <p:nvPr/>
          </p:nvSpPr>
          <p:spPr>
            <a:xfrm>
              <a:off x="7540012" y="3517537"/>
              <a:ext cx="45526" cy="27718"/>
            </a:xfrm>
            <a:custGeom>
              <a:avLst/>
              <a:gdLst>
                <a:gd name="connsiteX0" fmla="*/ 3514 w 28655"/>
                <a:gd name="connsiteY0" fmla="*/ 1830 h 17446"/>
                <a:gd name="connsiteX1" fmla="*/ 0 w 28655"/>
                <a:gd name="connsiteY1" fmla="*/ 17446 h 17446"/>
                <a:gd name="connsiteX2" fmla="*/ 28655 w 28655"/>
                <a:gd name="connsiteY2" fmla="*/ 7062 h 17446"/>
                <a:gd name="connsiteX3" fmla="*/ 3514 w 28655"/>
                <a:gd name="connsiteY3" fmla="*/ 1830 h 1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55" h="17446">
                  <a:moveTo>
                    <a:pt x="3514" y="1830"/>
                  </a:moveTo>
                  <a:lnTo>
                    <a:pt x="0" y="17446"/>
                  </a:lnTo>
                  <a:lnTo>
                    <a:pt x="28655" y="7062"/>
                  </a:lnTo>
                  <a:cubicBezTo>
                    <a:pt x="28655" y="7062"/>
                    <a:pt x="23892" y="-4338"/>
                    <a:pt x="3514" y="1830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C3D87F07-AC45-48F1-92EB-57E0E962BF35}"/>
                </a:ext>
              </a:extLst>
            </p:cNvPr>
            <p:cNvSpPr/>
            <p:nvPr/>
          </p:nvSpPr>
          <p:spPr>
            <a:xfrm>
              <a:off x="7518551" y="3497523"/>
              <a:ext cx="27414" cy="48227"/>
            </a:xfrm>
            <a:custGeom>
              <a:avLst/>
              <a:gdLst>
                <a:gd name="connsiteX0" fmla="*/ 0 w 17255"/>
                <a:gd name="connsiteY0" fmla="*/ 295 h 30355"/>
                <a:gd name="connsiteX1" fmla="*/ 13742 w 17255"/>
                <a:gd name="connsiteY1" fmla="*/ 30355 h 30355"/>
                <a:gd name="connsiteX2" fmla="*/ 17256 w 17255"/>
                <a:gd name="connsiteY2" fmla="*/ 14739 h 30355"/>
                <a:gd name="connsiteX3" fmla="*/ 0 w 17255"/>
                <a:gd name="connsiteY3" fmla="*/ 295 h 3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0355">
                  <a:moveTo>
                    <a:pt x="0" y="295"/>
                  </a:moveTo>
                  <a:lnTo>
                    <a:pt x="13742" y="30355"/>
                  </a:lnTo>
                  <a:lnTo>
                    <a:pt x="17256" y="14739"/>
                  </a:lnTo>
                  <a:cubicBezTo>
                    <a:pt x="17256" y="14739"/>
                    <a:pt x="8901" y="-2438"/>
                    <a:pt x="0" y="295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F00A12D8-D197-4460-9B00-44558D7F2CC0}"/>
                </a:ext>
              </a:extLst>
            </p:cNvPr>
            <p:cNvSpPr/>
            <p:nvPr/>
          </p:nvSpPr>
          <p:spPr>
            <a:xfrm>
              <a:off x="7393756" y="3761972"/>
              <a:ext cx="233836" cy="112046"/>
            </a:xfrm>
            <a:custGeom>
              <a:avLst/>
              <a:gdLst>
                <a:gd name="connsiteX0" fmla="*/ 31701 w 147180"/>
                <a:gd name="connsiteY0" fmla="*/ 62464 h 70524"/>
                <a:gd name="connsiteX1" fmla="*/ 0 w 147180"/>
                <a:gd name="connsiteY1" fmla="*/ 0 h 70524"/>
                <a:gd name="connsiteX2" fmla="*/ 147181 w 147180"/>
                <a:gd name="connsiteY2" fmla="*/ 46301 h 70524"/>
                <a:gd name="connsiteX3" fmla="*/ 31701 w 147180"/>
                <a:gd name="connsiteY3" fmla="*/ 62464 h 70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80" h="70524">
                  <a:moveTo>
                    <a:pt x="31701" y="62464"/>
                  </a:moveTo>
                  <a:cubicBezTo>
                    <a:pt x="23276" y="40623"/>
                    <a:pt x="12654" y="19694"/>
                    <a:pt x="0" y="0"/>
                  </a:cubicBezTo>
                  <a:cubicBezTo>
                    <a:pt x="24361" y="20457"/>
                    <a:pt x="73786" y="39040"/>
                    <a:pt x="147181" y="46301"/>
                  </a:cubicBezTo>
                  <a:cubicBezTo>
                    <a:pt x="146791" y="46380"/>
                    <a:pt x="111733" y="87450"/>
                    <a:pt x="31701" y="6246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DA6755-45CE-4F4C-B193-78E8646726FF}"/>
                </a:ext>
              </a:extLst>
            </p:cNvPr>
            <p:cNvSpPr/>
            <p:nvPr/>
          </p:nvSpPr>
          <p:spPr>
            <a:xfrm>
              <a:off x="7410489" y="3105369"/>
              <a:ext cx="28544" cy="124051"/>
            </a:xfrm>
            <a:custGeom>
              <a:avLst/>
              <a:gdLst>
                <a:gd name="connsiteX0" fmla="*/ 398 w 17966"/>
                <a:gd name="connsiteY0" fmla="*/ 0 h 78080"/>
                <a:gd name="connsiteX1" fmla="*/ 13126 w 17966"/>
                <a:gd name="connsiteY1" fmla="*/ 78080 h 78080"/>
                <a:gd name="connsiteX2" fmla="*/ 17967 w 17966"/>
                <a:gd name="connsiteY2" fmla="*/ 8745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6" h="78080">
                  <a:moveTo>
                    <a:pt x="398" y="0"/>
                  </a:moveTo>
                  <a:cubicBezTo>
                    <a:pt x="398" y="0"/>
                    <a:pt x="-3506" y="55671"/>
                    <a:pt x="13126" y="78080"/>
                  </a:cubicBezTo>
                  <a:lnTo>
                    <a:pt x="17967" y="8745"/>
                  </a:ln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E6AC8366-EDA1-4220-9D9B-3DAE221A4E27}"/>
                </a:ext>
              </a:extLst>
            </p:cNvPr>
            <p:cNvSpPr/>
            <p:nvPr/>
          </p:nvSpPr>
          <p:spPr>
            <a:xfrm>
              <a:off x="7681183" y="3232603"/>
              <a:ext cx="69591" cy="89405"/>
            </a:xfrm>
            <a:custGeom>
              <a:avLst/>
              <a:gdLst>
                <a:gd name="connsiteX0" fmla="*/ 0 w 43802"/>
                <a:gd name="connsiteY0" fmla="*/ 40786 h 56273"/>
                <a:gd name="connsiteX1" fmla="*/ 21862 w 43802"/>
                <a:gd name="connsiteY1" fmla="*/ 53278 h 56273"/>
                <a:gd name="connsiteX2" fmla="*/ 43803 w 43802"/>
                <a:gd name="connsiteY2" fmla="*/ 15488 h 56273"/>
                <a:gd name="connsiteX3" fmla="*/ 21862 w 43802"/>
                <a:gd name="connsiteY3" fmla="*/ 2995 h 56273"/>
                <a:gd name="connsiteX4" fmla="*/ 0 w 43802"/>
                <a:gd name="connsiteY4" fmla="*/ 40786 h 5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273">
                  <a:moveTo>
                    <a:pt x="0" y="40786"/>
                  </a:moveTo>
                  <a:cubicBezTo>
                    <a:pt x="0" y="54684"/>
                    <a:pt x="9838" y="60228"/>
                    <a:pt x="21862" y="53278"/>
                  </a:cubicBezTo>
                  <a:cubicBezTo>
                    <a:pt x="34778" y="44896"/>
                    <a:pt x="42927" y="30860"/>
                    <a:pt x="43803" y="15488"/>
                  </a:cubicBezTo>
                  <a:cubicBezTo>
                    <a:pt x="43803" y="1589"/>
                    <a:pt x="33965" y="-3954"/>
                    <a:pt x="21862" y="2995"/>
                  </a:cubicBezTo>
                  <a:cubicBezTo>
                    <a:pt x="8977" y="11395"/>
                    <a:pt x="859" y="25427"/>
                    <a:pt x="0" y="40786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1528B089-9727-4BE4-8EA3-9DA00B6A4479}"/>
                </a:ext>
              </a:extLst>
            </p:cNvPr>
            <p:cNvSpPr/>
            <p:nvPr/>
          </p:nvSpPr>
          <p:spPr>
            <a:xfrm>
              <a:off x="7422489" y="3083376"/>
              <a:ext cx="275813" cy="354308"/>
            </a:xfrm>
            <a:custGeom>
              <a:avLst/>
              <a:gdLst>
                <a:gd name="connsiteX0" fmla="*/ 2606 w 173601"/>
                <a:gd name="connsiteY0" fmla="*/ 2131 h 223008"/>
                <a:gd name="connsiteX1" fmla="*/ 29153 w 173601"/>
                <a:gd name="connsiteY1" fmla="*/ 491 h 223008"/>
                <a:gd name="connsiteX2" fmla="*/ 29153 w 173601"/>
                <a:gd name="connsiteY2" fmla="*/ 491 h 223008"/>
                <a:gd name="connsiteX3" fmla="*/ 166496 w 173601"/>
                <a:gd name="connsiteY3" fmla="*/ 13296 h 223008"/>
                <a:gd name="connsiteX4" fmla="*/ 173601 w 173601"/>
                <a:gd name="connsiteY4" fmla="*/ 119485 h 223008"/>
                <a:gd name="connsiteX5" fmla="*/ 171024 w 173601"/>
                <a:gd name="connsiteY5" fmla="*/ 146189 h 223008"/>
                <a:gd name="connsiteX6" fmla="*/ 56403 w 173601"/>
                <a:gd name="connsiteY6" fmla="*/ 220989 h 223008"/>
                <a:gd name="connsiteX7" fmla="*/ 654 w 173601"/>
                <a:gd name="connsiteY7" fmla="*/ 86145 h 223008"/>
                <a:gd name="connsiteX8" fmla="*/ 2606 w 173601"/>
                <a:gd name="connsiteY8" fmla="*/ 2131 h 22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01" h="223008">
                  <a:moveTo>
                    <a:pt x="2606" y="2131"/>
                  </a:moveTo>
                  <a:cubicBezTo>
                    <a:pt x="11291" y="34"/>
                    <a:pt x="20276" y="-521"/>
                    <a:pt x="29153" y="491"/>
                  </a:cubicBezTo>
                  <a:lnTo>
                    <a:pt x="29153" y="491"/>
                  </a:lnTo>
                  <a:lnTo>
                    <a:pt x="166496" y="13296"/>
                  </a:lnTo>
                  <a:lnTo>
                    <a:pt x="173601" y="119485"/>
                  </a:lnTo>
                  <a:lnTo>
                    <a:pt x="171024" y="146189"/>
                  </a:lnTo>
                  <a:cubicBezTo>
                    <a:pt x="148615" y="191007"/>
                    <a:pt x="83887" y="232779"/>
                    <a:pt x="56403" y="220989"/>
                  </a:cubicBezTo>
                  <a:cubicBezTo>
                    <a:pt x="14005" y="202875"/>
                    <a:pt x="5807" y="157198"/>
                    <a:pt x="654" y="86145"/>
                  </a:cubicBezTo>
                  <a:cubicBezTo>
                    <a:pt x="-653" y="58129"/>
                    <a:pt x="-1" y="30056"/>
                    <a:pt x="2606" y="21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9ADEE361-318A-4913-8F20-1E4B437E4CE6}"/>
                </a:ext>
              </a:extLst>
            </p:cNvPr>
            <p:cNvSpPr/>
            <p:nvPr/>
          </p:nvSpPr>
          <p:spPr>
            <a:xfrm>
              <a:off x="7386667" y="2917472"/>
              <a:ext cx="422827" cy="352155"/>
            </a:xfrm>
            <a:custGeom>
              <a:avLst/>
              <a:gdLst>
                <a:gd name="connsiteX0" fmla="*/ 195367 w 266134"/>
                <a:gd name="connsiteY0" fmla="*/ 212274 h 221653"/>
                <a:gd name="connsiteX1" fmla="*/ 178580 w 266134"/>
                <a:gd name="connsiteY1" fmla="*/ 210479 h 221653"/>
                <a:gd name="connsiteX2" fmla="*/ 129858 w 266134"/>
                <a:gd name="connsiteY2" fmla="*/ 138879 h 221653"/>
                <a:gd name="connsiteX3" fmla="*/ 4305 w 266134"/>
                <a:gd name="connsiteY3" fmla="*/ 117017 h 221653"/>
                <a:gd name="connsiteX4" fmla="*/ 233002 w 266134"/>
                <a:gd name="connsiteY4" fmla="*/ 25897 h 221653"/>
                <a:gd name="connsiteX5" fmla="*/ 222461 w 266134"/>
                <a:gd name="connsiteY5" fmla="*/ 199625 h 221653"/>
                <a:gd name="connsiteX6" fmla="*/ 195367 w 266134"/>
                <a:gd name="connsiteY6" fmla="*/ 212274 h 2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134" h="221653">
                  <a:moveTo>
                    <a:pt x="195367" y="212274"/>
                  </a:moveTo>
                  <a:cubicBezTo>
                    <a:pt x="195367" y="212274"/>
                    <a:pt x="179751" y="234527"/>
                    <a:pt x="178580" y="210479"/>
                  </a:cubicBezTo>
                  <a:cubicBezTo>
                    <a:pt x="177559" y="179196"/>
                    <a:pt x="158583" y="151309"/>
                    <a:pt x="129858" y="138879"/>
                  </a:cubicBezTo>
                  <a:cubicBezTo>
                    <a:pt x="75202" y="147077"/>
                    <a:pt x="29213" y="139426"/>
                    <a:pt x="4305" y="117017"/>
                  </a:cubicBezTo>
                  <a:cubicBezTo>
                    <a:pt x="-27864" y="88205"/>
                    <a:pt x="127360" y="-58585"/>
                    <a:pt x="233002" y="25897"/>
                  </a:cubicBezTo>
                  <a:cubicBezTo>
                    <a:pt x="313268" y="90001"/>
                    <a:pt x="222461" y="199625"/>
                    <a:pt x="222461" y="199625"/>
                  </a:cubicBezTo>
                  <a:cubicBezTo>
                    <a:pt x="222461" y="199625"/>
                    <a:pt x="209890" y="192832"/>
                    <a:pt x="195367" y="212274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8AD3227A-80BA-47B3-9890-1636D3E838D1}"/>
                </a:ext>
              </a:extLst>
            </p:cNvPr>
            <p:cNvSpPr/>
            <p:nvPr/>
          </p:nvSpPr>
          <p:spPr>
            <a:xfrm>
              <a:off x="7699295" y="3255916"/>
              <a:ext cx="33369" cy="42776"/>
            </a:xfrm>
            <a:custGeom>
              <a:avLst/>
              <a:gdLst>
                <a:gd name="connsiteX0" fmla="*/ 0 w 21003"/>
                <a:gd name="connsiteY0" fmla="*/ 19474 h 26924"/>
                <a:gd name="connsiteX1" fmla="*/ 10463 w 21003"/>
                <a:gd name="connsiteY1" fmla="*/ 25486 h 26924"/>
                <a:gd name="connsiteX2" fmla="*/ 21004 w 21003"/>
                <a:gd name="connsiteY2" fmla="*/ 7450 h 26924"/>
                <a:gd name="connsiteX3" fmla="*/ 10463 w 21003"/>
                <a:gd name="connsiteY3" fmla="*/ 1438 h 26924"/>
                <a:gd name="connsiteX4" fmla="*/ 0 w 21003"/>
                <a:gd name="connsiteY4" fmla="*/ 19474 h 2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03" h="26924">
                  <a:moveTo>
                    <a:pt x="0" y="19474"/>
                  </a:moveTo>
                  <a:cubicBezTo>
                    <a:pt x="0" y="26111"/>
                    <a:pt x="4685" y="28844"/>
                    <a:pt x="10463" y="25486"/>
                  </a:cubicBezTo>
                  <a:cubicBezTo>
                    <a:pt x="16667" y="21514"/>
                    <a:pt x="20587" y="14805"/>
                    <a:pt x="21004" y="7450"/>
                  </a:cubicBezTo>
                  <a:cubicBezTo>
                    <a:pt x="21004" y="813"/>
                    <a:pt x="16319" y="-1920"/>
                    <a:pt x="10463" y="1438"/>
                  </a:cubicBezTo>
                  <a:cubicBezTo>
                    <a:pt x="4344" y="5481"/>
                    <a:pt x="472" y="12156"/>
                    <a:pt x="0" y="19474"/>
                  </a:cubicBez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77A87D4C-15DD-49BB-A378-7DDE4C171841}"/>
                </a:ext>
              </a:extLst>
            </p:cNvPr>
            <p:cNvSpPr/>
            <p:nvPr/>
          </p:nvSpPr>
          <p:spPr>
            <a:xfrm>
              <a:off x="7610349" y="3678114"/>
              <a:ext cx="33741" cy="29648"/>
            </a:xfrm>
            <a:custGeom>
              <a:avLst/>
              <a:gdLst>
                <a:gd name="connsiteX0" fmla="*/ 0 w 21237"/>
                <a:gd name="connsiteY0" fmla="*/ 10541 h 18661"/>
                <a:gd name="connsiteX1" fmla="*/ 17724 w 21237"/>
                <a:gd name="connsiteY1" fmla="*/ 18661 h 18661"/>
                <a:gd name="connsiteX2" fmla="*/ 21238 w 21237"/>
                <a:gd name="connsiteY2" fmla="*/ 8120 h 18661"/>
                <a:gd name="connsiteX3" fmla="*/ 3514 w 21237"/>
                <a:gd name="connsiteY3" fmla="*/ 0 h 18661"/>
                <a:gd name="connsiteX4" fmla="*/ 0 w 21237"/>
                <a:gd name="connsiteY4" fmla="*/ 10541 h 1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37" h="18661">
                  <a:moveTo>
                    <a:pt x="0" y="10541"/>
                  </a:moveTo>
                  <a:lnTo>
                    <a:pt x="17724" y="18661"/>
                  </a:lnTo>
                  <a:lnTo>
                    <a:pt x="21238" y="8120"/>
                  </a:lnTo>
                  <a:lnTo>
                    <a:pt x="3514" y="0"/>
                  </a:lnTo>
                  <a:lnTo>
                    <a:pt x="0" y="10541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92F3B5A9-6C5E-4544-86D1-5D3DDDB2159D}"/>
                </a:ext>
              </a:extLst>
            </p:cNvPr>
            <p:cNvSpPr/>
            <p:nvPr/>
          </p:nvSpPr>
          <p:spPr>
            <a:xfrm>
              <a:off x="7579461" y="3675260"/>
              <a:ext cx="87084" cy="70336"/>
            </a:xfrm>
            <a:custGeom>
              <a:avLst/>
              <a:gdLst>
                <a:gd name="connsiteX0" fmla="*/ 0 w 54812"/>
                <a:gd name="connsiteY0" fmla="*/ 22253 h 44271"/>
                <a:gd name="connsiteX1" fmla="*/ 48175 w 54812"/>
                <a:gd name="connsiteY1" fmla="*/ 44271 h 44271"/>
                <a:gd name="connsiteX2" fmla="*/ 54812 w 54812"/>
                <a:gd name="connsiteY2" fmla="*/ 22019 h 44271"/>
                <a:gd name="connsiteX3" fmla="*/ 6637 w 54812"/>
                <a:gd name="connsiteY3" fmla="*/ 0 h 44271"/>
                <a:gd name="connsiteX4" fmla="*/ 0 w 54812"/>
                <a:gd name="connsiteY4" fmla="*/ 22253 h 44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2" h="44271">
                  <a:moveTo>
                    <a:pt x="0" y="22253"/>
                  </a:moveTo>
                  <a:lnTo>
                    <a:pt x="48175" y="44271"/>
                  </a:lnTo>
                  <a:lnTo>
                    <a:pt x="54812" y="22019"/>
                  </a:lnTo>
                  <a:lnTo>
                    <a:pt x="6637" y="0"/>
                  </a:lnTo>
                  <a:lnTo>
                    <a:pt x="0" y="22253"/>
                  </a:lnTo>
                  <a:close/>
                </a:path>
              </a:pathLst>
            </a:custGeom>
            <a:solidFill>
              <a:srgbClr val="FFF3D7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B7E14616-686B-49F7-8C62-4D291D4BA687}"/>
                </a:ext>
              </a:extLst>
            </p:cNvPr>
            <p:cNvSpPr/>
            <p:nvPr/>
          </p:nvSpPr>
          <p:spPr>
            <a:xfrm>
              <a:off x="7592982" y="3136975"/>
              <a:ext cx="84257" cy="210418"/>
            </a:xfrm>
            <a:custGeom>
              <a:avLst/>
              <a:gdLst>
                <a:gd name="connsiteX0" fmla="*/ 0 w 53033"/>
                <a:gd name="connsiteY0" fmla="*/ 720 h 132441"/>
                <a:gd name="connsiteX1" fmla="*/ 31232 w 53033"/>
                <a:gd name="connsiteY1" fmla="*/ 132441 h 132441"/>
                <a:gd name="connsiteX2" fmla="*/ 52392 w 53033"/>
                <a:gd name="connsiteY2" fmla="*/ 68806 h 132441"/>
                <a:gd name="connsiteX3" fmla="*/ 0 w 53033"/>
                <a:gd name="connsiteY3" fmla="*/ 720 h 13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33" h="132441">
                  <a:moveTo>
                    <a:pt x="0" y="720"/>
                  </a:moveTo>
                  <a:cubicBezTo>
                    <a:pt x="0" y="720"/>
                    <a:pt x="66993" y="37184"/>
                    <a:pt x="31232" y="132441"/>
                  </a:cubicBezTo>
                  <a:cubicBezTo>
                    <a:pt x="47628" y="115571"/>
                    <a:pt x="55421" y="92136"/>
                    <a:pt x="52392" y="68806"/>
                  </a:cubicBezTo>
                  <a:cubicBezTo>
                    <a:pt x="48410" y="27111"/>
                    <a:pt x="22877" y="-5292"/>
                    <a:pt x="0" y="720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2B364F58-4FAA-4A79-8EF9-DF44F6573E8A}"/>
                </a:ext>
              </a:extLst>
            </p:cNvPr>
            <p:cNvSpPr/>
            <p:nvPr/>
          </p:nvSpPr>
          <p:spPr>
            <a:xfrm>
              <a:off x="7397464" y="2921465"/>
              <a:ext cx="356821" cy="197103"/>
            </a:xfrm>
            <a:custGeom>
              <a:avLst/>
              <a:gdLst>
                <a:gd name="connsiteX0" fmla="*/ 320 w 224589"/>
                <a:gd name="connsiteY0" fmla="*/ 94671 h 124060"/>
                <a:gd name="connsiteX1" fmla="*/ 111428 w 224589"/>
                <a:gd name="connsiteY1" fmla="*/ 5894 h 124060"/>
                <a:gd name="connsiteX2" fmla="*/ 224566 w 224589"/>
                <a:gd name="connsiteY2" fmla="*/ 42045 h 124060"/>
                <a:gd name="connsiteX3" fmla="*/ 320 w 224589"/>
                <a:gd name="connsiteY3" fmla="*/ 94671 h 12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89" h="124060">
                  <a:moveTo>
                    <a:pt x="320" y="94671"/>
                  </a:moveTo>
                  <a:cubicBezTo>
                    <a:pt x="23561" y="51050"/>
                    <a:pt x="63753" y="18936"/>
                    <a:pt x="111428" y="5894"/>
                  </a:cubicBezTo>
                  <a:cubicBezTo>
                    <a:pt x="193959" y="-16671"/>
                    <a:pt x="225581" y="32129"/>
                    <a:pt x="224566" y="42045"/>
                  </a:cubicBezTo>
                  <a:cubicBezTo>
                    <a:pt x="217617" y="116456"/>
                    <a:pt x="-9674" y="154247"/>
                    <a:pt x="320" y="94671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9F05B0EE-46D8-43D9-B844-927B670967A0}"/>
                </a:ext>
              </a:extLst>
            </p:cNvPr>
            <p:cNvSpPr/>
            <p:nvPr/>
          </p:nvSpPr>
          <p:spPr>
            <a:xfrm>
              <a:off x="7741844" y="2884929"/>
              <a:ext cx="145733" cy="116592"/>
            </a:xfrm>
            <a:custGeom>
              <a:avLst/>
              <a:gdLst>
                <a:gd name="connsiteX0" fmla="*/ 0 w 91727"/>
                <a:gd name="connsiteY0" fmla="*/ 35762 h 73385"/>
                <a:gd name="connsiteX1" fmla="*/ 42554 w 91727"/>
                <a:gd name="connsiteY1" fmla="*/ 79 h 73385"/>
                <a:gd name="connsiteX2" fmla="*/ 88699 w 91727"/>
                <a:gd name="connsiteY2" fmla="*/ 67072 h 73385"/>
                <a:gd name="connsiteX3" fmla="*/ 26235 w 91727"/>
                <a:gd name="connsiteY3" fmla="*/ 69024 h 73385"/>
                <a:gd name="connsiteX4" fmla="*/ 0 w 91727"/>
                <a:gd name="connsiteY4" fmla="*/ 35762 h 7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27" h="73385">
                  <a:moveTo>
                    <a:pt x="0" y="35762"/>
                  </a:moveTo>
                  <a:cubicBezTo>
                    <a:pt x="0" y="35762"/>
                    <a:pt x="11790" y="-1951"/>
                    <a:pt x="42554" y="79"/>
                  </a:cubicBezTo>
                  <a:cubicBezTo>
                    <a:pt x="73317" y="2109"/>
                    <a:pt x="101114" y="54111"/>
                    <a:pt x="88699" y="67072"/>
                  </a:cubicBezTo>
                  <a:cubicBezTo>
                    <a:pt x="76284" y="80033"/>
                    <a:pt x="26235" y="69024"/>
                    <a:pt x="26235" y="69024"/>
                  </a:cubicBezTo>
                  <a:cubicBezTo>
                    <a:pt x="26235" y="69024"/>
                    <a:pt x="14757" y="45209"/>
                    <a:pt x="0" y="35762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52DBA44C-5835-4A7F-8793-DBDC2B8FA092}"/>
                </a:ext>
              </a:extLst>
            </p:cNvPr>
            <p:cNvSpPr/>
            <p:nvPr/>
          </p:nvSpPr>
          <p:spPr>
            <a:xfrm>
              <a:off x="7701775" y="3567709"/>
              <a:ext cx="136879" cy="547065"/>
            </a:xfrm>
            <a:custGeom>
              <a:avLst/>
              <a:gdLst>
                <a:gd name="connsiteX0" fmla="*/ 7808 w 86154"/>
                <a:gd name="connsiteY0" fmla="*/ 284212 h 344333"/>
                <a:gd name="connsiteX1" fmla="*/ 0 w 86154"/>
                <a:gd name="connsiteY1" fmla="*/ 146400 h 344333"/>
                <a:gd name="connsiteX2" fmla="*/ 69491 w 86154"/>
                <a:gd name="connsiteY2" fmla="*/ 0 h 344333"/>
                <a:gd name="connsiteX3" fmla="*/ 55905 w 86154"/>
                <a:gd name="connsiteY3" fmla="*/ 344333 h 344333"/>
                <a:gd name="connsiteX4" fmla="*/ 7808 w 86154"/>
                <a:gd name="connsiteY4" fmla="*/ 284212 h 34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54" h="344333">
                  <a:moveTo>
                    <a:pt x="7808" y="284212"/>
                  </a:moveTo>
                  <a:cubicBezTo>
                    <a:pt x="10150" y="259538"/>
                    <a:pt x="0" y="146400"/>
                    <a:pt x="0" y="146400"/>
                  </a:cubicBezTo>
                  <a:cubicBezTo>
                    <a:pt x="0" y="146400"/>
                    <a:pt x="7183" y="156"/>
                    <a:pt x="69491" y="0"/>
                  </a:cubicBezTo>
                  <a:cubicBezTo>
                    <a:pt x="104159" y="112670"/>
                    <a:pt x="77299" y="320128"/>
                    <a:pt x="55905" y="344333"/>
                  </a:cubicBezTo>
                  <a:cubicBezTo>
                    <a:pt x="56452" y="344333"/>
                    <a:pt x="4685" y="345192"/>
                    <a:pt x="7808" y="284212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8FC7B318-F076-473D-BAB8-B90BE53AD649}"/>
                </a:ext>
              </a:extLst>
            </p:cNvPr>
            <p:cNvSpPr/>
            <p:nvPr/>
          </p:nvSpPr>
          <p:spPr>
            <a:xfrm>
              <a:off x="7383707" y="4019035"/>
              <a:ext cx="417464" cy="102301"/>
            </a:xfrm>
            <a:custGeom>
              <a:avLst/>
              <a:gdLst>
                <a:gd name="connsiteX0" fmla="*/ 256649 w 262759"/>
                <a:gd name="connsiteY0" fmla="*/ 60650 h 64390"/>
                <a:gd name="connsiteX1" fmla="*/ 0 w 262759"/>
                <a:gd name="connsiteY1" fmla="*/ 20986 h 64390"/>
                <a:gd name="connsiteX2" fmla="*/ 2342 w 262759"/>
                <a:gd name="connsiteY2" fmla="*/ 8883 h 64390"/>
                <a:gd name="connsiteX3" fmla="*/ 175836 w 262759"/>
                <a:gd name="connsiteY3" fmla="*/ 451 h 64390"/>
                <a:gd name="connsiteX4" fmla="*/ 215423 w 262759"/>
                <a:gd name="connsiteY4" fmla="*/ 1309 h 64390"/>
                <a:gd name="connsiteX5" fmla="*/ 256649 w 262759"/>
                <a:gd name="connsiteY5" fmla="*/ 60650 h 6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759" h="64390">
                  <a:moveTo>
                    <a:pt x="256649" y="60650"/>
                  </a:moveTo>
                  <a:cubicBezTo>
                    <a:pt x="244156" y="75017"/>
                    <a:pt x="44193" y="45034"/>
                    <a:pt x="0" y="20986"/>
                  </a:cubicBezTo>
                  <a:lnTo>
                    <a:pt x="2342" y="8883"/>
                  </a:lnTo>
                  <a:cubicBezTo>
                    <a:pt x="72614" y="13724"/>
                    <a:pt x="142887" y="1856"/>
                    <a:pt x="175836" y="451"/>
                  </a:cubicBezTo>
                  <a:cubicBezTo>
                    <a:pt x="189033" y="-362"/>
                    <a:pt x="202274" y="-75"/>
                    <a:pt x="215423" y="1309"/>
                  </a:cubicBezTo>
                  <a:cubicBezTo>
                    <a:pt x="257742" y="6931"/>
                    <a:pt x="272265" y="42848"/>
                    <a:pt x="256649" y="6065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F1E27B1C-1B39-4467-A9A6-1149F5CB1308}"/>
                </a:ext>
              </a:extLst>
            </p:cNvPr>
            <p:cNvSpPr/>
            <p:nvPr/>
          </p:nvSpPr>
          <p:spPr>
            <a:xfrm>
              <a:off x="7344971" y="3980070"/>
              <a:ext cx="52630" cy="65076"/>
            </a:xfrm>
            <a:custGeom>
              <a:avLst/>
              <a:gdLst>
                <a:gd name="connsiteX0" fmla="*/ 33126 w 33126"/>
                <a:gd name="connsiteY0" fmla="*/ 37390 h 40960"/>
                <a:gd name="connsiteX1" fmla="*/ 98 w 33126"/>
                <a:gd name="connsiteY1" fmla="*/ 458 h 40960"/>
                <a:gd name="connsiteX2" fmla="*/ 9234 w 33126"/>
                <a:gd name="connsiteY2" fmla="*/ 19900 h 40960"/>
                <a:gd name="connsiteX3" fmla="*/ 1426 w 33126"/>
                <a:gd name="connsiteY3" fmla="*/ 22399 h 40960"/>
                <a:gd name="connsiteX4" fmla="*/ 8765 w 33126"/>
                <a:gd name="connsiteY4" fmla="*/ 36531 h 40960"/>
                <a:gd name="connsiteX5" fmla="*/ 22820 w 33126"/>
                <a:gd name="connsiteY5" fmla="*/ 40826 h 40960"/>
                <a:gd name="connsiteX6" fmla="*/ 33126 w 33126"/>
                <a:gd name="connsiteY6" fmla="*/ 37390 h 4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26" h="40960">
                  <a:moveTo>
                    <a:pt x="33126" y="37390"/>
                  </a:moveTo>
                  <a:cubicBezTo>
                    <a:pt x="27817" y="23102"/>
                    <a:pt x="1894" y="-3836"/>
                    <a:pt x="98" y="458"/>
                  </a:cubicBezTo>
                  <a:cubicBezTo>
                    <a:pt x="-1229" y="9672"/>
                    <a:pt x="11342" y="15528"/>
                    <a:pt x="9234" y="19900"/>
                  </a:cubicBezTo>
                  <a:cubicBezTo>
                    <a:pt x="7126" y="24273"/>
                    <a:pt x="1426" y="22399"/>
                    <a:pt x="1426" y="22399"/>
                  </a:cubicBezTo>
                  <a:cubicBezTo>
                    <a:pt x="-760" y="26693"/>
                    <a:pt x="4315" y="34267"/>
                    <a:pt x="8765" y="36531"/>
                  </a:cubicBezTo>
                  <a:cubicBezTo>
                    <a:pt x="13215" y="38641"/>
                    <a:pt x="17951" y="40088"/>
                    <a:pt x="22820" y="40826"/>
                  </a:cubicBezTo>
                  <a:cubicBezTo>
                    <a:pt x="27036" y="41528"/>
                    <a:pt x="29378" y="39342"/>
                    <a:pt x="33126" y="3739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1969143-7063-415E-BE42-157C664F993F}"/>
                </a:ext>
              </a:extLst>
            </p:cNvPr>
            <p:cNvSpPr/>
            <p:nvPr/>
          </p:nvSpPr>
          <p:spPr>
            <a:xfrm>
              <a:off x="7271699" y="3980159"/>
              <a:ext cx="52464" cy="38721"/>
            </a:xfrm>
            <a:custGeom>
              <a:avLst/>
              <a:gdLst>
                <a:gd name="connsiteX0" fmla="*/ 33022 w 33022"/>
                <a:gd name="connsiteY0" fmla="*/ 20390 h 24372"/>
                <a:gd name="connsiteX1" fmla="*/ 15688 w 33022"/>
                <a:gd name="connsiteY1" fmla="*/ 10162 h 24372"/>
                <a:gd name="connsiteX2" fmla="*/ 72 w 33022"/>
                <a:gd name="connsiteY2" fmla="*/ 324 h 24372"/>
                <a:gd name="connsiteX3" fmla="*/ 11941 w 33022"/>
                <a:gd name="connsiteY3" fmla="*/ 15940 h 24372"/>
                <a:gd name="connsiteX4" fmla="*/ 26151 w 33022"/>
                <a:gd name="connsiteY4" fmla="*/ 24373 h 2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22" h="24372">
                  <a:moveTo>
                    <a:pt x="33022" y="20390"/>
                  </a:moveTo>
                  <a:cubicBezTo>
                    <a:pt x="27076" y="17273"/>
                    <a:pt x="21291" y="13860"/>
                    <a:pt x="15688" y="10162"/>
                  </a:cubicBezTo>
                  <a:cubicBezTo>
                    <a:pt x="7256" y="2979"/>
                    <a:pt x="775" y="-1238"/>
                    <a:pt x="72" y="324"/>
                  </a:cubicBezTo>
                  <a:cubicBezTo>
                    <a:pt x="-630" y="1885"/>
                    <a:pt x="3820" y="8132"/>
                    <a:pt x="11941" y="15940"/>
                  </a:cubicBezTo>
                  <a:cubicBezTo>
                    <a:pt x="16235" y="18751"/>
                    <a:pt x="21388" y="21015"/>
                    <a:pt x="26151" y="24373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E7D6C6E7-79F7-460A-BE37-7A637564D41E}"/>
                </a:ext>
              </a:extLst>
            </p:cNvPr>
            <p:cNvSpPr/>
            <p:nvPr/>
          </p:nvSpPr>
          <p:spPr>
            <a:xfrm>
              <a:off x="7292369" y="3989928"/>
              <a:ext cx="44448" cy="38380"/>
            </a:xfrm>
            <a:custGeom>
              <a:avLst/>
              <a:gdLst>
                <a:gd name="connsiteX0" fmla="*/ 27976 w 27976"/>
                <a:gd name="connsiteY0" fmla="*/ 18224 h 24157"/>
                <a:gd name="connsiteX1" fmla="*/ 14234 w 27976"/>
                <a:gd name="connsiteY1" fmla="*/ 10416 h 24157"/>
                <a:gd name="connsiteX2" fmla="*/ 102 w 27976"/>
                <a:gd name="connsiteY2" fmla="*/ 265 h 24157"/>
                <a:gd name="connsiteX3" fmla="*/ 10330 w 27976"/>
                <a:gd name="connsiteY3" fmla="*/ 15413 h 24157"/>
                <a:gd name="connsiteX4" fmla="*/ 23213 w 27976"/>
                <a:gd name="connsiteY4" fmla="*/ 24158 h 2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76" h="24157">
                  <a:moveTo>
                    <a:pt x="27976" y="18224"/>
                  </a:moveTo>
                  <a:cubicBezTo>
                    <a:pt x="27976" y="18224"/>
                    <a:pt x="21183" y="14476"/>
                    <a:pt x="14234" y="10416"/>
                  </a:cubicBezTo>
                  <a:cubicBezTo>
                    <a:pt x="6426" y="3154"/>
                    <a:pt x="882" y="-1140"/>
                    <a:pt x="102" y="265"/>
                  </a:cubicBezTo>
                  <a:cubicBezTo>
                    <a:pt x="-679" y="1671"/>
                    <a:pt x="3069" y="8073"/>
                    <a:pt x="10330" y="15413"/>
                  </a:cubicBezTo>
                  <a:cubicBezTo>
                    <a:pt x="14234" y="18302"/>
                    <a:pt x="18919" y="20800"/>
                    <a:pt x="23213" y="24158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4" name="Freeform: Shape 1183">
              <a:extLst>
                <a:ext uri="{FF2B5EF4-FFF2-40B4-BE49-F238E27FC236}">
                  <a16:creationId xmlns:a16="http://schemas.microsoft.com/office/drawing/2014/main" id="{0B846D38-F1FF-4B21-95AC-27CE5841186C}"/>
                </a:ext>
              </a:extLst>
            </p:cNvPr>
            <p:cNvSpPr/>
            <p:nvPr/>
          </p:nvSpPr>
          <p:spPr>
            <a:xfrm>
              <a:off x="7293941" y="4007928"/>
              <a:ext cx="36299" cy="31299"/>
            </a:xfrm>
            <a:custGeom>
              <a:avLst/>
              <a:gdLst>
                <a:gd name="connsiteX0" fmla="*/ 22848 w 22847"/>
                <a:gd name="connsiteY0" fmla="*/ 15171 h 19700"/>
                <a:gd name="connsiteX1" fmla="*/ 10823 w 22847"/>
                <a:gd name="connsiteY1" fmla="*/ 7363 h 19700"/>
                <a:gd name="connsiteX2" fmla="*/ 48 w 22847"/>
                <a:gd name="connsiteY2" fmla="*/ 336 h 19700"/>
                <a:gd name="connsiteX3" fmla="*/ 6529 w 22847"/>
                <a:gd name="connsiteY3" fmla="*/ 10721 h 19700"/>
                <a:gd name="connsiteX4" fmla="*/ 19256 w 22847"/>
                <a:gd name="connsiteY4" fmla="*/ 19700 h 1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47" h="19700">
                  <a:moveTo>
                    <a:pt x="22848" y="15171"/>
                  </a:moveTo>
                  <a:cubicBezTo>
                    <a:pt x="19074" y="12224"/>
                    <a:pt x="15051" y="9611"/>
                    <a:pt x="10823" y="7363"/>
                  </a:cubicBezTo>
                  <a:cubicBezTo>
                    <a:pt x="2625" y="2913"/>
                    <a:pt x="751" y="-1225"/>
                    <a:pt x="48" y="336"/>
                  </a:cubicBezTo>
                  <a:cubicBezTo>
                    <a:pt x="-654" y="1898"/>
                    <a:pt x="6529" y="10721"/>
                    <a:pt x="6529" y="10721"/>
                  </a:cubicBezTo>
                  <a:cubicBezTo>
                    <a:pt x="10605" y="13943"/>
                    <a:pt x="14854" y="16941"/>
                    <a:pt x="19256" y="19700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E32A8D84-8B2C-4247-BA19-148B453FF944}"/>
                </a:ext>
              </a:extLst>
            </p:cNvPr>
            <p:cNvSpPr/>
            <p:nvPr/>
          </p:nvSpPr>
          <p:spPr>
            <a:xfrm>
              <a:off x="7312149" y="4011153"/>
              <a:ext cx="86000" cy="42339"/>
            </a:xfrm>
            <a:custGeom>
              <a:avLst/>
              <a:gdLst>
                <a:gd name="connsiteX0" fmla="*/ 46446 w 54130"/>
                <a:gd name="connsiteY0" fmla="*/ 26649 h 26649"/>
                <a:gd name="connsiteX1" fmla="*/ 7406 w 54130"/>
                <a:gd name="connsiteY1" fmla="*/ 17592 h 26649"/>
                <a:gd name="connsiteX2" fmla="*/ 5688 w 54130"/>
                <a:gd name="connsiteY2" fmla="*/ 180 h 26649"/>
                <a:gd name="connsiteX3" fmla="*/ 28565 w 54130"/>
                <a:gd name="connsiteY3" fmla="*/ 2991 h 26649"/>
                <a:gd name="connsiteX4" fmla="*/ 53785 w 54130"/>
                <a:gd name="connsiteY4" fmla="*/ 17826 h 26649"/>
                <a:gd name="connsiteX5" fmla="*/ 46446 w 54130"/>
                <a:gd name="connsiteY5" fmla="*/ 26649 h 2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30" h="26649">
                  <a:moveTo>
                    <a:pt x="46446" y="26649"/>
                  </a:moveTo>
                  <a:cubicBezTo>
                    <a:pt x="33164" y="24938"/>
                    <a:pt x="20085" y="21904"/>
                    <a:pt x="7406" y="17592"/>
                  </a:cubicBezTo>
                  <a:cubicBezTo>
                    <a:pt x="-2120" y="12673"/>
                    <a:pt x="-2198" y="-1772"/>
                    <a:pt x="5688" y="180"/>
                  </a:cubicBezTo>
                  <a:cubicBezTo>
                    <a:pt x="13187" y="1960"/>
                    <a:pt x="20859" y="2902"/>
                    <a:pt x="28565" y="2991"/>
                  </a:cubicBezTo>
                  <a:cubicBezTo>
                    <a:pt x="39159" y="2541"/>
                    <a:pt x="49031" y="8349"/>
                    <a:pt x="53785" y="17826"/>
                  </a:cubicBezTo>
                  <a:cubicBezTo>
                    <a:pt x="56050" y="23760"/>
                    <a:pt x="46446" y="26649"/>
                    <a:pt x="46446" y="26649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0888A8EC-FEE5-4AC7-B048-C9C3FE98F8FF}"/>
                </a:ext>
              </a:extLst>
            </p:cNvPr>
            <p:cNvSpPr/>
            <p:nvPr/>
          </p:nvSpPr>
          <p:spPr>
            <a:xfrm>
              <a:off x="7270787" y="3994118"/>
              <a:ext cx="55856" cy="30098"/>
            </a:xfrm>
            <a:custGeom>
              <a:avLst/>
              <a:gdLst>
                <a:gd name="connsiteX0" fmla="*/ 35158 w 35157"/>
                <a:gd name="connsiteY0" fmla="*/ 12074 h 18944"/>
                <a:gd name="connsiteX1" fmla="*/ 18917 w 35157"/>
                <a:gd name="connsiteY1" fmla="*/ 7311 h 18944"/>
                <a:gd name="connsiteX2" fmla="*/ 22 w 35157"/>
                <a:gd name="connsiteY2" fmla="*/ 362 h 18944"/>
                <a:gd name="connsiteX3" fmla="*/ 16262 w 35157"/>
                <a:gd name="connsiteY3" fmla="*/ 13401 h 18944"/>
                <a:gd name="connsiteX4" fmla="*/ 31878 w 35157"/>
                <a:gd name="connsiteY4" fmla="*/ 18945 h 1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57" h="18944">
                  <a:moveTo>
                    <a:pt x="35158" y="12074"/>
                  </a:moveTo>
                  <a:cubicBezTo>
                    <a:pt x="35158" y="12074"/>
                    <a:pt x="27350" y="9966"/>
                    <a:pt x="18917" y="7311"/>
                  </a:cubicBezTo>
                  <a:cubicBezTo>
                    <a:pt x="10719" y="2938"/>
                    <a:pt x="490" y="-1278"/>
                    <a:pt x="22" y="362"/>
                  </a:cubicBezTo>
                  <a:cubicBezTo>
                    <a:pt x="-447" y="2002"/>
                    <a:pt x="6737" y="7389"/>
                    <a:pt x="16262" y="13401"/>
                  </a:cubicBezTo>
                  <a:cubicBezTo>
                    <a:pt x="21025" y="15353"/>
                    <a:pt x="26491" y="16681"/>
                    <a:pt x="31878" y="18945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CCF8EFDD-7294-4EE6-A78A-F4F588F8462E}"/>
                </a:ext>
              </a:extLst>
            </p:cNvPr>
            <p:cNvSpPr/>
            <p:nvPr/>
          </p:nvSpPr>
          <p:spPr>
            <a:xfrm rot="21076108">
              <a:off x="7086241" y="3563114"/>
              <a:ext cx="142014" cy="394933"/>
            </a:xfrm>
            <a:custGeom>
              <a:avLst/>
              <a:gdLst>
                <a:gd name="connsiteX0" fmla="*/ 11478 w 89386"/>
                <a:gd name="connsiteY0" fmla="*/ 0 h 248578"/>
                <a:gd name="connsiteX1" fmla="*/ 55125 w 89386"/>
                <a:gd name="connsiteY1" fmla="*/ 101504 h 248578"/>
                <a:gd name="connsiteX2" fmla="*/ 71131 w 89386"/>
                <a:gd name="connsiteY2" fmla="*/ 248451 h 248578"/>
                <a:gd name="connsiteX3" fmla="*/ 20535 w 89386"/>
                <a:gd name="connsiteY3" fmla="*/ 121961 h 248578"/>
                <a:gd name="connsiteX4" fmla="*/ 0 w 89386"/>
                <a:gd name="connsiteY4" fmla="*/ 5934 h 248578"/>
                <a:gd name="connsiteX5" fmla="*/ 11478 w 89386"/>
                <a:gd name="connsiteY5" fmla="*/ 0 h 24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386" h="248578">
                  <a:moveTo>
                    <a:pt x="11478" y="0"/>
                  </a:moveTo>
                  <a:cubicBezTo>
                    <a:pt x="15616" y="4138"/>
                    <a:pt x="32169" y="48488"/>
                    <a:pt x="55125" y="101504"/>
                  </a:cubicBezTo>
                  <a:cubicBezTo>
                    <a:pt x="85654" y="171776"/>
                    <a:pt x="105877" y="243766"/>
                    <a:pt x="71131" y="248451"/>
                  </a:cubicBezTo>
                  <a:cubicBezTo>
                    <a:pt x="46536" y="251808"/>
                    <a:pt x="30217" y="188563"/>
                    <a:pt x="20535" y="121961"/>
                  </a:cubicBezTo>
                  <a:cubicBezTo>
                    <a:pt x="11478" y="63713"/>
                    <a:pt x="0" y="5934"/>
                    <a:pt x="0" y="5934"/>
                  </a:cubicBezTo>
                  <a:cubicBezTo>
                    <a:pt x="4052" y="4429"/>
                    <a:pt x="7907" y="2437"/>
                    <a:pt x="11478" y="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1188" name="Group 1187">
              <a:extLst>
                <a:ext uri="{FF2B5EF4-FFF2-40B4-BE49-F238E27FC236}">
                  <a16:creationId xmlns:a16="http://schemas.microsoft.com/office/drawing/2014/main" id="{394460E2-5682-4B6B-AAD4-01AA11A786E1}"/>
                </a:ext>
              </a:extLst>
            </p:cNvPr>
            <p:cNvGrpSpPr/>
            <p:nvPr/>
          </p:nvGrpSpPr>
          <p:grpSpPr>
            <a:xfrm>
              <a:off x="7061656" y="3545502"/>
              <a:ext cx="91815" cy="55308"/>
              <a:chOff x="7927914" y="-933117"/>
              <a:chExt cx="57790" cy="34812"/>
            </a:xfrm>
          </p:grpSpPr>
          <p:sp>
            <p:nvSpPr>
              <p:cNvPr id="1235" name="Freeform: Shape 1234">
                <a:extLst>
                  <a:ext uri="{FF2B5EF4-FFF2-40B4-BE49-F238E27FC236}">
                    <a16:creationId xmlns:a16="http://schemas.microsoft.com/office/drawing/2014/main" id="{6BC46885-D7E1-4367-8597-E8CC4D1B27AA}"/>
                  </a:ext>
                </a:extLst>
              </p:cNvPr>
              <p:cNvSpPr/>
              <p:nvPr/>
            </p:nvSpPr>
            <p:spPr>
              <a:xfrm>
                <a:off x="7943151" y="-906425"/>
                <a:ext cx="5979" cy="5934"/>
              </a:xfrm>
              <a:custGeom>
                <a:avLst/>
                <a:gdLst>
                  <a:gd name="connsiteX0" fmla="*/ 0 w 5979"/>
                  <a:gd name="connsiteY0" fmla="*/ 2577 h 5934"/>
                  <a:gd name="connsiteX1" fmla="*/ 4763 w 5979"/>
                  <a:gd name="connsiteY1" fmla="*/ 5934 h 5934"/>
                  <a:gd name="connsiteX2" fmla="*/ 3982 w 5979"/>
                  <a:gd name="connsiteY2" fmla="*/ 0 h 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9" h="5934">
                    <a:moveTo>
                      <a:pt x="0" y="2577"/>
                    </a:moveTo>
                    <a:cubicBezTo>
                      <a:pt x="1363" y="3984"/>
                      <a:pt x="2979" y="5124"/>
                      <a:pt x="4763" y="5934"/>
                    </a:cubicBezTo>
                    <a:cubicBezTo>
                      <a:pt x="4763" y="5934"/>
                      <a:pt x="7964" y="4294"/>
                      <a:pt x="398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236" name="Freeform: Shape 1235">
                <a:extLst>
                  <a:ext uri="{FF2B5EF4-FFF2-40B4-BE49-F238E27FC236}">
                    <a16:creationId xmlns:a16="http://schemas.microsoft.com/office/drawing/2014/main" id="{E63A0AB7-EAE3-43EA-818A-117C00BD3A94}"/>
                  </a:ext>
                </a:extLst>
              </p:cNvPr>
              <p:cNvSpPr/>
              <p:nvPr/>
            </p:nvSpPr>
            <p:spPr>
              <a:xfrm>
                <a:off x="7937803" y="-918839"/>
                <a:ext cx="17582" cy="10931"/>
              </a:xfrm>
              <a:custGeom>
                <a:avLst/>
                <a:gdLst>
                  <a:gd name="connsiteX0" fmla="*/ 17528 w 17582"/>
                  <a:gd name="connsiteY0" fmla="*/ 8589 h 10931"/>
                  <a:gd name="connsiteX1" fmla="*/ 13781 w 17582"/>
                  <a:gd name="connsiteY1" fmla="*/ 10931 h 10931"/>
                  <a:gd name="connsiteX2" fmla="*/ 7300 w 17582"/>
                  <a:gd name="connsiteY2" fmla="*/ 9916 h 10931"/>
                  <a:gd name="connsiteX3" fmla="*/ 117 w 17582"/>
                  <a:gd name="connsiteY3" fmla="*/ 9916 h 10931"/>
                  <a:gd name="connsiteX4" fmla="*/ 117 w 17582"/>
                  <a:gd name="connsiteY4" fmla="*/ 6168 h 10931"/>
                  <a:gd name="connsiteX5" fmla="*/ 10345 w 17582"/>
                  <a:gd name="connsiteY5" fmla="*/ 0 h 10931"/>
                  <a:gd name="connsiteX6" fmla="*/ 17528 w 17582"/>
                  <a:gd name="connsiteY6" fmla="*/ 8589 h 10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82" h="10931">
                    <a:moveTo>
                      <a:pt x="17528" y="8589"/>
                    </a:moveTo>
                    <a:cubicBezTo>
                      <a:pt x="17528" y="8589"/>
                      <a:pt x="14561" y="10541"/>
                      <a:pt x="13781" y="10931"/>
                    </a:cubicBezTo>
                    <a:cubicBezTo>
                      <a:pt x="11587" y="10852"/>
                      <a:pt x="9412" y="10511"/>
                      <a:pt x="7300" y="9916"/>
                    </a:cubicBezTo>
                    <a:cubicBezTo>
                      <a:pt x="7300" y="9916"/>
                      <a:pt x="351" y="9916"/>
                      <a:pt x="117" y="9916"/>
                    </a:cubicBezTo>
                    <a:cubicBezTo>
                      <a:pt x="-39" y="8672"/>
                      <a:pt x="-39" y="7413"/>
                      <a:pt x="117" y="6168"/>
                    </a:cubicBezTo>
                    <a:lnTo>
                      <a:pt x="10345" y="0"/>
                    </a:lnTo>
                    <a:cubicBezTo>
                      <a:pt x="10345" y="0"/>
                      <a:pt x="18309" y="6481"/>
                      <a:pt x="17528" y="8589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237" name="Freeform: Shape 1236">
                <a:extLst>
                  <a:ext uri="{FF2B5EF4-FFF2-40B4-BE49-F238E27FC236}">
                    <a16:creationId xmlns:a16="http://schemas.microsoft.com/office/drawing/2014/main" id="{971421B0-CD6D-46E6-BD0F-916C4B4D7F6E}"/>
                  </a:ext>
                </a:extLst>
              </p:cNvPr>
              <p:cNvSpPr/>
              <p:nvPr/>
            </p:nvSpPr>
            <p:spPr>
              <a:xfrm>
                <a:off x="7933313" y="-923212"/>
                <a:ext cx="19598" cy="24528"/>
              </a:xfrm>
              <a:custGeom>
                <a:avLst/>
                <a:gdLst>
                  <a:gd name="connsiteX0" fmla="*/ 19598 w 19598"/>
                  <a:gd name="connsiteY0" fmla="*/ 7574 h 24528"/>
                  <a:gd name="connsiteX1" fmla="*/ 11790 w 19598"/>
                  <a:gd name="connsiteY1" fmla="*/ 7574 h 24528"/>
                  <a:gd name="connsiteX2" fmla="*/ 5622 w 19598"/>
                  <a:gd name="connsiteY2" fmla="*/ 12337 h 24528"/>
                  <a:gd name="connsiteX3" fmla="*/ 8979 w 19598"/>
                  <a:gd name="connsiteY3" fmla="*/ 24517 h 24528"/>
                  <a:gd name="connsiteX4" fmla="*/ 547 w 19598"/>
                  <a:gd name="connsiteY4" fmla="*/ 15616 h 24528"/>
                  <a:gd name="connsiteX5" fmla="*/ 0 w 19598"/>
                  <a:gd name="connsiteY5" fmla="*/ 7808 h 24528"/>
                  <a:gd name="connsiteX6" fmla="*/ 13352 w 19598"/>
                  <a:gd name="connsiteY6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98" h="24528">
                    <a:moveTo>
                      <a:pt x="19598" y="7574"/>
                    </a:moveTo>
                    <a:lnTo>
                      <a:pt x="11790" y="7574"/>
                    </a:lnTo>
                    <a:lnTo>
                      <a:pt x="5622" y="12337"/>
                    </a:lnTo>
                    <a:cubicBezTo>
                      <a:pt x="5622" y="12337"/>
                      <a:pt x="11868" y="20613"/>
                      <a:pt x="8979" y="24517"/>
                    </a:cubicBezTo>
                    <a:cubicBezTo>
                      <a:pt x="8979" y="24517"/>
                      <a:pt x="7027" y="25220"/>
                      <a:pt x="547" y="15616"/>
                    </a:cubicBezTo>
                    <a:lnTo>
                      <a:pt x="0" y="7808"/>
                    </a:lnTo>
                    <a:lnTo>
                      <a:pt x="13352" y="0"/>
                    </a:ln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238" name="Freeform: Shape 1237">
                <a:extLst>
                  <a:ext uri="{FF2B5EF4-FFF2-40B4-BE49-F238E27FC236}">
                    <a16:creationId xmlns:a16="http://schemas.microsoft.com/office/drawing/2014/main" id="{94672948-11E9-404A-B7F0-8DF89BE4C95C}"/>
                  </a:ext>
                </a:extLst>
              </p:cNvPr>
              <p:cNvSpPr/>
              <p:nvPr/>
            </p:nvSpPr>
            <p:spPr>
              <a:xfrm>
                <a:off x="7927914" y="-933117"/>
                <a:ext cx="57790" cy="34812"/>
              </a:xfrm>
              <a:custGeom>
                <a:avLst/>
                <a:gdLst>
                  <a:gd name="connsiteX0" fmla="*/ 25543 w 57790"/>
                  <a:gd name="connsiteY0" fmla="*/ 223 h 34812"/>
                  <a:gd name="connsiteX1" fmla="*/ 11 w 57790"/>
                  <a:gd name="connsiteY1" fmla="*/ 18416 h 34812"/>
                  <a:gd name="connsiteX2" fmla="*/ 2041 w 57790"/>
                  <a:gd name="connsiteY2" fmla="*/ 34812 h 34812"/>
                  <a:gd name="connsiteX3" fmla="*/ 6804 w 57790"/>
                  <a:gd name="connsiteY3" fmla="*/ 19587 h 34812"/>
                  <a:gd name="connsiteX4" fmla="*/ 18126 w 57790"/>
                  <a:gd name="connsiteY4" fmla="*/ 15370 h 34812"/>
                  <a:gd name="connsiteX5" fmla="*/ 25231 w 57790"/>
                  <a:gd name="connsiteY5" fmla="*/ 20914 h 34812"/>
                  <a:gd name="connsiteX6" fmla="*/ 45688 w 57790"/>
                  <a:gd name="connsiteY6" fmla="*/ 31299 h 34812"/>
                  <a:gd name="connsiteX7" fmla="*/ 52637 w 57790"/>
                  <a:gd name="connsiteY7" fmla="*/ 31845 h 34812"/>
                  <a:gd name="connsiteX8" fmla="*/ 57790 w 57790"/>
                  <a:gd name="connsiteY8" fmla="*/ 24037 h 34812"/>
                  <a:gd name="connsiteX9" fmla="*/ 25543 w 57790"/>
                  <a:gd name="connsiteY9" fmla="*/ 223 h 34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790" h="34812">
                    <a:moveTo>
                      <a:pt x="25543" y="223"/>
                    </a:moveTo>
                    <a:cubicBezTo>
                      <a:pt x="21327" y="-2198"/>
                      <a:pt x="323" y="15839"/>
                      <a:pt x="11" y="18416"/>
                    </a:cubicBezTo>
                    <a:cubicBezTo>
                      <a:pt x="-97" y="23950"/>
                      <a:pt x="586" y="29472"/>
                      <a:pt x="2041" y="34812"/>
                    </a:cubicBezTo>
                    <a:cubicBezTo>
                      <a:pt x="7429" y="34344"/>
                      <a:pt x="6804" y="19587"/>
                      <a:pt x="6804" y="19587"/>
                    </a:cubicBezTo>
                    <a:lnTo>
                      <a:pt x="18126" y="15370"/>
                    </a:lnTo>
                    <a:cubicBezTo>
                      <a:pt x="21952" y="16932"/>
                      <a:pt x="24762" y="18103"/>
                      <a:pt x="25231" y="20914"/>
                    </a:cubicBezTo>
                    <a:cubicBezTo>
                      <a:pt x="30607" y="26687"/>
                      <a:pt x="37855" y="30366"/>
                      <a:pt x="45688" y="31299"/>
                    </a:cubicBezTo>
                    <a:lnTo>
                      <a:pt x="52637" y="31845"/>
                    </a:lnTo>
                    <a:lnTo>
                      <a:pt x="57790" y="24037"/>
                    </a:lnTo>
                    <a:cubicBezTo>
                      <a:pt x="48381" y="14430"/>
                      <a:pt x="37494" y="6390"/>
                      <a:pt x="25543" y="223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239" name="Freeform: Shape 1238">
                <a:extLst>
                  <a:ext uri="{FF2B5EF4-FFF2-40B4-BE49-F238E27FC236}">
                    <a16:creationId xmlns:a16="http://schemas.microsoft.com/office/drawing/2014/main" id="{457B5AB2-8B7E-47A7-BC43-DF2434812FCE}"/>
                  </a:ext>
                </a:extLst>
              </p:cNvPr>
              <p:cNvSpPr/>
              <p:nvPr/>
            </p:nvSpPr>
            <p:spPr>
              <a:xfrm>
                <a:off x="7930658" y="-907830"/>
                <a:ext cx="3669" cy="4138"/>
              </a:xfrm>
              <a:custGeom>
                <a:avLst/>
                <a:gdLst>
                  <a:gd name="connsiteX0" fmla="*/ 3670 w 3669"/>
                  <a:gd name="connsiteY0" fmla="*/ 2108 h 4138"/>
                  <a:gd name="connsiteX1" fmla="*/ 0 w 3669"/>
                  <a:gd name="connsiteY1" fmla="*/ 0 h 4138"/>
                  <a:gd name="connsiteX2" fmla="*/ 3201 w 3669"/>
                  <a:gd name="connsiteY2" fmla="*/ 4138 h 4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69" h="4138">
                    <a:moveTo>
                      <a:pt x="3670" y="2108"/>
                    </a:moveTo>
                    <a:lnTo>
                      <a:pt x="0" y="0"/>
                    </a:lnTo>
                    <a:cubicBezTo>
                      <a:pt x="266" y="1846"/>
                      <a:pt x="1481" y="3417"/>
                      <a:pt x="3201" y="4138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1240" name="Freeform: Shape 1239">
                <a:extLst>
                  <a:ext uri="{FF2B5EF4-FFF2-40B4-BE49-F238E27FC236}">
                    <a16:creationId xmlns:a16="http://schemas.microsoft.com/office/drawing/2014/main" id="{65296307-315D-4584-9992-857EA6654C50}"/>
                  </a:ext>
                </a:extLst>
              </p:cNvPr>
              <p:cNvSpPr/>
              <p:nvPr/>
            </p:nvSpPr>
            <p:spPr>
              <a:xfrm>
                <a:off x="7930889" y="-917432"/>
                <a:ext cx="42713" cy="16726"/>
              </a:xfrm>
              <a:custGeom>
                <a:avLst/>
                <a:gdLst>
                  <a:gd name="connsiteX0" fmla="*/ 42713 w 42713"/>
                  <a:gd name="connsiteY0" fmla="*/ 15614 h 16726"/>
                  <a:gd name="connsiteX1" fmla="*/ 31158 w 42713"/>
                  <a:gd name="connsiteY1" fmla="*/ 16707 h 16726"/>
                  <a:gd name="connsiteX2" fmla="*/ 14292 w 42713"/>
                  <a:gd name="connsiteY2" fmla="*/ 14365 h 16726"/>
                  <a:gd name="connsiteX3" fmla="*/ 4 w 42713"/>
                  <a:gd name="connsiteY3" fmla="*/ 9602 h 16726"/>
                  <a:gd name="connsiteX4" fmla="*/ 14683 w 42713"/>
                  <a:gd name="connsiteY4" fmla="*/ 7103 h 16726"/>
                  <a:gd name="connsiteX5" fmla="*/ 22491 w 42713"/>
                  <a:gd name="connsiteY5" fmla="*/ 2419 h 16726"/>
                  <a:gd name="connsiteX6" fmla="*/ 42713 w 42713"/>
                  <a:gd name="connsiteY6" fmla="*/ 15614 h 1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713" h="16726">
                    <a:moveTo>
                      <a:pt x="42713" y="15614"/>
                    </a:moveTo>
                    <a:cubicBezTo>
                      <a:pt x="38921" y="16451"/>
                      <a:pt x="35040" y="16819"/>
                      <a:pt x="31158" y="16707"/>
                    </a:cubicBezTo>
                    <a:cubicBezTo>
                      <a:pt x="25472" y="16492"/>
                      <a:pt x="19822" y="15708"/>
                      <a:pt x="14292" y="14365"/>
                    </a:cubicBezTo>
                    <a:cubicBezTo>
                      <a:pt x="9295" y="13593"/>
                      <a:pt x="4464" y="11983"/>
                      <a:pt x="4" y="9602"/>
                    </a:cubicBezTo>
                    <a:cubicBezTo>
                      <a:pt x="4" y="9602"/>
                      <a:pt x="-621" y="5229"/>
                      <a:pt x="14683" y="7103"/>
                    </a:cubicBezTo>
                    <a:cubicBezTo>
                      <a:pt x="14683" y="7103"/>
                      <a:pt x="23896" y="8587"/>
                      <a:pt x="22491" y="2419"/>
                    </a:cubicBezTo>
                    <a:cubicBezTo>
                      <a:pt x="19524" y="-7263"/>
                      <a:pt x="41933" y="15224"/>
                      <a:pt x="42713" y="15614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grpSp>
        <p:nvGrpSpPr>
          <p:cNvPr id="3" name="INVENTORY TABLET">
            <a:extLst>
              <a:ext uri="{FF2B5EF4-FFF2-40B4-BE49-F238E27FC236}">
                <a16:creationId xmlns:a16="http://schemas.microsoft.com/office/drawing/2014/main" id="{93BB40C1-38DC-476A-B7D5-D5858B09CA98}"/>
              </a:ext>
            </a:extLst>
          </p:cNvPr>
          <p:cNvGrpSpPr/>
          <p:nvPr/>
        </p:nvGrpSpPr>
        <p:grpSpPr>
          <a:xfrm>
            <a:off x="6831503" y="3290956"/>
            <a:ext cx="514190" cy="771381"/>
            <a:chOff x="11788353" y="4810777"/>
            <a:chExt cx="524501" cy="786849"/>
          </a:xfrm>
          <a:scene3d>
            <a:camera prst="orthographicFront">
              <a:rot lat="600000" lon="17400000" rev="1800000"/>
            </a:camera>
            <a:lightRig rig="threePt" dir="t"/>
          </a:scene3d>
        </p:grpSpPr>
        <p:grpSp>
          <p:nvGrpSpPr>
            <p:cNvPr id="1080" name="Group 1079">
              <a:extLst>
                <a:ext uri="{FF2B5EF4-FFF2-40B4-BE49-F238E27FC236}">
                  <a16:creationId xmlns:a16="http://schemas.microsoft.com/office/drawing/2014/main" id="{7FD59311-5EBE-42C0-AAC1-E105983C69DB}"/>
                </a:ext>
              </a:extLst>
            </p:cNvPr>
            <p:cNvGrpSpPr/>
            <p:nvPr/>
          </p:nvGrpSpPr>
          <p:grpSpPr>
            <a:xfrm rot="5400000">
              <a:off x="11657179" y="4941951"/>
              <a:ext cx="786849" cy="524501"/>
              <a:chOff x="10037763" y="1192213"/>
              <a:chExt cx="1186084" cy="790622"/>
            </a:xfrm>
          </p:grpSpPr>
          <p:grpSp>
            <p:nvGrpSpPr>
              <p:cNvPr id="1121" name="Group 1120">
                <a:extLst>
                  <a:ext uri="{FF2B5EF4-FFF2-40B4-BE49-F238E27FC236}">
                    <a16:creationId xmlns:a16="http://schemas.microsoft.com/office/drawing/2014/main" id="{AAA54B2C-141F-40DB-8A71-03958C6AFD82}"/>
                  </a:ext>
                </a:extLst>
              </p:cNvPr>
              <p:cNvGrpSpPr/>
              <p:nvPr/>
            </p:nvGrpSpPr>
            <p:grpSpPr>
              <a:xfrm>
                <a:off x="10037763" y="1192213"/>
                <a:ext cx="1186084" cy="790622"/>
                <a:chOff x="10037763" y="1192213"/>
                <a:chExt cx="1186084" cy="790622"/>
              </a:xfrm>
              <a:solidFill>
                <a:schemeClr val="tx1">
                  <a:lumMod val="85000"/>
                  <a:lumOff val="15000"/>
                </a:schemeClr>
              </a:solidFill>
            </p:grpSpPr>
            <p:sp>
              <p:nvSpPr>
                <p:cNvPr id="1123" name="Rectangle: Rounded Corners 1122">
                  <a:extLst>
                    <a:ext uri="{FF2B5EF4-FFF2-40B4-BE49-F238E27FC236}">
                      <a16:creationId xmlns:a16="http://schemas.microsoft.com/office/drawing/2014/main" id="{7ADCB403-69AD-4D5A-B67F-C583B14923FC}"/>
                    </a:ext>
                  </a:extLst>
                </p:cNvPr>
                <p:cNvSpPr/>
                <p:nvPr/>
              </p:nvSpPr>
              <p:spPr bwMode="auto">
                <a:xfrm>
                  <a:off x="10037763" y="1192213"/>
                  <a:ext cx="1186084" cy="790622"/>
                </a:xfrm>
                <a:prstGeom prst="roundRect">
                  <a:avLst>
                    <a:gd name="adj" fmla="val 5383"/>
                  </a:avLst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24" name="Rectangle 1123">
                  <a:extLst>
                    <a:ext uri="{FF2B5EF4-FFF2-40B4-BE49-F238E27FC236}">
                      <a16:creationId xmlns:a16="http://schemas.microsoft.com/office/drawing/2014/main" id="{8B782497-AD0D-4F1D-8020-01B5FB59402E}"/>
                    </a:ext>
                  </a:extLst>
                </p:cNvPr>
                <p:cNvSpPr/>
                <p:nvPr/>
              </p:nvSpPr>
              <p:spPr bwMode="auto">
                <a:xfrm>
                  <a:off x="10076286" y="1227089"/>
                  <a:ext cx="1109039" cy="720871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122" name="Rectangle 1121">
                <a:extLst>
                  <a:ext uri="{FF2B5EF4-FFF2-40B4-BE49-F238E27FC236}">
                    <a16:creationId xmlns:a16="http://schemas.microsoft.com/office/drawing/2014/main" id="{D0D049F8-8757-44E9-AA1E-8107CADD95DB}"/>
                  </a:ext>
                </a:extLst>
              </p:cNvPr>
              <p:cNvSpPr/>
              <p:nvPr/>
            </p:nvSpPr>
            <p:spPr bwMode="auto">
              <a:xfrm>
                <a:off x="10080833" y="1233173"/>
                <a:ext cx="825733" cy="7147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568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81" name="TextBox 1080">
              <a:extLst>
                <a:ext uri="{FF2B5EF4-FFF2-40B4-BE49-F238E27FC236}">
                  <a16:creationId xmlns:a16="http://schemas.microsoft.com/office/drawing/2014/main" id="{B71AA6AC-DB06-4265-8CD8-38F7A405A2EE}"/>
                </a:ext>
              </a:extLst>
            </p:cNvPr>
            <p:cNvSpPr txBox="1"/>
            <p:nvPr/>
          </p:nvSpPr>
          <p:spPr>
            <a:xfrm>
              <a:off x="11857678" y="5419606"/>
              <a:ext cx="376359" cy="606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ustomer</a:t>
              </a:r>
            </a:p>
          </p:txBody>
        </p:sp>
        <p:grpSp>
          <p:nvGrpSpPr>
            <p:cNvPr id="1127" name="Group 1126">
              <a:extLst>
                <a:ext uri="{FF2B5EF4-FFF2-40B4-BE49-F238E27FC236}">
                  <a16:creationId xmlns:a16="http://schemas.microsoft.com/office/drawing/2014/main" id="{4CDBE995-43FF-4720-ABEF-7FD5173BC5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854269" y="4904579"/>
              <a:ext cx="126326" cy="376574"/>
              <a:chOff x="5163056" y="28891"/>
              <a:chExt cx="313069" cy="933249"/>
            </a:xfrm>
          </p:grpSpPr>
          <p:sp>
            <p:nvSpPr>
              <p:cNvPr id="1129" name="Freeform: Shape 1128">
                <a:extLst>
                  <a:ext uri="{FF2B5EF4-FFF2-40B4-BE49-F238E27FC236}">
                    <a16:creationId xmlns:a16="http://schemas.microsoft.com/office/drawing/2014/main" id="{3EFD8DBF-830B-44C0-A3D5-1774F269C162}"/>
                  </a:ext>
                </a:extLst>
              </p:cNvPr>
              <p:cNvSpPr/>
              <p:nvPr/>
            </p:nvSpPr>
            <p:spPr>
              <a:xfrm>
                <a:off x="5213805" y="37714"/>
                <a:ext cx="9684" cy="101972"/>
              </a:xfrm>
              <a:custGeom>
                <a:avLst/>
                <a:gdLst>
                  <a:gd name="connsiteX0" fmla="*/ 471 w 9684"/>
                  <a:gd name="connsiteY0" fmla="*/ 0 h 101972"/>
                  <a:gd name="connsiteX1" fmla="*/ 1877 w 9684"/>
                  <a:gd name="connsiteY1" fmla="*/ 96507 h 101972"/>
                  <a:gd name="connsiteX2" fmla="*/ 9685 w 9684"/>
                  <a:gd name="connsiteY2" fmla="*/ 101973 h 101972"/>
                  <a:gd name="connsiteX3" fmla="*/ 5468 w 9684"/>
                  <a:gd name="connsiteY3" fmla="*/ 468 h 10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84" h="101972">
                    <a:moveTo>
                      <a:pt x="471" y="0"/>
                    </a:moveTo>
                    <a:cubicBezTo>
                      <a:pt x="471" y="0"/>
                      <a:pt x="-1246" y="24595"/>
                      <a:pt x="1877" y="96507"/>
                    </a:cubicBezTo>
                    <a:lnTo>
                      <a:pt x="9685" y="101973"/>
                    </a:lnTo>
                    <a:cubicBezTo>
                      <a:pt x="6015" y="68270"/>
                      <a:pt x="4607" y="34359"/>
                      <a:pt x="5468" y="468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0" name="Freeform: Shape 1129">
                <a:extLst>
                  <a:ext uri="{FF2B5EF4-FFF2-40B4-BE49-F238E27FC236}">
                    <a16:creationId xmlns:a16="http://schemas.microsoft.com/office/drawing/2014/main" id="{D0453CB1-F3E2-4A47-9885-DACD92C94EB9}"/>
                  </a:ext>
                </a:extLst>
              </p:cNvPr>
              <p:cNvSpPr/>
              <p:nvPr/>
            </p:nvSpPr>
            <p:spPr>
              <a:xfrm>
                <a:off x="5414942" y="153585"/>
                <a:ext cx="9247" cy="99942"/>
              </a:xfrm>
              <a:custGeom>
                <a:avLst/>
                <a:gdLst>
                  <a:gd name="connsiteX0" fmla="*/ 8745 w 9247"/>
                  <a:gd name="connsiteY0" fmla="*/ 5075 h 99942"/>
                  <a:gd name="connsiteX1" fmla="*/ 7340 w 9247"/>
                  <a:gd name="connsiteY1" fmla="*/ 99943 h 99942"/>
                  <a:gd name="connsiteX2" fmla="*/ 0 w 9247"/>
                  <a:gd name="connsiteY2" fmla="*/ 96897 h 99942"/>
                  <a:gd name="connsiteX3" fmla="*/ 4216 w 9247"/>
                  <a:gd name="connsiteY3" fmla="*/ 0 h 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47" h="99942">
                    <a:moveTo>
                      <a:pt x="8745" y="5075"/>
                    </a:moveTo>
                    <a:cubicBezTo>
                      <a:pt x="8745" y="5075"/>
                      <a:pt x="10541" y="31701"/>
                      <a:pt x="7340" y="99943"/>
                    </a:cubicBezTo>
                    <a:lnTo>
                      <a:pt x="0" y="96897"/>
                    </a:lnTo>
                    <a:cubicBezTo>
                      <a:pt x="3824" y="64749"/>
                      <a:pt x="5233" y="32359"/>
                      <a:pt x="4216" y="0"/>
                    </a:cubicBezTo>
                    <a:close/>
                  </a:path>
                </a:pathLst>
              </a:custGeom>
              <a:solidFill>
                <a:srgbClr val="BA274A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1" name="Freeform: Shape 1130">
                <a:extLst>
                  <a:ext uri="{FF2B5EF4-FFF2-40B4-BE49-F238E27FC236}">
                    <a16:creationId xmlns:a16="http://schemas.microsoft.com/office/drawing/2014/main" id="{730CABAE-AE36-4380-874F-FC31A5C6916C}"/>
                  </a:ext>
                </a:extLst>
              </p:cNvPr>
              <p:cNvSpPr/>
              <p:nvPr/>
            </p:nvSpPr>
            <p:spPr>
              <a:xfrm>
                <a:off x="5215681" y="134221"/>
                <a:ext cx="206599" cy="242204"/>
              </a:xfrm>
              <a:custGeom>
                <a:avLst/>
                <a:gdLst>
                  <a:gd name="connsiteX0" fmla="*/ 0 w 206599"/>
                  <a:gd name="connsiteY0" fmla="*/ 0 h 242204"/>
                  <a:gd name="connsiteX1" fmla="*/ 61059 w 206599"/>
                  <a:gd name="connsiteY1" fmla="*/ 192311 h 242204"/>
                  <a:gd name="connsiteX2" fmla="*/ 147415 w 206599"/>
                  <a:gd name="connsiteY2" fmla="*/ 242204 h 242204"/>
                  <a:gd name="connsiteX3" fmla="*/ 206600 w 206599"/>
                  <a:gd name="connsiteY3" fmla="*/ 119306 h 242204"/>
                  <a:gd name="connsiteX4" fmla="*/ 103925 w 206599"/>
                  <a:gd name="connsiteY4" fmla="*/ 90573 h 242204"/>
                  <a:gd name="connsiteX5" fmla="*/ 0 w 206599"/>
                  <a:gd name="connsiteY5" fmla="*/ 0 h 24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6599" h="242204">
                    <a:moveTo>
                      <a:pt x="0" y="0"/>
                    </a:moveTo>
                    <a:lnTo>
                      <a:pt x="61059" y="192311"/>
                    </a:lnTo>
                    <a:lnTo>
                      <a:pt x="147415" y="242204"/>
                    </a:lnTo>
                    <a:cubicBezTo>
                      <a:pt x="147415" y="242204"/>
                      <a:pt x="196293" y="142340"/>
                      <a:pt x="206600" y="119306"/>
                    </a:cubicBezTo>
                    <a:cubicBezTo>
                      <a:pt x="149523" y="71834"/>
                      <a:pt x="103925" y="90573"/>
                      <a:pt x="103925" y="90573"/>
                    </a:cubicBezTo>
                    <a:cubicBezTo>
                      <a:pt x="103925" y="90573"/>
                      <a:pt x="55437" y="25610"/>
                      <a:pt x="0" y="0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2" name="Freeform: Shape 1131">
                <a:extLst>
                  <a:ext uri="{FF2B5EF4-FFF2-40B4-BE49-F238E27FC236}">
                    <a16:creationId xmlns:a16="http://schemas.microsoft.com/office/drawing/2014/main" id="{C5AF4119-8748-4C43-BADA-79E40F0CC23F}"/>
                  </a:ext>
                </a:extLst>
              </p:cNvPr>
              <p:cNvSpPr/>
              <p:nvPr/>
            </p:nvSpPr>
            <p:spPr>
              <a:xfrm>
                <a:off x="5163056" y="322711"/>
                <a:ext cx="313069" cy="639429"/>
              </a:xfrm>
              <a:custGeom>
                <a:avLst/>
                <a:gdLst>
                  <a:gd name="connsiteX0" fmla="*/ 113685 w 313069"/>
                  <a:gd name="connsiteY0" fmla="*/ 3821 h 639429"/>
                  <a:gd name="connsiteX1" fmla="*/ 0 w 313069"/>
                  <a:gd name="connsiteY1" fmla="*/ 459341 h 639429"/>
                  <a:gd name="connsiteX2" fmla="*/ 155067 w 313069"/>
                  <a:gd name="connsiteY2" fmla="*/ 585674 h 639429"/>
                  <a:gd name="connsiteX3" fmla="*/ 311696 w 313069"/>
                  <a:gd name="connsiteY3" fmla="*/ 639315 h 639429"/>
                  <a:gd name="connsiteX4" fmla="*/ 200041 w 313069"/>
                  <a:gd name="connsiteY4" fmla="*/ 53714 h 639429"/>
                  <a:gd name="connsiteX5" fmla="*/ 113685 w 313069"/>
                  <a:gd name="connsiteY5" fmla="*/ 3821 h 63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069" h="639429">
                    <a:moveTo>
                      <a:pt x="113685" y="3821"/>
                    </a:moveTo>
                    <a:cubicBezTo>
                      <a:pt x="-19052" y="212764"/>
                      <a:pt x="4841" y="294982"/>
                      <a:pt x="0" y="459341"/>
                    </a:cubicBezTo>
                    <a:cubicBezTo>
                      <a:pt x="0" y="459341"/>
                      <a:pt x="53251" y="526880"/>
                      <a:pt x="155067" y="585674"/>
                    </a:cubicBezTo>
                    <a:cubicBezTo>
                      <a:pt x="256884" y="644468"/>
                      <a:pt x="311696" y="639315"/>
                      <a:pt x="311696" y="639315"/>
                    </a:cubicBezTo>
                    <a:cubicBezTo>
                      <a:pt x="311696" y="546400"/>
                      <a:pt x="333870" y="398360"/>
                      <a:pt x="200041" y="53714"/>
                    </a:cubicBezTo>
                    <a:cubicBezTo>
                      <a:pt x="200041" y="53714"/>
                      <a:pt x="160064" y="-16948"/>
                      <a:pt x="113685" y="3821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3" name="Freeform: Shape 1132">
                <a:extLst>
                  <a:ext uri="{FF2B5EF4-FFF2-40B4-BE49-F238E27FC236}">
                    <a16:creationId xmlns:a16="http://schemas.microsoft.com/office/drawing/2014/main" id="{A9A64B36-6890-4505-AED5-EEA12B14F311}"/>
                  </a:ext>
                </a:extLst>
              </p:cNvPr>
              <p:cNvSpPr/>
              <p:nvPr/>
            </p:nvSpPr>
            <p:spPr>
              <a:xfrm>
                <a:off x="5243010" y="153585"/>
                <a:ext cx="232984" cy="808555"/>
              </a:xfrm>
              <a:custGeom>
                <a:avLst/>
                <a:gdLst>
                  <a:gd name="connsiteX0" fmla="*/ 120087 w 232984"/>
                  <a:gd name="connsiteY0" fmla="*/ 222841 h 808555"/>
                  <a:gd name="connsiteX1" fmla="*/ 179272 w 232984"/>
                  <a:gd name="connsiteY1" fmla="*/ 99943 h 808555"/>
                  <a:gd name="connsiteX2" fmla="*/ 180677 w 232984"/>
                  <a:gd name="connsiteY2" fmla="*/ 5075 h 808555"/>
                  <a:gd name="connsiteX3" fmla="*/ 176149 w 232984"/>
                  <a:gd name="connsiteY3" fmla="*/ 0 h 808555"/>
                  <a:gd name="connsiteX4" fmla="*/ 172245 w 232984"/>
                  <a:gd name="connsiteY4" fmla="*/ 94477 h 808555"/>
                  <a:gd name="connsiteX5" fmla="*/ 158659 w 232984"/>
                  <a:gd name="connsiteY5" fmla="*/ 85185 h 808555"/>
                  <a:gd name="connsiteX6" fmla="*/ 99630 w 232984"/>
                  <a:gd name="connsiteY6" fmla="*/ 207615 h 808555"/>
                  <a:gd name="connsiteX7" fmla="*/ 211285 w 232984"/>
                  <a:gd name="connsiteY7" fmla="*/ 793216 h 808555"/>
                  <a:gd name="connsiteX8" fmla="*/ 54656 w 232984"/>
                  <a:gd name="connsiteY8" fmla="*/ 739575 h 808555"/>
                  <a:gd name="connsiteX9" fmla="*/ 0 w 232984"/>
                  <a:gd name="connsiteY9" fmla="*/ 704361 h 808555"/>
                  <a:gd name="connsiteX10" fmla="*/ 74801 w 232984"/>
                  <a:gd name="connsiteY10" fmla="*/ 754800 h 808555"/>
                  <a:gd name="connsiteX11" fmla="*/ 231429 w 232984"/>
                  <a:gd name="connsiteY11" fmla="*/ 808441 h 808555"/>
                  <a:gd name="connsiteX12" fmla="*/ 120087 w 232984"/>
                  <a:gd name="connsiteY12" fmla="*/ 222841 h 80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2984" h="808555">
                    <a:moveTo>
                      <a:pt x="120087" y="222841"/>
                    </a:moveTo>
                    <a:cubicBezTo>
                      <a:pt x="120087" y="222841"/>
                      <a:pt x="168965" y="122976"/>
                      <a:pt x="179272" y="99943"/>
                    </a:cubicBezTo>
                    <a:cubicBezTo>
                      <a:pt x="182473" y="31701"/>
                      <a:pt x="180677" y="5075"/>
                      <a:pt x="180677" y="5075"/>
                    </a:cubicBezTo>
                    <a:lnTo>
                      <a:pt x="176149" y="0"/>
                    </a:lnTo>
                    <a:cubicBezTo>
                      <a:pt x="177087" y="31545"/>
                      <a:pt x="175783" y="63117"/>
                      <a:pt x="172245" y="94477"/>
                    </a:cubicBezTo>
                    <a:cubicBezTo>
                      <a:pt x="167881" y="91146"/>
                      <a:pt x="163346" y="88044"/>
                      <a:pt x="158659" y="85185"/>
                    </a:cubicBezTo>
                    <a:cubicBezTo>
                      <a:pt x="147728" y="109703"/>
                      <a:pt x="99630" y="207615"/>
                      <a:pt x="99630" y="207615"/>
                    </a:cubicBezTo>
                    <a:cubicBezTo>
                      <a:pt x="233459" y="552339"/>
                      <a:pt x="211285" y="700300"/>
                      <a:pt x="211285" y="793216"/>
                    </a:cubicBezTo>
                    <a:cubicBezTo>
                      <a:pt x="211285" y="793216"/>
                      <a:pt x="156629" y="798369"/>
                      <a:pt x="54656" y="739575"/>
                    </a:cubicBezTo>
                    <a:cubicBezTo>
                      <a:pt x="35860" y="728761"/>
                      <a:pt x="17618" y="717009"/>
                      <a:pt x="0" y="704361"/>
                    </a:cubicBezTo>
                    <a:cubicBezTo>
                      <a:pt x="23740" y="722881"/>
                      <a:pt x="48734" y="739731"/>
                      <a:pt x="74801" y="754800"/>
                    </a:cubicBezTo>
                    <a:cubicBezTo>
                      <a:pt x="176305" y="813594"/>
                      <a:pt x="231429" y="808441"/>
                      <a:pt x="231429" y="808441"/>
                    </a:cubicBezTo>
                    <a:cubicBezTo>
                      <a:pt x="231742" y="715526"/>
                      <a:pt x="253916" y="567486"/>
                      <a:pt x="120087" y="222841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4" name="Freeform: Shape 1133">
                <a:extLst>
                  <a:ext uri="{FF2B5EF4-FFF2-40B4-BE49-F238E27FC236}">
                    <a16:creationId xmlns:a16="http://schemas.microsoft.com/office/drawing/2014/main" id="{67C9F215-C993-465D-A129-7F2508EF5DF9}"/>
                  </a:ext>
                </a:extLst>
              </p:cNvPr>
              <p:cNvSpPr/>
              <p:nvPr/>
            </p:nvSpPr>
            <p:spPr>
              <a:xfrm>
                <a:off x="5419002" y="151086"/>
                <a:ext cx="10696" cy="16943"/>
              </a:xfrm>
              <a:custGeom>
                <a:avLst/>
                <a:gdLst>
                  <a:gd name="connsiteX0" fmla="*/ 0 w 10696"/>
                  <a:gd name="connsiteY0" fmla="*/ 10775 h 16943"/>
                  <a:gd name="connsiteX1" fmla="*/ 10697 w 10696"/>
                  <a:gd name="connsiteY1" fmla="*/ 16943 h 16943"/>
                  <a:gd name="connsiteX2" fmla="*/ 10697 w 10696"/>
                  <a:gd name="connsiteY2" fmla="*/ 6090 h 16943"/>
                  <a:gd name="connsiteX3" fmla="*/ 0 w 10696"/>
                  <a:gd name="connsiteY3" fmla="*/ 0 h 16943"/>
                  <a:gd name="connsiteX4" fmla="*/ 0 w 10696"/>
                  <a:gd name="connsiteY4" fmla="*/ 10775 h 1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6" h="16943">
                    <a:moveTo>
                      <a:pt x="0" y="10775"/>
                    </a:moveTo>
                    <a:lnTo>
                      <a:pt x="10697" y="16943"/>
                    </a:lnTo>
                    <a:lnTo>
                      <a:pt x="10697" y="6090"/>
                    </a:lnTo>
                    <a:lnTo>
                      <a:pt x="0" y="0"/>
                    </a:lnTo>
                    <a:lnTo>
                      <a:pt x="0" y="10775"/>
                    </a:lnTo>
                    <a:close/>
                  </a:path>
                </a:pathLst>
              </a:custGeom>
              <a:solidFill>
                <a:srgbClr val="2E475E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1135" name="Freeform: Shape 1134">
                <a:extLst>
                  <a:ext uri="{FF2B5EF4-FFF2-40B4-BE49-F238E27FC236}">
                    <a16:creationId xmlns:a16="http://schemas.microsoft.com/office/drawing/2014/main" id="{A4EEBD4C-1E5F-474F-8F71-D1DE92A79250}"/>
                  </a:ext>
                </a:extLst>
              </p:cNvPr>
              <p:cNvSpPr/>
              <p:nvPr/>
            </p:nvSpPr>
            <p:spPr>
              <a:xfrm>
                <a:off x="5207405" y="28891"/>
                <a:ext cx="10696" cy="17021"/>
              </a:xfrm>
              <a:custGeom>
                <a:avLst/>
                <a:gdLst>
                  <a:gd name="connsiteX0" fmla="*/ 0 w 10696"/>
                  <a:gd name="connsiteY0" fmla="*/ 10853 h 17021"/>
                  <a:gd name="connsiteX1" fmla="*/ 10697 w 10696"/>
                  <a:gd name="connsiteY1" fmla="*/ 17021 h 17021"/>
                  <a:gd name="connsiteX2" fmla="*/ 10697 w 10696"/>
                  <a:gd name="connsiteY2" fmla="*/ 6168 h 17021"/>
                  <a:gd name="connsiteX3" fmla="*/ 0 w 10696"/>
                  <a:gd name="connsiteY3" fmla="*/ 0 h 17021"/>
                  <a:gd name="connsiteX4" fmla="*/ 0 w 10696"/>
                  <a:gd name="connsiteY4" fmla="*/ 10853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6" h="17021">
                    <a:moveTo>
                      <a:pt x="0" y="10853"/>
                    </a:moveTo>
                    <a:lnTo>
                      <a:pt x="10697" y="17021"/>
                    </a:lnTo>
                    <a:lnTo>
                      <a:pt x="10697" y="6168"/>
                    </a:lnTo>
                    <a:lnTo>
                      <a:pt x="0" y="0"/>
                    </a:lnTo>
                    <a:lnTo>
                      <a:pt x="0" y="10853"/>
                    </a:lnTo>
                    <a:close/>
                  </a:path>
                </a:pathLst>
              </a:custGeom>
              <a:solidFill>
                <a:srgbClr val="2E475E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</p:grpSp>
        <p:sp>
          <p:nvSpPr>
            <p:cNvPr id="1128" name="TextBox 1127">
              <a:extLst>
                <a:ext uri="{FF2B5EF4-FFF2-40B4-BE49-F238E27FC236}">
                  <a16:creationId xmlns:a16="http://schemas.microsoft.com/office/drawing/2014/main" id="{5D36F86E-E730-4901-A51D-DC343F3E6FA3}"/>
                </a:ext>
              </a:extLst>
            </p:cNvPr>
            <p:cNvSpPr txBox="1"/>
            <p:nvPr/>
          </p:nvSpPr>
          <p:spPr>
            <a:xfrm>
              <a:off x="12021980" y="4913583"/>
              <a:ext cx="236887" cy="4069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IZE S M L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LOR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REEN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ICE</a:t>
              </a:r>
            </a:p>
            <a:p>
              <a:pPr>
                <a:lnSpc>
                  <a:spcPct val="150000"/>
                </a:lnSpc>
              </a:pPr>
              <a:endParaRPr lang="en-US" sz="294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$123.45</a:t>
              </a:r>
            </a:p>
          </p:txBody>
        </p:sp>
      </p:grpSp>
      <p:grpSp>
        <p:nvGrpSpPr>
          <p:cNvPr id="982" name="5 CUSTOMER WITH DRESS TO CHECK OUT">
            <a:extLst>
              <a:ext uri="{FF2B5EF4-FFF2-40B4-BE49-F238E27FC236}">
                <a16:creationId xmlns:a16="http://schemas.microsoft.com/office/drawing/2014/main" id="{D133C962-EF2A-429E-AFE7-568CA99EAAAE}"/>
              </a:ext>
            </a:extLst>
          </p:cNvPr>
          <p:cNvGrpSpPr/>
          <p:nvPr/>
        </p:nvGrpSpPr>
        <p:grpSpPr>
          <a:xfrm>
            <a:off x="3322510" y="2529960"/>
            <a:ext cx="669265" cy="2573747"/>
            <a:chOff x="5477738" y="2886704"/>
            <a:chExt cx="682685" cy="2625356"/>
          </a:xfrm>
        </p:grpSpPr>
        <p:grpSp>
          <p:nvGrpSpPr>
            <p:cNvPr id="932" name="Customer - walks TO MIRROR">
              <a:extLst>
                <a:ext uri="{FF2B5EF4-FFF2-40B4-BE49-F238E27FC236}">
                  <a16:creationId xmlns:a16="http://schemas.microsoft.com/office/drawing/2014/main" id="{F7F1580E-4F11-4F07-8C4E-876763A9ED5B}"/>
                </a:ext>
              </a:extLst>
            </p:cNvPr>
            <p:cNvGrpSpPr/>
            <p:nvPr/>
          </p:nvGrpSpPr>
          <p:grpSpPr>
            <a:xfrm>
              <a:off x="5477738" y="2886704"/>
              <a:ext cx="549771" cy="2625356"/>
              <a:chOff x="718877" y="1766194"/>
              <a:chExt cx="465864" cy="2224672"/>
            </a:xfrm>
            <a:solidFill>
              <a:schemeClr val="accent1"/>
            </a:solidFill>
          </p:grpSpPr>
          <p:sp>
            <p:nvSpPr>
              <p:cNvPr id="933" name="Freeform: Shape 932">
                <a:extLst>
                  <a:ext uri="{FF2B5EF4-FFF2-40B4-BE49-F238E27FC236}">
                    <a16:creationId xmlns:a16="http://schemas.microsoft.com/office/drawing/2014/main" id="{46B9C2D3-0DAD-4478-A7B7-960F5EC056B2}"/>
                  </a:ext>
                </a:extLst>
              </p:cNvPr>
              <p:cNvSpPr/>
              <p:nvPr/>
            </p:nvSpPr>
            <p:spPr>
              <a:xfrm>
                <a:off x="741639" y="2465000"/>
                <a:ext cx="68543" cy="366331"/>
              </a:xfrm>
              <a:custGeom>
                <a:avLst/>
                <a:gdLst>
                  <a:gd name="connsiteX0" fmla="*/ 0 w 68543"/>
                  <a:gd name="connsiteY0" fmla="*/ 6001 h 366331"/>
                  <a:gd name="connsiteX1" fmla="*/ 38576 w 68543"/>
                  <a:gd name="connsiteY1" fmla="*/ 366332 h 366331"/>
                  <a:gd name="connsiteX2" fmla="*/ 50578 w 68543"/>
                  <a:gd name="connsiteY2" fmla="*/ 366332 h 366331"/>
                  <a:gd name="connsiteX3" fmla="*/ 63532 w 68543"/>
                  <a:gd name="connsiteY3" fmla="*/ 0 h 366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43" h="366331">
                    <a:moveTo>
                      <a:pt x="0" y="6001"/>
                    </a:moveTo>
                    <a:cubicBezTo>
                      <a:pt x="0" y="6001"/>
                      <a:pt x="2477" y="222123"/>
                      <a:pt x="38576" y="366332"/>
                    </a:cubicBezTo>
                    <a:lnTo>
                      <a:pt x="50578" y="366332"/>
                    </a:lnTo>
                    <a:cubicBezTo>
                      <a:pt x="50578" y="366332"/>
                      <a:pt x="80010" y="167926"/>
                      <a:pt x="6353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4" name="Freeform: Shape 933">
                <a:extLst>
                  <a:ext uri="{FF2B5EF4-FFF2-40B4-BE49-F238E27FC236}">
                    <a16:creationId xmlns:a16="http://schemas.microsoft.com/office/drawing/2014/main" id="{EC018614-F4A5-45A2-9A14-2BF660AE1CE7}"/>
                  </a:ext>
                </a:extLst>
              </p:cNvPr>
              <p:cNvSpPr/>
              <p:nvPr/>
            </p:nvSpPr>
            <p:spPr>
              <a:xfrm>
                <a:off x="732315" y="2077428"/>
                <a:ext cx="90960" cy="443934"/>
              </a:xfrm>
              <a:custGeom>
                <a:avLst/>
                <a:gdLst>
                  <a:gd name="connsiteX0" fmla="*/ 37232 w 90960"/>
                  <a:gd name="connsiteY0" fmla="*/ 0 h 443934"/>
                  <a:gd name="connsiteX1" fmla="*/ 2942 w 90960"/>
                  <a:gd name="connsiteY1" fmla="*/ 75248 h 443934"/>
                  <a:gd name="connsiteX2" fmla="*/ 28660 w 90960"/>
                  <a:gd name="connsiteY2" fmla="*/ 442341 h 443934"/>
                  <a:gd name="connsiteX3" fmla="*/ 89048 w 90960"/>
                  <a:gd name="connsiteY3" fmla="*/ 167545 h 443934"/>
                  <a:gd name="connsiteX4" fmla="*/ 37232 w 90960"/>
                  <a:gd name="connsiteY4" fmla="*/ 0 h 443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960" h="443934">
                    <a:moveTo>
                      <a:pt x="37232" y="0"/>
                    </a:moveTo>
                    <a:cubicBezTo>
                      <a:pt x="37232" y="0"/>
                      <a:pt x="5609" y="11906"/>
                      <a:pt x="2942" y="75248"/>
                    </a:cubicBezTo>
                    <a:cubicBezTo>
                      <a:pt x="-1535" y="186976"/>
                      <a:pt x="-5630" y="429006"/>
                      <a:pt x="28660" y="442341"/>
                    </a:cubicBezTo>
                    <a:cubicBezTo>
                      <a:pt x="95335" y="468344"/>
                      <a:pt x="89048" y="167545"/>
                      <a:pt x="89048" y="167545"/>
                    </a:cubicBezTo>
                    <a:cubicBezTo>
                      <a:pt x="89048" y="167545"/>
                      <a:pt x="106288" y="16478"/>
                      <a:pt x="3723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5" name="Freeform: Shape 934">
                <a:extLst>
                  <a:ext uri="{FF2B5EF4-FFF2-40B4-BE49-F238E27FC236}">
                    <a16:creationId xmlns:a16="http://schemas.microsoft.com/office/drawing/2014/main" id="{D1DD88D6-5F73-4DA8-B39E-DF9C28D74220}"/>
                  </a:ext>
                </a:extLst>
              </p:cNvPr>
              <p:cNvSpPr/>
              <p:nvPr/>
            </p:nvSpPr>
            <p:spPr>
              <a:xfrm>
                <a:off x="765119" y="3122415"/>
                <a:ext cx="159399" cy="729043"/>
              </a:xfrm>
              <a:custGeom>
                <a:avLst/>
                <a:gdLst>
                  <a:gd name="connsiteX0" fmla="*/ 159400 w 159399"/>
                  <a:gd name="connsiteY0" fmla="*/ 52388 h 729043"/>
                  <a:gd name="connsiteX1" fmla="*/ 125777 w 159399"/>
                  <a:gd name="connsiteY1" fmla="*/ 349187 h 729043"/>
                  <a:gd name="connsiteX2" fmla="*/ 90439 w 159399"/>
                  <a:gd name="connsiteY2" fmla="*/ 729043 h 729043"/>
                  <a:gd name="connsiteX3" fmla="*/ 62721 w 159399"/>
                  <a:gd name="connsiteY3" fmla="*/ 723424 h 729043"/>
                  <a:gd name="connsiteX4" fmla="*/ 142 w 159399"/>
                  <a:gd name="connsiteY4" fmla="*/ 318611 h 729043"/>
                  <a:gd name="connsiteX5" fmla="*/ 52625 w 159399"/>
                  <a:gd name="connsiteY5" fmla="*/ 139160 h 729043"/>
                  <a:gd name="connsiteX6" fmla="*/ 37385 w 159399"/>
                  <a:gd name="connsiteY6" fmla="*/ 0 h 72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399" h="729043">
                    <a:moveTo>
                      <a:pt x="159400" y="52388"/>
                    </a:moveTo>
                    <a:cubicBezTo>
                      <a:pt x="159400" y="52388"/>
                      <a:pt x="142541" y="177260"/>
                      <a:pt x="125777" y="349187"/>
                    </a:cubicBezTo>
                    <a:cubicBezTo>
                      <a:pt x="113204" y="478060"/>
                      <a:pt x="90248" y="572072"/>
                      <a:pt x="90439" y="729043"/>
                    </a:cubicBezTo>
                    <a:cubicBezTo>
                      <a:pt x="90439" y="729043"/>
                      <a:pt x="92439" y="723424"/>
                      <a:pt x="62721" y="723424"/>
                    </a:cubicBezTo>
                    <a:cubicBezTo>
                      <a:pt x="50053" y="664559"/>
                      <a:pt x="-3097" y="379190"/>
                      <a:pt x="142" y="318611"/>
                    </a:cubicBezTo>
                    <a:cubicBezTo>
                      <a:pt x="3380" y="258032"/>
                      <a:pt x="52625" y="139160"/>
                      <a:pt x="52625" y="139160"/>
                    </a:cubicBezTo>
                    <a:lnTo>
                      <a:pt x="37385" y="0"/>
                    </a:ln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6" name="Freeform: Shape 935">
                <a:extLst>
                  <a:ext uri="{FF2B5EF4-FFF2-40B4-BE49-F238E27FC236}">
                    <a16:creationId xmlns:a16="http://schemas.microsoft.com/office/drawing/2014/main" id="{88CEC5DA-BF0F-445B-BFEA-95A46F3E30D8}"/>
                  </a:ext>
                </a:extLst>
              </p:cNvPr>
              <p:cNvSpPr/>
              <p:nvPr/>
            </p:nvSpPr>
            <p:spPr>
              <a:xfrm>
                <a:off x="830127" y="3887555"/>
                <a:ext cx="47720" cy="42961"/>
              </a:xfrm>
              <a:custGeom>
                <a:avLst/>
                <a:gdLst>
                  <a:gd name="connsiteX0" fmla="*/ 47720 w 47720"/>
                  <a:gd name="connsiteY0" fmla="*/ 42962 h 42961"/>
                  <a:gd name="connsiteX1" fmla="*/ 25336 w 47720"/>
                  <a:gd name="connsiteY1" fmla="*/ 28579 h 42961"/>
                  <a:gd name="connsiteX2" fmla="*/ 0 w 47720"/>
                  <a:gd name="connsiteY2" fmla="*/ 4 h 42961"/>
                  <a:gd name="connsiteX3" fmla="*/ 47720 w 47720"/>
                  <a:gd name="connsiteY3" fmla="*/ 42962 h 4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720" h="42961">
                    <a:moveTo>
                      <a:pt x="47720" y="42962"/>
                    </a:moveTo>
                    <a:cubicBezTo>
                      <a:pt x="39772" y="38971"/>
                      <a:pt x="32268" y="34151"/>
                      <a:pt x="25336" y="28579"/>
                    </a:cubicBezTo>
                    <a:cubicBezTo>
                      <a:pt x="25336" y="28579"/>
                      <a:pt x="23717" y="14863"/>
                      <a:pt x="0" y="4"/>
                    </a:cubicBezTo>
                    <a:cubicBezTo>
                      <a:pt x="0" y="-282"/>
                      <a:pt x="45529" y="15149"/>
                      <a:pt x="47720" y="42962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7" name="Freeform: Shape 936">
                <a:extLst>
                  <a:ext uri="{FF2B5EF4-FFF2-40B4-BE49-F238E27FC236}">
                    <a16:creationId xmlns:a16="http://schemas.microsoft.com/office/drawing/2014/main" id="{DFDF4C4D-6DF6-4B39-BF99-9021C79DA956}"/>
                  </a:ext>
                </a:extLst>
              </p:cNvPr>
              <p:cNvSpPr/>
              <p:nvPr/>
            </p:nvSpPr>
            <p:spPr>
              <a:xfrm>
                <a:off x="820598" y="3841553"/>
                <a:ext cx="88993" cy="88963"/>
              </a:xfrm>
              <a:custGeom>
                <a:avLst/>
                <a:gdLst>
                  <a:gd name="connsiteX0" fmla="*/ 6671 w 88993"/>
                  <a:gd name="connsiteY0" fmla="*/ 4667 h 88963"/>
                  <a:gd name="connsiteX1" fmla="*/ 9529 w 88993"/>
                  <a:gd name="connsiteY1" fmla="*/ 45720 h 88963"/>
                  <a:gd name="connsiteX2" fmla="*/ 57154 w 88993"/>
                  <a:gd name="connsiteY2" fmla="*/ 88963 h 88963"/>
                  <a:gd name="connsiteX3" fmla="*/ 84395 w 88993"/>
                  <a:gd name="connsiteY3" fmla="*/ 46101 h 88963"/>
                  <a:gd name="connsiteX4" fmla="*/ 55820 w 88993"/>
                  <a:gd name="connsiteY4" fmla="*/ 47339 h 88963"/>
                  <a:gd name="connsiteX5" fmla="*/ 22102 w 88993"/>
                  <a:gd name="connsiteY5" fmla="*/ 1810 h 88963"/>
                  <a:gd name="connsiteX6" fmla="*/ 11719 w 88993"/>
                  <a:gd name="connsiteY6" fmla="*/ 0 h 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93" h="88963">
                    <a:moveTo>
                      <a:pt x="6671" y="4667"/>
                    </a:moveTo>
                    <a:cubicBezTo>
                      <a:pt x="6671" y="4667"/>
                      <a:pt x="-10093" y="35909"/>
                      <a:pt x="9529" y="45720"/>
                    </a:cubicBezTo>
                    <a:cubicBezTo>
                      <a:pt x="32579" y="57150"/>
                      <a:pt x="52867" y="76200"/>
                      <a:pt x="57154" y="88963"/>
                    </a:cubicBezTo>
                    <a:cubicBezTo>
                      <a:pt x="57154" y="88963"/>
                      <a:pt x="103445" y="56483"/>
                      <a:pt x="84395" y="46101"/>
                    </a:cubicBezTo>
                    <a:cubicBezTo>
                      <a:pt x="75156" y="42262"/>
                      <a:pt x="64693" y="42720"/>
                      <a:pt x="55820" y="47339"/>
                    </a:cubicBezTo>
                    <a:lnTo>
                      <a:pt x="22102" y="1810"/>
                    </a:lnTo>
                    <a:lnTo>
                      <a:pt x="11719" y="0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8" name="Freeform: Shape 937">
                <a:extLst>
                  <a:ext uri="{FF2B5EF4-FFF2-40B4-BE49-F238E27FC236}">
                    <a16:creationId xmlns:a16="http://schemas.microsoft.com/office/drawing/2014/main" id="{522F1E48-C391-469C-A4C0-E8E77AC6F397}"/>
                  </a:ext>
                </a:extLst>
              </p:cNvPr>
              <p:cNvSpPr/>
              <p:nvPr/>
            </p:nvSpPr>
            <p:spPr>
              <a:xfrm>
                <a:off x="827269" y="3834153"/>
                <a:ext cx="63827" cy="65422"/>
              </a:xfrm>
              <a:custGeom>
                <a:avLst/>
                <a:gdLst>
                  <a:gd name="connsiteX0" fmla="*/ 0 w 63827"/>
                  <a:gd name="connsiteY0" fmla="*/ 12067 h 65422"/>
                  <a:gd name="connsiteX1" fmla="*/ 18383 w 63827"/>
                  <a:gd name="connsiteY1" fmla="*/ 15115 h 65422"/>
                  <a:gd name="connsiteX2" fmla="*/ 52102 w 63827"/>
                  <a:gd name="connsiteY2" fmla="*/ 65216 h 65422"/>
                  <a:gd name="connsiteX3" fmla="*/ 53531 w 63827"/>
                  <a:gd name="connsiteY3" fmla="*/ 52834 h 65422"/>
                  <a:gd name="connsiteX4" fmla="*/ 29623 w 63827"/>
                  <a:gd name="connsiteY4" fmla="*/ 14734 h 65422"/>
                  <a:gd name="connsiteX5" fmla="*/ 0 w 63827"/>
                  <a:gd name="connsiteY5" fmla="*/ 12067 h 6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827" h="65422">
                    <a:moveTo>
                      <a:pt x="0" y="12067"/>
                    </a:moveTo>
                    <a:cubicBezTo>
                      <a:pt x="0" y="12067"/>
                      <a:pt x="7525" y="3304"/>
                      <a:pt x="18383" y="15115"/>
                    </a:cubicBezTo>
                    <a:cubicBezTo>
                      <a:pt x="29242" y="26926"/>
                      <a:pt x="40291" y="61692"/>
                      <a:pt x="52102" y="65216"/>
                    </a:cubicBezTo>
                    <a:cubicBezTo>
                      <a:pt x="59055" y="67407"/>
                      <a:pt x="73819" y="51405"/>
                      <a:pt x="53531" y="52834"/>
                    </a:cubicBezTo>
                    <a:cubicBezTo>
                      <a:pt x="46958" y="49690"/>
                      <a:pt x="43148" y="40927"/>
                      <a:pt x="29623" y="14734"/>
                    </a:cubicBezTo>
                    <a:cubicBezTo>
                      <a:pt x="29623" y="14829"/>
                      <a:pt x="18288" y="-16604"/>
                      <a:pt x="0" y="12067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39" name="Freeform: Shape 938">
                <a:extLst>
                  <a:ext uri="{FF2B5EF4-FFF2-40B4-BE49-F238E27FC236}">
                    <a16:creationId xmlns:a16="http://schemas.microsoft.com/office/drawing/2014/main" id="{5C437277-D9F9-4514-8B08-8F6B27C99326}"/>
                  </a:ext>
                </a:extLst>
              </p:cNvPr>
              <p:cNvSpPr/>
              <p:nvPr/>
            </p:nvSpPr>
            <p:spPr>
              <a:xfrm>
                <a:off x="824792" y="3883177"/>
                <a:ext cx="19526" cy="54063"/>
              </a:xfrm>
              <a:custGeom>
                <a:avLst/>
                <a:gdLst>
                  <a:gd name="connsiteX0" fmla="*/ 19526 w 19526"/>
                  <a:gd name="connsiteY0" fmla="*/ 8477 h 54063"/>
                  <a:gd name="connsiteX1" fmla="*/ 13621 w 19526"/>
                  <a:gd name="connsiteY1" fmla="*/ 53150 h 54063"/>
                  <a:gd name="connsiteX2" fmla="*/ 7715 w 19526"/>
                  <a:gd name="connsiteY2" fmla="*/ 53150 h 54063"/>
                  <a:gd name="connsiteX3" fmla="*/ 0 w 19526"/>
                  <a:gd name="connsiteY3" fmla="*/ 0 h 5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26" h="54063">
                    <a:moveTo>
                      <a:pt x="19526" y="8477"/>
                    </a:moveTo>
                    <a:cubicBezTo>
                      <a:pt x="14772" y="22870"/>
                      <a:pt x="12769" y="38024"/>
                      <a:pt x="13621" y="53150"/>
                    </a:cubicBezTo>
                    <a:cubicBezTo>
                      <a:pt x="11840" y="54369"/>
                      <a:pt x="9496" y="54369"/>
                      <a:pt x="7715" y="53150"/>
                    </a:cubicBezTo>
                    <a:cubicBezTo>
                      <a:pt x="7715" y="53150"/>
                      <a:pt x="6572" y="10668"/>
                      <a:pt x="0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0" name="Freeform: Shape 939">
                <a:extLst>
                  <a:ext uri="{FF2B5EF4-FFF2-40B4-BE49-F238E27FC236}">
                    <a16:creationId xmlns:a16="http://schemas.microsoft.com/office/drawing/2014/main" id="{3994AD58-03B8-4874-9DDD-32A195EEE106}"/>
                  </a:ext>
                </a:extLst>
              </p:cNvPr>
              <p:cNvSpPr/>
              <p:nvPr/>
            </p:nvSpPr>
            <p:spPr>
              <a:xfrm>
                <a:off x="858369" y="3178041"/>
                <a:ext cx="159590" cy="726471"/>
              </a:xfrm>
              <a:custGeom>
                <a:avLst/>
                <a:gdLst>
                  <a:gd name="connsiteX0" fmla="*/ 159590 w 159590"/>
                  <a:gd name="connsiteY0" fmla="*/ 52673 h 726471"/>
                  <a:gd name="connsiteX1" fmla="*/ 125967 w 159590"/>
                  <a:gd name="connsiteY1" fmla="*/ 349472 h 726471"/>
                  <a:gd name="connsiteX2" fmla="*/ 91391 w 159590"/>
                  <a:gd name="connsiteY2" fmla="*/ 726472 h 726471"/>
                  <a:gd name="connsiteX3" fmla="*/ 62816 w 159590"/>
                  <a:gd name="connsiteY3" fmla="*/ 723710 h 726471"/>
                  <a:gd name="connsiteX4" fmla="*/ 142 w 159590"/>
                  <a:gd name="connsiteY4" fmla="*/ 318897 h 726471"/>
                  <a:gd name="connsiteX5" fmla="*/ 52720 w 159590"/>
                  <a:gd name="connsiteY5" fmla="*/ 139065 h 726471"/>
                  <a:gd name="connsiteX6" fmla="*/ 37384 w 159590"/>
                  <a:gd name="connsiteY6" fmla="*/ 0 h 726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590" h="726471">
                    <a:moveTo>
                      <a:pt x="159590" y="52673"/>
                    </a:moveTo>
                    <a:cubicBezTo>
                      <a:pt x="159590" y="52673"/>
                      <a:pt x="142731" y="177737"/>
                      <a:pt x="125967" y="349472"/>
                    </a:cubicBezTo>
                    <a:cubicBezTo>
                      <a:pt x="113394" y="478441"/>
                      <a:pt x="91296" y="569405"/>
                      <a:pt x="91391" y="726472"/>
                    </a:cubicBezTo>
                    <a:cubicBezTo>
                      <a:pt x="91391" y="726472"/>
                      <a:pt x="92534" y="723710"/>
                      <a:pt x="62816" y="723710"/>
                    </a:cubicBezTo>
                    <a:cubicBezTo>
                      <a:pt x="50148" y="664940"/>
                      <a:pt x="-3097" y="379476"/>
                      <a:pt x="142" y="318897"/>
                    </a:cubicBezTo>
                    <a:cubicBezTo>
                      <a:pt x="3380" y="258318"/>
                      <a:pt x="52720" y="139065"/>
                      <a:pt x="52720" y="139065"/>
                    </a:cubicBezTo>
                    <a:lnTo>
                      <a:pt x="37384" y="0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1" name="Freeform: Shape 940">
                <a:extLst>
                  <a:ext uri="{FF2B5EF4-FFF2-40B4-BE49-F238E27FC236}">
                    <a16:creationId xmlns:a16="http://schemas.microsoft.com/office/drawing/2014/main" id="{DA64C428-EA85-4411-8D4E-2A9335876CA3}"/>
                  </a:ext>
                </a:extLst>
              </p:cNvPr>
              <p:cNvSpPr/>
              <p:nvPr/>
            </p:nvSpPr>
            <p:spPr>
              <a:xfrm>
                <a:off x="923567" y="3941180"/>
                <a:ext cx="47815" cy="42961"/>
              </a:xfrm>
              <a:custGeom>
                <a:avLst/>
                <a:gdLst>
                  <a:gd name="connsiteX0" fmla="*/ 47816 w 47815"/>
                  <a:gd name="connsiteY0" fmla="*/ 42962 h 42961"/>
                  <a:gd name="connsiteX1" fmla="*/ 25336 w 47815"/>
                  <a:gd name="connsiteY1" fmla="*/ 28579 h 42961"/>
                  <a:gd name="connsiteX2" fmla="*/ 0 w 47815"/>
                  <a:gd name="connsiteY2" fmla="*/ 4 h 42961"/>
                  <a:gd name="connsiteX3" fmla="*/ 47816 w 47815"/>
                  <a:gd name="connsiteY3" fmla="*/ 42962 h 4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815" h="42961">
                    <a:moveTo>
                      <a:pt x="47816" y="42962"/>
                    </a:moveTo>
                    <a:cubicBezTo>
                      <a:pt x="39847" y="38952"/>
                      <a:pt x="32314" y="34132"/>
                      <a:pt x="25336" y="28579"/>
                    </a:cubicBezTo>
                    <a:cubicBezTo>
                      <a:pt x="25336" y="28579"/>
                      <a:pt x="23813" y="14863"/>
                      <a:pt x="0" y="4"/>
                    </a:cubicBezTo>
                    <a:cubicBezTo>
                      <a:pt x="0" y="-282"/>
                      <a:pt x="45530" y="15149"/>
                      <a:pt x="47816" y="42962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2" name="Freeform: Shape 941">
                <a:extLst>
                  <a:ext uri="{FF2B5EF4-FFF2-40B4-BE49-F238E27FC236}">
                    <a16:creationId xmlns:a16="http://schemas.microsoft.com/office/drawing/2014/main" id="{87C5522E-C6F3-4864-95F5-0758E708994C}"/>
                  </a:ext>
                </a:extLst>
              </p:cNvPr>
              <p:cNvSpPr/>
              <p:nvPr/>
            </p:nvSpPr>
            <p:spPr>
              <a:xfrm>
                <a:off x="914067" y="3895083"/>
                <a:ext cx="88964" cy="88963"/>
              </a:xfrm>
              <a:custGeom>
                <a:avLst/>
                <a:gdLst>
                  <a:gd name="connsiteX0" fmla="*/ 6737 w 88964"/>
                  <a:gd name="connsiteY0" fmla="*/ 4667 h 88963"/>
                  <a:gd name="connsiteX1" fmla="*/ 9499 w 88964"/>
                  <a:gd name="connsiteY1" fmla="*/ 45720 h 88963"/>
                  <a:gd name="connsiteX2" fmla="*/ 57124 w 88964"/>
                  <a:gd name="connsiteY2" fmla="*/ 88964 h 88963"/>
                  <a:gd name="connsiteX3" fmla="*/ 84366 w 88964"/>
                  <a:gd name="connsiteY3" fmla="*/ 46101 h 88963"/>
                  <a:gd name="connsiteX4" fmla="*/ 55791 w 88964"/>
                  <a:gd name="connsiteY4" fmla="*/ 47339 h 88963"/>
                  <a:gd name="connsiteX5" fmla="*/ 21977 w 88964"/>
                  <a:gd name="connsiteY5" fmla="*/ 1810 h 88963"/>
                  <a:gd name="connsiteX6" fmla="*/ 11595 w 88964"/>
                  <a:gd name="connsiteY6" fmla="*/ 0 h 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64" h="88963">
                    <a:moveTo>
                      <a:pt x="6737" y="4667"/>
                    </a:moveTo>
                    <a:cubicBezTo>
                      <a:pt x="6737" y="4667"/>
                      <a:pt x="-10122" y="35909"/>
                      <a:pt x="9499" y="45720"/>
                    </a:cubicBezTo>
                    <a:cubicBezTo>
                      <a:pt x="32550" y="57150"/>
                      <a:pt x="52838" y="76200"/>
                      <a:pt x="57124" y="88964"/>
                    </a:cubicBezTo>
                    <a:cubicBezTo>
                      <a:pt x="57124" y="88964"/>
                      <a:pt x="103416" y="56483"/>
                      <a:pt x="84366" y="46101"/>
                    </a:cubicBezTo>
                    <a:cubicBezTo>
                      <a:pt x="75128" y="42253"/>
                      <a:pt x="64660" y="42710"/>
                      <a:pt x="55791" y="47339"/>
                    </a:cubicBezTo>
                    <a:lnTo>
                      <a:pt x="21977" y="1810"/>
                    </a:lnTo>
                    <a:lnTo>
                      <a:pt x="11595" y="0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3" name="Freeform: Shape 942">
                <a:extLst>
                  <a:ext uri="{FF2B5EF4-FFF2-40B4-BE49-F238E27FC236}">
                    <a16:creationId xmlns:a16="http://schemas.microsoft.com/office/drawing/2014/main" id="{E5DB4CC9-13E6-48F5-92DA-3EBD0662F542}"/>
                  </a:ext>
                </a:extLst>
              </p:cNvPr>
              <p:cNvSpPr/>
              <p:nvPr/>
            </p:nvSpPr>
            <p:spPr>
              <a:xfrm>
                <a:off x="920805" y="3887745"/>
                <a:ext cx="63827" cy="65361"/>
              </a:xfrm>
              <a:custGeom>
                <a:avLst/>
                <a:gdLst>
                  <a:gd name="connsiteX0" fmla="*/ 0 w 63827"/>
                  <a:gd name="connsiteY0" fmla="*/ 12005 h 65361"/>
                  <a:gd name="connsiteX1" fmla="*/ 18288 w 63827"/>
                  <a:gd name="connsiteY1" fmla="*/ 15053 h 65361"/>
                  <a:gd name="connsiteX2" fmla="*/ 52102 w 63827"/>
                  <a:gd name="connsiteY2" fmla="*/ 65155 h 65361"/>
                  <a:gd name="connsiteX3" fmla="*/ 53530 w 63827"/>
                  <a:gd name="connsiteY3" fmla="*/ 52772 h 65361"/>
                  <a:gd name="connsiteX4" fmla="*/ 29623 w 63827"/>
                  <a:gd name="connsiteY4" fmla="*/ 14672 h 65361"/>
                  <a:gd name="connsiteX5" fmla="*/ 0 w 63827"/>
                  <a:gd name="connsiteY5" fmla="*/ 12005 h 6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827" h="65361">
                    <a:moveTo>
                      <a:pt x="0" y="12005"/>
                    </a:moveTo>
                    <a:cubicBezTo>
                      <a:pt x="0" y="12005"/>
                      <a:pt x="7525" y="3242"/>
                      <a:pt x="18288" y="15053"/>
                    </a:cubicBezTo>
                    <a:cubicBezTo>
                      <a:pt x="29051" y="26864"/>
                      <a:pt x="40291" y="61630"/>
                      <a:pt x="52102" y="65155"/>
                    </a:cubicBezTo>
                    <a:cubicBezTo>
                      <a:pt x="59055" y="67345"/>
                      <a:pt x="73819" y="51343"/>
                      <a:pt x="53530" y="52772"/>
                    </a:cubicBezTo>
                    <a:cubicBezTo>
                      <a:pt x="46958" y="49629"/>
                      <a:pt x="43053" y="40866"/>
                      <a:pt x="29623" y="14672"/>
                    </a:cubicBezTo>
                    <a:cubicBezTo>
                      <a:pt x="29623" y="14863"/>
                      <a:pt x="18288" y="-16570"/>
                      <a:pt x="0" y="12005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4" name="Freeform: Shape 943">
                <a:extLst>
                  <a:ext uri="{FF2B5EF4-FFF2-40B4-BE49-F238E27FC236}">
                    <a16:creationId xmlns:a16="http://schemas.microsoft.com/office/drawing/2014/main" id="{C7E9E08C-08C2-4812-A303-990F9722BD40}"/>
                  </a:ext>
                </a:extLst>
              </p:cNvPr>
              <p:cNvSpPr/>
              <p:nvPr/>
            </p:nvSpPr>
            <p:spPr>
              <a:xfrm>
                <a:off x="918423" y="3936803"/>
                <a:ext cx="19526" cy="54063"/>
              </a:xfrm>
              <a:custGeom>
                <a:avLst/>
                <a:gdLst>
                  <a:gd name="connsiteX0" fmla="*/ 19526 w 19526"/>
                  <a:gd name="connsiteY0" fmla="*/ 8477 h 54063"/>
                  <a:gd name="connsiteX1" fmla="*/ 13621 w 19526"/>
                  <a:gd name="connsiteY1" fmla="*/ 53150 h 54063"/>
                  <a:gd name="connsiteX2" fmla="*/ 7715 w 19526"/>
                  <a:gd name="connsiteY2" fmla="*/ 53150 h 54063"/>
                  <a:gd name="connsiteX3" fmla="*/ 0 w 19526"/>
                  <a:gd name="connsiteY3" fmla="*/ 0 h 5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26" h="54063">
                    <a:moveTo>
                      <a:pt x="19526" y="8477"/>
                    </a:moveTo>
                    <a:cubicBezTo>
                      <a:pt x="14714" y="22850"/>
                      <a:pt x="12709" y="38014"/>
                      <a:pt x="13621" y="53150"/>
                    </a:cubicBezTo>
                    <a:cubicBezTo>
                      <a:pt x="11840" y="54369"/>
                      <a:pt x="9496" y="54369"/>
                      <a:pt x="7715" y="53150"/>
                    </a:cubicBezTo>
                    <a:cubicBezTo>
                      <a:pt x="7715" y="53150"/>
                      <a:pt x="6477" y="10668"/>
                      <a:pt x="0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5" name="Freeform: Shape 944">
                <a:extLst>
                  <a:ext uri="{FF2B5EF4-FFF2-40B4-BE49-F238E27FC236}">
                    <a16:creationId xmlns:a16="http://schemas.microsoft.com/office/drawing/2014/main" id="{7733BA22-A5A4-4E25-A07E-E6F5DF2ECDF3}"/>
                  </a:ext>
                </a:extLst>
              </p:cNvPr>
              <p:cNvSpPr/>
              <p:nvPr/>
            </p:nvSpPr>
            <p:spPr>
              <a:xfrm>
                <a:off x="727915" y="2587110"/>
                <a:ext cx="398285" cy="755363"/>
              </a:xfrm>
              <a:custGeom>
                <a:avLst/>
                <a:gdLst>
                  <a:gd name="connsiteX0" fmla="*/ 68874 w 398285"/>
                  <a:gd name="connsiteY0" fmla="*/ 607123 h 755363"/>
                  <a:gd name="connsiteX1" fmla="*/ 60683 w 398285"/>
                  <a:gd name="connsiteY1" fmla="*/ 0 h 755363"/>
                  <a:gd name="connsiteX2" fmla="*/ 393105 w 398285"/>
                  <a:gd name="connsiteY2" fmla="*/ 200025 h 755363"/>
                  <a:gd name="connsiteX3" fmla="*/ 303665 w 398285"/>
                  <a:gd name="connsiteY3" fmla="*/ 737997 h 755363"/>
                  <a:gd name="connsiteX4" fmla="*/ 215845 w 398285"/>
                  <a:gd name="connsiteY4" fmla="*/ 747522 h 755363"/>
                  <a:gd name="connsiteX5" fmla="*/ 68874 w 398285"/>
                  <a:gd name="connsiteY5" fmla="*/ 607123 h 75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285" h="755363">
                    <a:moveTo>
                      <a:pt x="68874" y="607123"/>
                    </a:moveTo>
                    <a:cubicBezTo>
                      <a:pt x="68874" y="607123"/>
                      <a:pt x="-80478" y="205454"/>
                      <a:pt x="60683" y="0"/>
                    </a:cubicBezTo>
                    <a:cubicBezTo>
                      <a:pt x="60683" y="0"/>
                      <a:pt x="318429" y="76200"/>
                      <a:pt x="393105" y="200025"/>
                    </a:cubicBezTo>
                    <a:cubicBezTo>
                      <a:pt x="393105" y="200025"/>
                      <a:pt x="430634" y="352425"/>
                      <a:pt x="303665" y="737997"/>
                    </a:cubicBezTo>
                    <a:cubicBezTo>
                      <a:pt x="303665" y="737997"/>
                      <a:pt x="281567" y="769620"/>
                      <a:pt x="215845" y="747522"/>
                    </a:cubicBezTo>
                    <a:cubicBezTo>
                      <a:pt x="98401" y="700850"/>
                      <a:pt x="68874" y="607123"/>
                      <a:pt x="68874" y="607123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6" name="Freeform: Shape 945">
                <a:extLst>
                  <a:ext uri="{FF2B5EF4-FFF2-40B4-BE49-F238E27FC236}">
                    <a16:creationId xmlns:a16="http://schemas.microsoft.com/office/drawing/2014/main" id="{9164267A-F4B5-4A73-9057-63F4A5F84994}"/>
                  </a:ext>
                </a:extLst>
              </p:cNvPr>
              <p:cNvSpPr/>
              <p:nvPr/>
            </p:nvSpPr>
            <p:spPr>
              <a:xfrm>
                <a:off x="760564" y="2077428"/>
                <a:ext cx="347193" cy="481012"/>
              </a:xfrm>
              <a:custGeom>
                <a:avLst/>
                <a:gdLst>
                  <a:gd name="connsiteX0" fmla="*/ 312736 w 347193"/>
                  <a:gd name="connsiteY0" fmla="*/ 174498 h 481012"/>
                  <a:gd name="connsiteX1" fmla="*/ 8984 w 347193"/>
                  <a:gd name="connsiteY1" fmla="*/ 0 h 481012"/>
                  <a:gd name="connsiteX2" fmla="*/ 602 w 347193"/>
                  <a:gd name="connsiteY2" fmla="*/ 73533 h 481012"/>
                  <a:gd name="connsiteX3" fmla="*/ 100233 w 347193"/>
                  <a:gd name="connsiteY3" fmla="*/ 400431 h 481012"/>
                  <a:gd name="connsiteX4" fmla="*/ 241013 w 347193"/>
                  <a:gd name="connsiteY4" fmla="*/ 481013 h 481012"/>
                  <a:gd name="connsiteX5" fmla="*/ 344073 w 347193"/>
                  <a:gd name="connsiteY5" fmla="*/ 301752 h 481012"/>
                  <a:gd name="connsiteX6" fmla="*/ 312736 w 347193"/>
                  <a:gd name="connsiteY6" fmla="*/ 174498 h 481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193" h="481012">
                    <a:moveTo>
                      <a:pt x="312736" y="174498"/>
                    </a:moveTo>
                    <a:cubicBezTo>
                      <a:pt x="312736" y="174498"/>
                      <a:pt x="214057" y="83153"/>
                      <a:pt x="8984" y="0"/>
                    </a:cubicBezTo>
                    <a:cubicBezTo>
                      <a:pt x="1486" y="23744"/>
                      <a:pt x="-1360" y="48711"/>
                      <a:pt x="602" y="73533"/>
                    </a:cubicBezTo>
                    <a:cubicBezTo>
                      <a:pt x="4697" y="144304"/>
                      <a:pt x="31272" y="259461"/>
                      <a:pt x="100233" y="400431"/>
                    </a:cubicBezTo>
                    <a:lnTo>
                      <a:pt x="241013" y="481013"/>
                    </a:lnTo>
                    <a:cubicBezTo>
                      <a:pt x="252157" y="393573"/>
                      <a:pt x="325976" y="362617"/>
                      <a:pt x="344073" y="301752"/>
                    </a:cubicBezTo>
                    <a:cubicBezTo>
                      <a:pt x="353313" y="270796"/>
                      <a:pt x="341787" y="242506"/>
                      <a:pt x="312736" y="174498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7" name="Freeform: Shape 946">
                <a:extLst>
                  <a:ext uri="{FF2B5EF4-FFF2-40B4-BE49-F238E27FC236}">
                    <a16:creationId xmlns:a16="http://schemas.microsoft.com/office/drawing/2014/main" id="{9DF19C97-DEE1-4619-9EA2-9891F726E3FA}"/>
                  </a:ext>
                </a:extLst>
              </p:cNvPr>
              <p:cNvSpPr/>
              <p:nvPr/>
            </p:nvSpPr>
            <p:spPr>
              <a:xfrm>
                <a:off x="776882" y="2475287"/>
                <a:ext cx="344138" cy="311753"/>
              </a:xfrm>
              <a:custGeom>
                <a:avLst/>
                <a:gdLst>
                  <a:gd name="connsiteX0" fmla="*/ 224695 w 344138"/>
                  <a:gd name="connsiteY0" fmla="*/ 83153 h 311753"/>
                  <a:gd name="connsiteX1" fmla="*/ 344138 w 344138"/>
                  <a:gd name="connsiteY1" fmla="*/ 311753 h 311753"/>
                  <a:gd name="connsiteX2" fmla="*/ 0 w 344138"/>
                  <a:gd name="connsiteY2" fmla="*/ 114300 h 311753"/>
                  <a:gd name="connsiteX3" fmla="*/ 85725 w 344138"/>
                  <a:gd name="connsiteY3" fmla="*/ 0 h 311753"/>
                  <a:gd name="connsiteX4" fmla="*/ 224695 w 344138"/>
                  <a:gd name="connsiteY4" fmla="*/ 83153 h 31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38" h="311753">
                    <a:moveTo>
                      <a:pt x="224695" y="83153"/>
                    </a:moveTo>
                    <a:cubicBezTo>
                      <a:pt x="224695" y="83153"/>
                      <a:pt x="290703" y="154019"/>
                      <a:pt x="344138" y="311753"/>
                    </a:cubicBezTo>
                    <a:lnTo>
                      <a:pt x="0" y="114300"/>
                    </a:lnTo>
                    <a:lnTo>
                      <a:pt x="85725" y="0"/>
                    </a:lnTo>
                    <a:cubicBezTo>
                      <a:pt x="85725" y="0"/>
                      <a:pt x="186595" y="2096"/>
                      <a:pt x="224695" y="83153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8" name="Freeform: Shape 947">
                <a:extLst>
                  <a:ext uri="{FF2B5EF4-FFF2-40B4-BE49-F238E27FC236}">
                    <a16:creationId xmlns:a16="http://schemas.microsoft.com/office/drawing/2014/main" id="{F57BE572-EA24-454C-8D53-1B4BC81940B7}"/>
                  </a:ext>
                </a:extLst>
              </p:cNvPr>
              <p:cNvSpPr/>
              <p:nvPr/>
            </p:nvSpPr>
            <p:spPr>
              <a:xfrm>
                <a:off x="718877" y="2077428"/>
                <a:ext cx="376615" cy="1265647"/>
              </a:xfrm>
              <a:custGeom>
                <a:avLst/>
                <a:gdLst>
                  <a:gd name="connsiteX0" fmla="*/ 77912 w 376615"/>
                  <a:gd name="connsiteY0" fmla="*/ 1116806 h 1265647"/>
                  <a:gd name="connsiteX1" fmla="*/ 58005 w 376615"/>
                  <a:gd name="connsiteY1" fmla="*/ 512159 h 1265647"/>
                  <a:gd name="connsiteX2" fmla="*/ 141920 w 376615"/>
                  <a:gd name="connsiteY2" fmla="*/ 400431 h 1265647"/>
                  <a:gd name="connsiteX3" fmla="*/ 42288 w 376615"/>
                  <a:gd name="connsiteY3" fmla="*/ 73533 h 1265647"/>
                  <a:gd name="connsiteX4" fmla="*/ 50670 w 376615"/>
                  <a:gd name="connsiteY4" fmla="*/ 0 h 1265647"/>
                  <a:gd name="connsiteX5" fmla="*/ 338802 w 376615"/>
                  <a:gd name="connsiteY5" fmla="*/ 161068 h 1265647"/>
                  <a:gd name="connsiteX6" fmla="*/ 267269 w 376615"/>
                  <a:gd name="connsiteY6" fmla="*/ 477298 h 1265647"/>
                  <a:gd name="connsiteX7" fmla="*/ 29144 w 376615"/>
                  <a:gd name="connsiteY7" fmla="*/ 607314 h 1265647"/>
                  <a:gd name="connsiteX8" fmla="*/ 376616 w 376615"/>
                  <a:gd name="connsiteY8" fmla="*/ 805625 h 1265647"/>
                  <a:gd name="connsiteX9" fmla="*/ 274889 w 376615"/>
                  <a:gd name="connsiteY9" fmla="*/ 1264253 h 1265647"/>
                  <a:gd name="connsiteX10" fmla="*/ 164970 w 376615"/>
                  <a:gd name="connsiteY10" fmla="*/ 1224725 h 1265647"/>
                  <a:gd name="connsiteX11" fmla="*/ 77912 w 376615"/>
                  <a:gd name="connsiteY11" fmla="*/ 1116806 h 1265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6615" h="1265647">
                    <a:moveTo>
                      <a:pt x="77912" y="1116806"/>
                    </a:moveTo>
                    <a:cubicBezTo>
                      <a:pt x="77912" y="1116806"/>
                      <a:pt x="-83251" y="717423"/>
                      <a:pt x="58005" y="512159"/>
                    </a:cubicBezTo>
                    <a:lnTo>
                      <a:pt x="141920" y="400431"/>
                    </a:lnTo>
                    <a:cubicBezTo>
                      <a:pt x="72959" y="259461"/>
                      <a:pt x="46384" y="144304"/>
                      <a:pt x="42288" y="73533"/>
                    </a:cubicBezTo>
                    <a:cubicBezTo>
                      <a:pt x="40326" y="48711"/>
                      <a:pt x="43172" y="23744"/>
                      <a:pt x="50670" y="0"/>
                    </a:cubicBezTo>
                    <a:cubicBezTo>
                      <a:pt x="208785" y="64198"/>
                      <a:pt x="303654" y="133350"/>
                      <a:pt x="338802" y="161068"/>
                    </a:cubicBezTo>
                    <a:cubicBezTo>
                      <a:pt x="297273" y="173926"/>
                      <a:pt x="230979" y="279273"/>
                      <a:pt x="267269" y="477298"/>
                    </a:cubicBezTo>
                    <a:cubicBezTo>
                      <a:pt x="267269" y="477298"/>
                      <a:pt x="39336" y="509492"/>
                      <a:pt x="29144" y="607314"/>
                    </a:cubicBezTo>
                    <a:cubicBezTo>
                      <a:pt x="15809" y="736473"/>
                      <a:pt x="326800" y="853631"/>
                      <a:pt x="376616" y="805625"/>
                    </a:cubicBezTo>
                    <a:cubicBezTo>
                      <a:pt x="376616" y="805625"/>
                      <a:pt x="374616" y="970216"/>
                      <a:pt x="274889" y="1264253"/>
                    </a:cubicBezTo>
                    <a:cubicBezTo>
                      <a:pt x="274889" y="1264253"/>
                      <a:pt x="240313" y="1277112"/>
                      <a:pt x="164970" y="1224725"/>
                    </a:cubicBezTo>
                    <a:cubicBezTo>
                      <a:pt x="89628" y="1172337"/>
                      <a:pt x="77912" y="1116806"/>
                      <a:pt x="77912" y="1116806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49" name="Freeform: Shape 948">
                <a:extLst>
                  <a:ext uri="{FF2B5EF4-FFF2-40B4-BE49-F238E27FC236}">
                    <a16:creationId xmlns:a16="http://schemas.microsoft.com/office/drawing/2014/main" id="{FF92A173-BE23-4D6F-B2E0-11AE7FC2BD9B}"/>
                  </a:ext>
                </a:extLst>
              </p:cNvPr>
              <p:cNvSpPr/>
              <p:nvPr/>
            </p:nvSpPr>
            <p:spPr>
              <a:xfrm>
                <a:off x="790788" y="2085714"/>
                <a:ext cx="247173" cy="209550"/>
              </a:xfrm>
              <a:custGeom>
                <a:avLst/>
                <a:gdLst>
                  <a:gd name="connsiteX0" fmla="*/ 247174 w 247173"/>
                  <a:gd name="connsiteY0" fmla="*/ 137636 h 209550"/>
                  <a:gd name="connsiteX1" fmla="*/ 82677 w 247173"/>
                  <a:gd name="connsiteY1" fmla="*/ 209550 h 209550"/>
                  <a:gd name="connsiteX2" fmla="*/ 0 w 247173"/>
                  <a:gd name="connsiteY2" fmla="*/ 0 h 209550"/>
                  <a:gd name="connsiteX3" fmla="*/ 247174 w 247173"/>
                  <a:gd name="connsiteY3" fmla="*/ 13763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173" h="209550">
                    <a:moveTo>
                      <a:pt x="247174" y="137636"/>
                    </a:moveTo>
                    <a:cubicBezTo>
                      <a:pt x="191028" y="158482"/>
                      <a:pt x="136107" y="182491"/>
                      <a:pt x="82677" y="209550"/>
                    </a:cubicBezTo>
                    <a:cubicBezTo>
                      <a:pt x="69818" y="185071"/>
                      <a:pt x="16002" y="111824"/>
                      <a:pt x="0" y="0"/>
                    </a:cubicBezTo>
                    <a:cubicBezTo>
                      <a:pt x="0" y="381"/>
                      <a:pt x="171164" y="78677"/>
                      <a:pt x="247174" y="137636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0" name="Freeform: Shape 949">
                <a:extLst>
                  <a:ext uri="{FF2B5EF4-FFF2-40B4-BE49-F238E27FC236}">
                    <a16:creationId xmlns:a16="http://schemas.microsoft.com/office/drawing/2014/main" id="{18B5F7C4-188F-4D89-9AF0-F223B10E3233}"/>
                  </a:ext>
                </a:extLst>
              </p:cNvPr>
              <p:cNvSpPr/>
              <p:nvPr/>
            </p:nvSpPr>
            <p:spPr>
              <a:xfrm>
                <a:off x="790788" y="2086095"/>
                <a:ext cx="230028" cy="127319"/>
              </a:xfrm>
              <a:custGeom>
                <a:avLst/>
                <a:gdLst>
                  <a:gd name="connsiteX0" fmla="*/ 230029 w 230028"/>
                  <a:gd name="connsiteY0" fmla="*/ 125063 h 127319"/>
                  <a:gd name="connsiteX1" fmla="*/ 0 w 230028"/>
                  <a:gd name="connsiteY1" fmla="*/ 0 h 127319"/>
                  <a:gd name="connsiteX2" fmla="*/ 230029 w 230028"/>
                  <a:gd name="connsiteY2" fmla="*/ 125063 h 127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028" h="127319">
                    <a:moveTo>
                      <a:pt x="230029" y="125063"/>
                    </a:moveTo>
                    <a:cubicBezTo>
                      <a:pt x="230029" y="125063"/>
                      <a:pt x="65723" y="154591"/>
                      <a:pt x="0" y="0"/>
                    </a:cubicBezTo>
                    <a:cubicBezTo>
                      <a:pt x="81646" y="31814"/>
                      <a:pt x="158937" y="73835"/>
                      <a:pt x="230029" y="125063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1" name="Freeform: Shape 950">
                <a:extLst>
                  <a:ext uri="{FF2B5EF4-FFF2-40B4-BE49-F238E27FC236}">
                    <a16:creationId xmlns:a16="http://schemas.microsoft.com/office/drawing/2014/main" id="{350CE52E-BC14-4B61-8C38-7D1BE2B7248B}"/>
                  </a:ext>
                </a:extLst>
              </p:cNvPr>
              <p:cNvSpPr/>
              <p:nvPr/>
            </p:nvSpPr>
            <p:spPr>
              <a:xfrm>
                <a:off x="852225" y="1997515"/>
                <a:ext cx="161925" cy="218310"/>
              </a:xfrm>
              <a:custGeom>
                <a:avLst/>
                <a:gdLst>
                  <a:gd name="connsiteX0" fmla="*/ 161925 w 161925"/>
                  <a:gd name="connsiteY0" fmla="*/ 107535 h 218310"/>
                  <a:gd name="connsiteX1" fmla="*/ 128302 w 161925"/>
                  <a:gd name="connsiteY1" fmla="*/ 218310 h 218310"/>
                  <a:gd name="connsiteX2" fmla="*/ 0 w 161925"/>
                  <a:gd name="connsiteY2" fmla="*/ 169638 h 218310"/>
                  <a:gd name="connsiteX3" fmla="*/ 1905 w 161925"/>
                  <a:gd name="connsiteY3" fmla="*/ 5903 h 218310"/>
                  <a:gd name="connsiteX4" fmla="*/ 161925 w 161925"/>
                  <a:gd name="connsiteY4" fmla="*/ 107535 h 21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25" h="218310">
                    <a:moveTo>
                      <a:pt x="161925" y="107535"/>
                    </a:moveTo>
                    <a:cubicBezTo>
                      <a:pt x="161925" y="107535"/>
                      <a:pt x="111347" y="154493"/>
                      <a:pt x="128302" y="218310"/>
                    </a:cubicBezTo>
                    <a:lnTo>
                      <a:pt x="0" y="169638"/>
                    </a:lnTo>
                    <a:cubicBezTo>
                      <a:pt x="6749" y="115302"/>
                      <a:pt x="7389" y="60381"/>
                      <a:pt x="1905" y="5903"/>
                    </a:cubicBezTo>
                    <a:cubicBezTo>
                      <a:pt x="-1619" y="-29721"/>
                      <a:pt x="161925" y="107535"/>
                      <a:pt x="161925" y="107535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2" name="Freeform: Shape 951">
                <a:extLst>
                  <a:ext uri="{FF2B5EF4-FFF2-40B4-BE49-F238E27FC236}">
                    <a16:creationId xmlns:a16="http://schemas.microsoft.com/office/drawing/2014/main" id="{2D7F33C9-E8F9-4E34-B2FC-B938C239F058}"/>
                  </a:ext>
                </a:extLst>
              </p:cNvPr>
              <p:cNvSpPr/>
              <p:nvPr/>
            </p:nvSpPr>
            <p:spPr>
              <a:xfrm>
                <a:off x="833831" y="1860162"/>
                <a:ext cx="146123" cy="231323"/>
              </a:xfrm>
              <a:custGeom>
                <a:avLst/>
                <a:gdLst>
                  <a:gd name="connsiteX0" fmla="*/ 486 w 146123"/>
                  <a:gd name="connsiteY0" fmla="*/ 0 h 231323"/>
                  <a:gd name="connsiteX1" fmla="*/ 136122 w 146123"/>
                  <a:gd name="connsiteY1" fmla="*/ 228600 h 231323"/>
                  <a:gd name="connsiteX2" fmla="*/ 146123 w 146123"/>
                  <a:gd name="connsiteY2" fmla="*/ 71057 h 23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123" h="231323">
                    <a:moveTo>
                      <a:pt x="486" y="0"/>
                    </a:moveTo>
                    <a:cubicBezTo>
                      <a:pt x="486" y="0"/>
                      <a:pt x="-15516" y="260604"/>
                      <a:pt x="136122" y="228600"/>
                    </a:cubicBezTo>
                    <a:lnTo>
                      <a:pt x="146123" y="71057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3" name="Freeform: Shape 952">
                <a:extLst>
                  <a:ext uri="{FF2B5EF4-FFF2-40B4-BE49-F238E27FC236}">
                    <a16:creationId xmlns:a16="http://schemas.microsoft.com/office/drawing/2014/main" id="{B8B90B2D-C9EA-4E0E-A323-DC2072BAF202}"/>
                  </a:ext>
                </a:extLst>
              </p:cNvPr>
              <p:cNvSpPr/>
              <p:nvPr/>
            </p:nvSpPr>
            <p:spPr>
              <a:xfrm>
                <a:off x="965096" y="1892547"/>
                <a:ext cx="161353" cy="254741"/>
              </a:xfrm>
              <a:custGeom>
                <a:avLst/>
                <a:gdLst>
                  <a:gd name="connsiteX0" fmla="*/ 161354 w 161353"/>
                  <a:gd name="connsiteY0" fmla="*/ 0 h 254741"/>
                  <a:gd name="connsiteX1" fmla="*/ 134779 w 161353"/>
                  <a:gd name="connsiteY1" fmla="*/ 143256 h 254741"/>
                  <a:gd name="connsiteX2" fmla="*/ 89726 w 161353"/>
                  <a:gd name="connsiteY2" fmla="*/ 252603 h 254741"/>
                  <a:gd name="connsiteX3" fmla="*/ 17621 w 161353"/>
                  <a:gd name="connsiteY3" fmla="*/ 226886 h 254741"/>
                  <a:gd name="connsiteX4" fmla="*/ 0 w 161353"/>
                  <a:gd name="connsiteY4" fmla="*/ 61151 h 254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353" h="254741">
                    <a:moveTo>
                      <a:pt x="161354" y="0"/>
                    </a:moveTo>
                    <a:cubicBezTo>
                      <a:pt x="145447" y="37338"/>
                      <a:pt x="144304" y="92678"/>
                      <a:pt x="134779" y="143256"/>
                    </a:cubicBezTo>
                    <a:cubicBezTo>
                      <a:pt x="123730" y="199072"/>
                      <a:pt x="103918" y="248031"/>
                      <a:pt x="89726" y="252603"/>
                    </a:cubicBezTo>
                    <a:cubicBezTo>
                      <a:pt x="77724" y="256413"/>
                      <a:pt x="52102" y="258699"/>
                      <a:pt x="17621" y="226886"/>
                    </a:cubicBezTo>
                    <a:lnTo>
                      <a:pt x="0" y="61151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4" name="Freeform: Shape 953">
                <a:extLst>
                  <a:ext uri="{FF2B5EF4-FFF2-40B4-BE49-F238E27FC236}">
                    <a16:creationId xmlns:a16="http://schemas.microsoft.com/office/drawing/2014/main" id="{E78624DA-ACFF-40CF-A552-C6DDB57F6AD0}"/>
                  </a:ext>
                </a:extLst>
              </p:cNvPr>
              <p:cNvSpPr/>
              <p:nvPr/>
            </p:nvSpPr>
            <p:spPr>
              <a:xfrm>
                <a:off x="976050" y="2059806"/>
                <a:ext cx="74009" cy="87153"/>
              </a:xfrm>
              <a:custGeom>
                <a:avLst/>
                <a:gdLst>
                  <a:gd name="connsiteX0" fmla="*/ 0 w 74009"/>
                  <a:gd name="connsiteY0" fmla="*/ 19050 h 87153"/>
                  <a:gd name="connsiteX1" fmla="*/ 8763 w 74009"/>
                  <a:gd name="connsiteY1" fmla="*/ 0 h 87153"/>
                  <a:gd name="connsiteX2" fmla="*/ 74009 w 74009"/>
                  <a:gd name="connsiteY2" fmla="*/ 86487 h 87153"/>
                  <a:gd name="connsiteX3" fmla="*/ 4096 w 74009"/>
                  <a:gd name="connsiteY3" fmla="*/ 57150 h 8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009" h="87153">
                    <a:moveTo>
                      <a:pt x="0" y="19050"/>
                    </a:moveTo>
                    <a:lnTo>
                      <a:pt x="8763" y="0"/>
                    </a:lnTo>
                    <a:cubicBezTo>
                      <a:pt x="33242" y="96107"/>
                      <a:pt x="74009" y="86487"/>
                      <a:pt x="74009" y="86487"/>
                    </a:cubicBezTo>
                    <a:cubicBezTo>
                      <a:pt x="74009" y="86487"/>
                      <a:pt x="40672" y="94202"/>
                      <a:pt x="4096" y="57150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5" name="Freeform: Shape 954">
                <a:extLst>
                  <a:ext uri="{FF2B5EF4-FFF2-40B4-BE49-F238E27FC236}">
                    <a16:creationId xmlns:a16="http://schemas.microsoft.com/office/drawing/2014/main" id="{EC83F03E-8CD2-470F-BF32-B3CA2CF86C1C}"/>
                  </a:ext>
                </a:extLst>
              </p:cNvPr>
              <p:cNvSpPr/>
              <p:nvPr/>
            </p:nvSpPr>
            <p:spPr>
              <a:xfrm>
                <a:off x="820510" y="1766194"/>
                <a:ext cx="309177" cy="345641"/>
              </a:xfrm>
              <a:custGeom>
                <a:avLst/>
                <a:gdLst>
                  <a:gd name="connsiteX0" fmla="*/ 12093 w 309177"/>
                  <a:gd name="connsiteY0" fmla="*/ 51582 h 345641"/>
                  <a:gd name="connsiteX1" fmla="*/ 309178 w 309177"/>
                  <a:gd name="connsiteY1" fmla="*/ 83205 h 345641"/>
                  <a:gd name="connsiteX2" fmla="*/ 229930 w 309177"/>
                  <a:gd name="connsiteY2" fmla="*/ 196553 h 345641"/>
                  <a:gd name="connsiteX3" fmla="*/ 171256 w 309177"/>
                  <a:gd name="connsiteY3" fmla="*/ 246845 h 345641"/>
                  <a:gd name="connsiteX4" fmla="*/ 52765 w 309177"/>
                  <a:gd name="connsiteY4" fmla="*/ 328283 h 345641"/>
                  <a:gd name="connsiteX5" fmla="*/ 12093 w 309177"/>
                  <a:gd name="connsiteY5" fmla="*/ 51582 h 3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9177" h="345641">
                    <a:moveTo>
                      <a:pt x="12093" y="51582"/>
                    </a:moveTo>
                    <a:cubicBezTo>
                      <a:pt x="60289" y="-28618"/>
                      <a:pt x="260314" y="-13188"/>
                      <a:pt x="309178" y="83205"/>
                    </a:cubicBezTo>
                    <a:cubicBezTo>
                      <a:pt x="309178" y="83205"/>
                      <a:pt x="272697" y="168073"/>
                      <a:pt x="229930" y="196553"/>
                    </a:cubicBezTo>
                    <a:cubicBezTo>
                      <a:pt x="205165" y="265037"/>
                      <a:pt x="196687" y="258275"/>
                      <a:pt x="171256" y="246845"/>
                    </a:cubicBezTo>
                    <a:cubicBezTo>
                      <a:pt x="166303" y="250655"/>
                      <a:pt x="173923" y="394387"/>
                      <a:pt x="52765" y="328283"/>
                    </a:cubicBezTo>
                    <a:cubicBezTo>
                      <a:pt x="-13053" y="292374"/>
                      <a:pt x="-5147" y="79967"/>
                      <a:pt x="12093" y="51582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6" name="Freeform: Shape 955">
                <a:extLst>
                  <a:ext uri="{FF2B5EF4-FFF2-40B4-BE49-F238E27FC236}">
                    <a16:creationId xmlns:a16="http://schemas.microsoft.com/office/drawing/2014/main" id="{FD647678-A447-4D35-9627-1BA766F039FF}"/>
                  </a:ext>
                </a:extLst>
              </p:cNvPr>
              <p:cNvSpPr/>
              <p:nvPr/>
            </p:nvSpPr>
            <p:spPr>
              <a:xfrm>
                <a:off x="1048249" y="1829206"/>
                <a:ext cx="88990" cy="159448"/>
              </a:xfrm>
              <a:custGeom>
                <a:avLst/>
                <a:gdLst>
                  <a:gd name="connsiteX0" fmla="*/ 19050 w 88990"/>
                  <a:gd name="connsiteY0" fmla="*/ 84963 h 159448"/>
                  <a:gd name="connsiteX1" fmla="*/ 0 w 88990"/>
                  <a:gd name="connsiteY1" fmla="*/ 159449 h 159448"/>
                  <a:gd name="connsiteX2" fmla="*/ 78010 w 88990"/>
                  <a:gd name="connsiteY2" fmla="*/ 119348 h 159448"/>
                  <a:gd name="connsiteX3" fmla="*/ 68485 w 88990"/>
                  <a:gd name="connsiteY3" fmla="*/ 0 h 15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90" h="159448">
                    <a:moveTo>
                      <a:pt x="19050" y="84963"/>
                    </a:moveTo>
                    <a:lnTo>
                      <a:pt x="0" y="159449"/>
                    </a:lnTo>
                    <a:cubicBezTo>
                      <a:pt x="28732" y="152234"/>
                      <a:pt x="55421" y="138514"/>
                      <a:pt x="78010" y="119348"/>
                    </a:cubicBezTo>
                    <a:cubicBezTo>
                      <a:pt x="81820" y="106109"/>
                      <a:pt x="105537" y="39624"/>
                      <a:pt x="68485" y="0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7" name="Freeform: Shape 956">
                <a:extLst>
                  <a:ext uri="{FF2B5EF4-FFF2-40B4-BE49-F238E27FC236}">
                    <a16:creationId xmlns:a16="http://schemas.microsoft.com/office/drawing/2014/main" id="{001D6BED-0524-4416-8F4D-54EE7C9B485F}"/>
                  </a:ext>
                </a:extLst>
              </p:cNvPr>
              <p:cNvSpPr/>
              <p:nvPr/>
            </p:nvSpPr>
            <p:spPr>
              <a:xfrm>
                <a:off x="980145" y="2821330"/>
                <a:ext cx="204596" cy="296703"/>
              </a:xfrm>
              <a:custGeom>
                <a:avLst/>
                <a:gdLst>
                  <a:gd name="connsiteX0" fmla="*/ 204597 w 204596"/>
                  <a:gd name="connsiteY0" fmla="*/ 179927 h 296703"/>
                  <a:gd name="connsiteX1" fmla="*/ 2381 w 204596"/>
                  <a:gd name="connsiteY1" fmla="*/ 296704 h 296703"/>
                  <a:gd name="connsiteX2" fmla="*/ 0 w 204596"/>
                  <a:gd name="connsiteY2" fmla="*/ 103918 h 296703"/>
                  <a:gd name="connsiteX3" fmla="*/ 180118 w 204596"/>
                  <a:gd name="connsiteY3" fmla="*/ 0 h 296703"/>
                  <a:gd name="connsiteX4" fmla="*/ 204597 w 204596"/>
                  <a:gd name="connsiteY4" fmla="*/ 179927 h 296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596" h="296703">
                    <a:moveTo>
                      <a:pt x="204597" y="179927"/>
                    </a:moveTo>
                    <a:lnTo>
                      <a:pt x="2381" y="296704"/>
                    </a:lnTo>
                    <a:lnTo>
                      <a:pt x="0" y="103918"/>
                    </a:lnTo>
                    <a:lnTo>
                      <a:pt x="180118" y="0"/>
                    </a:lnTo>
                    <a:lnTo>
                      <a:pt x="204597" y="179927"/>
                    </a:ln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8" name="Freeform: Shape 957">
                <a:extLst>
                  <a:ext uri="{FF2B5EF4-FFF2-40B4-BE49-F238E27FC236}">
                    <a16:creationId xmlns:a16="http://schemas.microsoft.com/office/drawing/2014/main" id="{CEF1A15D-F53A-4F5D-98A0-32B852706328}"/>
                  </a:ext>
                </a:extLst>
              </p:cNvPr>
              <p:cNvSpPr/>
              <p:nvPr/>
            </p:nvSpPr>
            <p:spPr>
              <a:xfrm>
                <a:off x="945474" y="2912580"/>
                <a:ext cx="37052" cy="205454"/>
              </a:xfrm>
              <a:custGeom>
                <a:avLst/>
                <a:gdLst>
                  <a:gd name="connsiteX0" fmla="*/ 37052 w 37052"/>
                  <a:gd name="connsiteY0" fmla="*/ 205454 h 205454"/>
                  <a:gd name="connsiteX1" fmla="*/ 0 w 37052"/>
                  <a:gd name="connsiteY1" fmla="*/ 184309 h 205454"/>
                  <a:gd name="connsiteX2" fmla="*/ 12382 w 37052"/>
                  <a:gd name="connsiteY2" fmla="*/ 0 h 205454"/>
                  <a:gd name="connsiteX3" fmla="*/ 34671 w 37052"/>
                  <a:gd name="connsiteY3" fmla="*/ 12668 h 205454"/>
                  <a:gd name="connsiteX4" fmla="*/ 37052 w 37052"/>
                  <a:gd name="connsiteY4" fmla="*/ 205454 h 20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52" h="205454">
                    <a:moveTo>
                      <a:pt x="37052" y="205454"/>
                    </a:moveTo>
                    <a:lnTo>
                      <a:pt x="0" y="184309"/>
                    </a:lnTo>
                    <a:lnTo>
                      <a:pt x="12382" y="0"/>
                    </a:lnTo>
                    <a:lnTo>
                      <a:pt x="34671" y="12668"/>
                    </a:lnTo>
                    <a:lnTo>
                      <a:pt x="37052" y="205454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59" name="Freeform: Shape 958">
                <a:extLst>
                  <a:ext uri="{FF2B5EF4-FFF2-40B4-BE49-F238E27FC236}">
                    <a16:creationId xmlns:a16="http://schemas.microsoft.com/office/drawing/2014/main" id="{00CF5081-7027-4266-AF40-6E329F8D10B8}"/>
                  </a:ext>
                </a:extLst>
              </p:cNvPr>
              <p:cNvSpPr/>
              <p:nvPr/>
            </p:nvSpPr>
            <p:spPr>
              <a:xfrm>
                <a:off x="957857" y="2810281"/>
                <a:ext cx="202406" cy="114966"/>
              </a:xfrm>
              <a:custGeom>
                <a:avLst/>
                <a:gdLst>
                  <a:gd name="connsiteX0" fmla="*/ 0 w 202406"/>
                  <a:gd name="connsiteY0" fmla="*/ 102298 h 114966"/>
                  <a:gd name="connsiteX1" fmla="*/ 183451 w 202406"/>
                  <a:gd name="connsiteY1" fmla="*/ 0 h 114966"/>
                  <a:gd name="connsiteX2" fmla="*/ 202406 w 202406"/>
                  <a:gd name="connsiteY2" fmla="*/ 11049 h 114966"/>
                  <a:gd name="connsiteX3" fmla="*/ 22289 w 202406"/>
                  <a:gd name="connsiteY3" fmla="*/ 114967 h 114966"/>
                  <a:gd name="connsiteX4" fmla="*/ 0 w 202406"/>
                  <a:gd name="connsiteY4" fmla="*/ 102298 h 114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2406" h="114966">
                    <a:moveTo>
                      <a:pt x="0" y="102298"/>
                    </a:moveTo>
                    <a:lnTo>
                      <a:pt x="183451" y="0"/>
                    </a:lnTo>
                    <a:lnTo>
                      <a:pt x="202406" y="11049"/>
                    </a:lnTo>
                    <a:lnTo>
                      <a:pt x="22289" y="114967"/>
                    </a:lnTo>
                    <a:lnTo>
                      <a:pt x="0" y="102298"/>
                    </a:lnTo>
                    <a:close/>
                  </a:path>
                </a:pathLst>
              </a:custGeom>
              <a:solidFill>
                <a:srgbClr val="4750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0" name="Freeform: Shape 959">
                <a:extLst>
                  <a:ext uri="{FF2B5EF4-FFF2-40B4-BE49-F238E27FC236}">
                    <a16:creationId xmlns:a16="http://schemas.microsoft.com/office/drawing/2014/main" id="{65048A23-2F93-468C-B8F4-904DF3492C7F}"/>
                  </a:ext>
                </a:extLst>
              </p:cNvPr>
              <p:cNvSpPr/>
              <p:nvPr/>
            </p:nvSpPr>
            <p:spPr>
              <a:xfrm>
                <a:off x="993036" y="2242084"/>
                <a:ext cx="151722" cy="684949"/>
              </a:xfrm>
              <a:custGeom>
                <a:avLst/>
                <a:gdLst>
                  <a:gd name="connsiteX0" fmla="*/ 4751 w 151722"/>
                  <a:gd name="connsiteY0" fmla="*/ 684950 h 684949"/>
                  <a:gd name="connsiteX1" fmla="*/ 6752 w 151722"/>
                  <a:gd name="connsiteY1" fmla="*/ 596462 h 684949"/>
                  <a:gd name="connsiteX2" fmla="*/ 6752 w 151722"/>
                  <a:gd name="connsiteY2" fmla="*/ 507880 h 684949"/>
                  <a:gd name="connsiteX3" fmla="*/ 4751 w 151722"/>
                  <a:gd name="connsiteY3" fmla="*/ 419393 h 684949"/>
                  <a:gd name="connsiteX4" fmla="*/ 2465 w 151722"/>
                  <a:gd name="connsiteY4" fmla="*/ 330810 h 684949"/>
                  <a:gd name="connsiteX5" fmla="*/ 465 w 151722"/>
                  <a:gd name="connsiteY5" fmla="*/ 242132 h 684949"/>
                  <a:gd name="connsiteX6" fmla="*/ 465 w 151722"/>
                  <a:gd name="connsiteY6" fmla="*/ 153455 h 684949"/>
                  <a:gd name="connsiteX7" fmla="*/ 3037 w 151722"/>
                  <a:gd name="connsiteY7" fmla="*/ 108973 h 684949"/>
                  <a:gd name="connsiteX8" fmla="*/ 9228 w 151722"/>
                  <a:gd name="connsiteY8" fmla="*/ 64682 h 684949"/>
                  <a:gd name="connsiteX9" fmla="*/ 24373 w 151722"/>
                  <a:gd name="connsiteY9" fmla="*/ 21819 h 684949"/>
                  <a:gd name="connsiteX10" fmla="*/ 41232 w 151722"/>
                  <a:gd name="connsiteY10" fmla="*/ 4769 h 684949"/>
                  <a:gd name="connsiteX11" fmla="*/ 65330 w 151722"/>
                  <a:gd name="connsiteY11" fmla="*/ 388 h 684949"/>
                  <a:gd name="connsiteX12" fmla="*/ 65330 w 151722"/>
                  <a:gd name="connsiteY12" fmla="*/ 388 h 684949"/>
                  <a:gd name="connsiteX13" fmla="*/ 84476 w 151722"/>
                  <a:gd name="connsiteY13" fmla="*/ 10961 h 684949"/>
                  <a:gd name="connsiteX14" fmla="*/ 96668 w 151722"/>
                  <a:gd name="connsiteY14" fmla="*/ 27534 h 684949"/>
                  <a:gd name="connsiteX15" fmla="*/ 110765 w 151722"/>
                  <a:gd name="connsiteY15" fmla="*/ 64586 h 684949"/>
                  <a:gd name="connsiteX16" fmla="*/ 124004 w 151722"/>
                  <a:gd name="connsiteY16" fmla="*/ 141548 h 684949"/>
                  <a:gd name="connsiteX17" fmla="*/ 129910 w 151722"/>
                  <a:gd name="connsiteY17" fmla="*/ 219082 h 684949"/>
                  <a:gd name="connsiteX18" fmla="*/ 133148 w 151722"/>
                  <a:gd name="connsiteY18" fmla="*/ 296711 h 684949"/>
                  <a:gd name="connsiteX19" fmla="*/ 138673 w 151722"/>
                  <a:gd name="connsiteY19" fmla="*/ 451682 h 684949"/>
                  <a:gd name="connsiteX20" fmla="*/ 151722 w 151722"/>
                  <a:gd name="connsiteY20" fmla="*/ 605702 h 684949"/>
                  <a:gd name="connsiteX21" fmla="*/ 136101 w 151722"/>
                  <a:gd name="connsiteY21" fmla="*/ 607511 h 684949"/>
                  <a:gd name="connsiteX22" fmla="*/ 131243 w 151722"/>
                  <a:gd name="connsiteY22" fmla="*/ 529692 h 684949"/>
                  <a:gd name="connsiteX23" fmla="*/ 128862 w 151722"/>
                  <a:gd name="connsiteY23" fmla="*/ 452063 h 684949"/>
                  <a:gd name="connsiteX24" fmla="*/ 125719 w 151722"/>
                  <a:gd name="connsiteY24" fmla="*/ 296901 h 684949"/>
                  <a:gd name="connsiteX25" fmla="*/ 116194 w 151722"/>
                  <a:gd name="connsiteY25" fmla="*/ 142501 h 684949"/>
                  <a:gd name="connsiteX26" fmla="*/ 102764 w 151722"/>
                  <a:gd name="connsiteY26" fmla="*/ 66301 h 684949"/>
                  <a:gd name="connsiteX27" fmla="*/ 89238 w 151722"/>
                  <a:gd name="connsiteY27" fmla="*/ 31154 h 684949"/>
                  <a:gd name="connsiteX28" fmla="*/ 63902 w 151722"/>
                  <a:gd name="connsiteY28" fmla="*/ 8198 h 684949"/>
                  <a:gd name="connsiteX29" fmla="*/ 63902 w 151722"/>
                  <a:gd name="connsiteY29" fmla="*/ 8198 h 684949"/>
                  <a:gd name="connsiteX30" fmla="*/ 44852 w 151722"/>
                  <a:gd name="connsiteY30" fmla="*/ 11342 h 684949"/>
                  <a:gd name="connsiteX31" fmla="*/ 30850 w 151722"/>
                  <a:gd name="connsiteY31" fmla="*/ 25343 h 684949"/>
                  <a:gd name="connsiteX32" fmla="*/ 16277 w 151722"/>
                  <a:gd name="connsiteY32" fmla="*/ 65444 h 684949"/>
                  <a:gd name="connsiteX33" fmla="*/ 9800 w 151722"/>
                  <a:gd name="connsiteY33" fmla="*/ 108878 h 684949"/>
                  <a:gd name="connsiteX34" fmla="*/ 6847 w 151722"/>
                  <a:gd name="connsiteY34" fmla="*/ 152788 h 684949"/>
                  <a:gd name="connsiteX35" fmla="*/ 5609 w 151722"/>
                  <a:gd name="connsiteY35" fmla="*/ 241275 h 684949"/>
                  <a:gd name="connsiteX36" fmla="*/ 7514 w 151722"/>
                  <a:gd name="connsiteY36" fmla="*/ 329762 h 684949"/>
                  <a:gd name="connsiteX37" fmla="*/ 10657 w 151722"/>
                  <a:gd name="connsiteY37" fmla="*/ 418250 h 684949"/>
                  <a:gd name="connsiteX38" fmla="*/ 13895 w 151722"/>
                  <a:gd name="connsiteY38" fmla="*/ 506832 h 684949"/>
                  <a:gd name="connsiteX39" fmla="*/ 16658 w 151722"/>
                  <a:gd name="connsiteY39" fmla="*/ 595510 h 684949"/>
                  <a:gd name="connsiteX40" fmla="*/ 18563 w 151722"/>
                  <a:gd name="connsiteY40" fmla="*/ 684188 h 68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51722" h="684949">
                    <a:moveTo>
                      <a:pt x="4751" y="684950"/>
                    </a:moveTo>
                    <a:cubicBezTo>
                      <a:pt x="5704" y="655422"/>
                      <a:pt x="6466" y="625990"/>
                      <a:pt x="6752" y="596462"/>
                    </a:cubicBezTo>
                    <a:cubicBezTo>
                      <a:pt x="7037" y="566935"/>
                      <a:pt x="6752" y="537407"/>
                      <a:pt x="6752" y="507880"/>
                    </a:cubicBezTo>
                    <a:lnTo>
                      <a:pt x="4751" y="419393"/>
                    </a:lnTo>
                    <a:lnTo>
                      <a:pt x="2465" y="330810"/>
                    </a:lnTo>
                    <a:cubicBezTo>
                      <a:pt x="1608" y="301283"/>
                      <a:pt x="1037" y="271755"/>
                      <a:pt x="465" y="242132"/>
                    </a:cubicBezTo>
                    <a:cubicBezTo>
                      <a:pt x="-106" y="212510"/>
                      <a:pt x="-202" y="182982"/>
                      <a:pt x="465" y="153455"/>
                    </a:cubicBezTo>
                    <a:cubicBezTo>
                      <a:pt x="941" y="138596"/>
                      <a:pt x="1799" y="123832"/>
                      <a:pt x="3037" y="108973"/>
                    </a:cubicBezTo>
                    <a:cubicBezTo>
                      <a:pt x="4258" y="94103"/>
                      <a:pt x="6325" y="79316"/>
                      <a:pt x="9228" y="64682"/>
                    </a:cubicBezTo>
                    <a:cubicBezTo>
                      <a:pt x="11876" y="49656"/>
                      <a:pt x="16994" y="35173"/>
                      <a:pt x="24373" y="21819"/>
                    </a:cubicBezTo>
                    <a:cubicBezTo>
                      <a:pt x="28447" y="14791"/>
                      <a:pt x="34250" y="8921"/>
                      <a:pt x="41232" y="4769"/>
                    </a:cubicBezTo>
                    <a:cubicBezTo>
                      <a:pt x="48581" y="743"/>
                      <a:pt x="57035" y="-794"/>
                      <a:pt x="65330" y="388"/>
                    </a:cubicBezTo>
                    <a:lnTo>
                      <a:pt x="65330" y="388"/>
                    </a:lnTo>
                    <a:cubicBezTo>
                      <a:pt x="72574" y="2056"/>
                      <a:pt x="79206" y="5718"/>
                      <a:pt x="84476" y="10961"/>
                    </a:cubicBezTo>
                    <a:cubicBezTo>
                      <a:pt x="89332" y="15855"/>
                      <a:pt x="93440" y="21440"/>
                      <a:pt x="96668" y="27534"/>
                    </a:cubicBezTo>
                    <a:cubicBezTo>
                      <a:pt x="102824" y="39280"/>
                      <a:pt x="107557" y="51719"/>
                      <a:pt x="110765" y="64586"/>
                    </a:cubicBezTo>
                    <a:cubicBezTo>
                      <a:pt x="117092" y="89874"/>
                      <a:pt x="121517" y="115600"/>
                      <a:pt x="124004" y="141548"/>
                    </a:cubicBezTo>
                    <a:cubicBezTo>
                      <a:pt x="126767" y="167361"/>
                      <a:pt x="128576" y="193269"/>
                      <a:pt x="129910" y="219082"/>
                    </a:cubicBezTo>
                    <a:cubicBezTo>
                      <a:pt x="131243" y="244894"/>
                      <a:pt x="132386" y="270803"/>
                      <a:pt x="133148" y="296711"/>
                    </a:cubicBezTo>
                    <a:cubicBezTo>
                      <a:pt x="134863" y="348431"/>
                      <a:pt x="136482" y="400057"/>
                      <a:pt x="138673" y="451682"/>
                    </a:cubicBezTo>
                    <a:cubicBezTo>
                      <a:pt x="140864" y="503308"/>
                      <a:pt x="144388" y="554838"/>
                      <a:pt x="151722" y="605702"/>
                    </a:cubicBezTo>
                    <a:lnTo>
                      <a:pt x="136101" y="607511"/>
                    </a:lnTo>
                    <a:cubicBezTo>
                      <a:pt x="133625" y="581508"/>
                      <a:pt x="132291" y="555600"/>
                      <a:pt x="131243" y="529692"/>
                    </a:cubicBezTo>
                    <a:cubicBezTo>
                      <a:pt x="130196" y="503784"/>
                      <a:pt x="129338" y="477876"/>
                      <a:pt x="128862" y="452063"/>
                    </a:cubicBezTo>
                    <a:cubicBezTo>
                      <a:pt x="127529" y="400247"/>
                      <a:pt x="127338" y="348622"/>
                      <a:pt x="125719" y="296901"/>
                    </a:cubicBezTo>
                    <a:cubicBezTo>
                      <a:pt x="124100" y="245180"/>
                      <a:pt x="122004" y="193650"/>
                      <a:pt x="116194" y="142501"/>
                    </a:cubicBezTo>
                    <a:cubicBezTo>
                      <a:pt x="113685" y="116793"/>
                      <a:pt x="109195" y="91317"/>
                      <a:pt x="102764" y="66301"/>
                    </a:cubicBezTo>
                    <a:cubicBezTo>
                      <a:pt x="99656" y="54093"/>
                      <a:pt x="95116" y="42295"/>
                      <a:pt x="89238" y="31154"/>
                    </a:cubicBezTo>
                    <a:cubicBezTo>
                      <a:pt x="84276" y="20366"/>
                      <a:pt x="75124" y="12074"/>
                      <a:pt x="63902" y="8198"/>
                    </a:cubicBezTo>
                    <a:lnTo>
                      <a:pt x="63902" y="8198"/>
                    </a:lnTo>
                    <a:cubicBezTo>
                      <a:pt x="57379" y="7126"/>
                      <a:pt x="50684" y="8231"/>
                      <a:pt x="44852" y="11342"/>
                    </a:cubicBezTo>
                    <a:cubicBezTo>
                      <a:pt x="39069" y="14742"/>
                      <a:pt x="34250" y="19561"/>
                      <a:pt x="30850" y="25343"/>
                    </a:cubicBezTo>
                    <a:cubicBezTo>
                      <a:pt x="23862" y="37837"/>
                      <a:pt x="18941" y="51379"/>
                      <a:pt x="16277" y="65444"/>
                    </a:cubicBezTo>
                    <a:cubicBezTo>
                      <a:pt x="13346" y="79796"/>
                      <a:pt x="11184" y="94295"/>
                      <a:pt x="9800" y="108878"/>
                    </a:cubicBezTo>
                    <a:cubicBezTo>
                      <a:pt x="8371" y="123451"/>
                      <a:pt x="7418" y="138119"/>
                      <a:pt x="6847" y="152788"/>
                    </a:cubicBezTo>
                    <a:cubicBezTo>
                      <a:pt x="5609" y="182220"/>
                      <a:pt x="5418" y="211748"/>
                      <a:pt x="5609" y="241275"/>
                    </a:cubicBezTo>
                    <a:cubicBezTo>
                      <a:pt x="5799" y="270803"/>
                      <a:pt x="6656" y="300235"/>
                      <a:pt x="7514" y="329762"/>
                    </a:cubicBezTo>
                    <a:cubicBezTo>
                      <a:pt x="8371" y="359290"/>
                      <a:pt x="9514" y="388817"/>
                      <a:pt x="10657" y="418250"/>
                    </a:cubicBezTo>
                    <a:lnTo>
                      <a:pt x="13895" y="506832"/>
                    </a:lnTo>
                    <a:cubicBezTo>
                      <a:pt x="15038" y="536360"/>
                      <a:pt x="15959" y="565916"/>
                      <a:pt x="16658" y="595510"/>
                    </a:cubicBezTo>
                    <a:cubicBezTo>
                      <a:pt x="17515" y="625037"/>
                      <a:pt x="18277" y="654660"/>
                      <a:pt x="18563" y="684188"/>
                    </a:cubicBezTo>
                    <a:close/>
                  </a:path>
                </a:pathLst>
              </a:custGeom>
              <a:solidFill>
                <a:srgbClr val="4750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1" name="Freeform: Shape 960">
                <a:extLst>
                  <a:ext uri="{FF2B5EF4-FFF2-40B4-BE49-F238E27FC236}">
                    <a16:creationId xmlns:a16="http://schemas.microsoft.com/office/drawing/2014/main" id="{832365DE-26E7-4E5B-9278-353F61BA1AD9}"/>
                  </a:ext>
                </a:extLst>
              </p:cNvPr>
              <p:cNvSpPr/>
              <p:nvPr/>
            </p:nvSpPr>
            <p:spPr>
              <a:xfrm>
                <a:off x="980145" y="2821330"/>
                <a:ext cx="180117" cy="160671"/>
              </a:xfrm>
              <a:custGeom>
                <a:avLst/>
                <a:gdLst>
                  <a:gd name="connsiteX0" fmla="*/ 0 w 180117"/>
                  <a:gd name="connsiteY0" fmla="*/ 104013 h 160671"/>
                  <a:gd name="connsiteX1" fmla="*/ 117634 w 180117"/>
                  <a:gd name="connsiteY1" fmla="*/ 159544 h 160671"/>
                  <a:gd name="connsiteX2" fmla="*/ 180118 w 180117"/>
                  <a:gd name="connsiteY2" fmla="*/ 0 h 160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0117" h="160671">
                    <a:moveTo>
                      <a:pt x="0" y="104013"/>
                    </a:moveTo>
                    <a:cubicBezTo>
                      <a:pt x="0" y="104013"/>
                      <a:pt x="96488" y="170021"/>
                      <a:pt x="117634" y="159544"/>
                    </a:cubicBezTo>
                    <a:cubicBezTo>
                      <a:pt x="144590" y="146018"/>
                      <a:pt x="180118" y="0"/>
                      <a:pt x="180118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2" name="Freeform: Shape 961">
                <a:extLst>
                  <a:ext uri="{FF2B5EF4-FFF2-40B4-BE49-F238E27FC236}">
                    <a16:creationId xmlns:a16="http://schemas.microsoft.com/office/drawing/2014/main" id="{5C1E7EF4-2A67-4BBE-BA77-C409AA314E5A}"/>
                  </a:ext>
                </a:extLst>
              </p:cNvPr>
              <p:cNvSpPr/>
              <p:nvPr/>
            </p:nvSpPr>
            <p:spPr>
              <a:xfrm>
                <a:off x="909897" y="2578171"/>
                <a:ext cx="195788" cy="228205"/>
              </a:xfrm>
              <a:custGeom>
                <a:avLst/>
                <a:gdLst>
                  <a:gd name="connsiteX0" fmla="*/ 2907 w 195788"/>
                  <a:gd name="connsiteY0" fmla="*/ 50278 h 228205"/>
                  <a:gd name="connsiteX1" fmla="*/ 185596 w 195788"/>
                  <a:gd name="connsiteY1" fmla="*/ 228205 h 228205"/>
                  <a:gd name="connsiteX2" fmla="*/ 195788 w 195788"/>
                  <a:gd name="connsiteY2" fmla="*/ 211251 h 228205"/>
                  <a:gd name="connsiteX3" fmla="*/ 157688 w 195788"/>
                  <a:gd name="connsiteY3" fmla="*/ 153339 h 228205"/>
                  <a:gd name="connsiteX4" fmla="*/ 5288 w 195788"/>
                  <a:gd name="connsiteY4" fmla="*/ 8749 h 228205"/>
                  <a:gd name="connsiteX5" fmla="*/ 2907 w 195788"/>
                  <a:gd name="connsiteY5" fmla="*/ 50278 h 228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788" h="228205">
                    <a:moveTo>
                      <a:pt x="2907" y="50278"/>
                    </a:moveTo>
                    <a:cubicBezTo>
                      <a:pt x="2907" y="50278"/>
                      <a:pt x="48817" y="128002"/>
                      <a:pt x="185596" y="228205"/>
                    </a:cubicBezTo>
                    <a:lnTo>
                      <a:pt x="195788" y="211251"/>
                    </a:lnTo>
                    <a:cubicBezTo>
                      <a:pt x="181918" y="192744"/>
                      <a:pt x="169194" y="173398"/>
                      <a:pt x="157688" y="153339"/>
                    </a:cubicBezTo>
                    <a:cubicBezTo>
                      <a:pt x="117397" y="82663"/>
                      <a:pt x="53580" y="-32685"/>
                      <a:pt x="5288" y="8749"/>
                    </a:cubicBezTo>
                    <a:cubicBezTo>
                      <a:pt x="-817" y="21771"/>
                      <a:pt x="-1670" y="36644"/>
                      <a:pt x="2907" y="50278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3" name="Freeform: Shape 962">
                <a:extLst>
                  <a:ext uri="{FF2B5EF4-FFF2-40B4-BE49-F238E27FC236}">
                    <a16:creationId xmlns:a16="http://schemas.microsoft.com/office/drawing/2014/main" id="{78286A44-6D0B-4DAC-AA0A-6C8572DF8A60}"/>
                  </a:ext>
                </a:extLst>
              </p:cNvPr>
              <p:cNvSpPr/>
              <p:nvPr/>
            </p:nvSpPr>
            <p:spPr>
              <a:xfrm>
                <a:off x="1087683" y="2767853"/>
                <a:ext cx="68761" cy="48175"/>
              </a:xfrm>
              <a:custGeom>
                <a:avLst/>
                <a:gdLst>
                  <a:gd name="connsiteX0" fmla="*/ 0 w 68761"/>
                  <a:gd name="connsiteY0" fmla="*/ 18044 h 48175"/>
                  <a:gd name="connsiteX1" fmla="*/ 59150 w 68761"/>
                  <a:gd name="connsiteY1" fmla="*/ 42 h 48175"/>
                  <a:gd name="connsiteX2" fmla="*/ 64865 w 68761"/>
                  <a:gd name="connsiteY2" fmla="*/ 10138 h 48175"/>
                  <a:gd name="connsiteX3" fmla="*/ 65913 w 68761"/>
                  <a:gd name="connsiteY3" fmla="*/ 24140 h 48175"/>
                  <a:gd name="connsiteX4" fmla="*/ 63817 w 68761"/>
                  <a:gd name="connsiteY4" fmla="*/ 37189 h 48175"/>
                  <a:gd name="connsiteX5" fmla="*/ 57436 w 68761"/>
                  <a:gd name="connsiteY5" fmla="*/ 47286 h 48175"/>
                  <a:gd name="connsiteX6" fmla="*/ 4572 w 68761"/>
                  <a:gd name="connsiteY6" fmla="*/ 35856 h 4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761" h="48175">
                    <a:moveTo>
                      <a:pt x="0" y="18044"/>
                    </a:moveTo>
                    <a:cubicBezTo>
                      <a:pt x="0" y="18044"/>
                      <a:pt x="42481" y="-1006"/>
                      <a:pt x="59150" y="42"/>
                    </a:cubicBezTo>
                    <a:cubicBezTo>
                      <a:pt x="67913" y="42"/>
                      <a:pt x="67437" y="6423"/>
                      <a:pt x="64865" y="10138"/>
                    </a:cubicBezTo>
                    <a:cubicBezTo>
                      <a:pt x="69247" y="11757"/>
                      <a:pt x="70390" y="16996"/>
                      <a:pt x="65913" y="24140"/>
                    </a:cubicBezTo>
                    <a:cubicBezTo>
                      <a:pt x="68866" y="28140"/>
                      <a:pt x="68580" y="30236"/>
                      <a:pt x="63817" y="37189"/>
                    </a:cubicBezTo>
                    <a:cubicBezTo>
                      <a:pt x="66008" y="42714"/>
                      <a:pt x="63817" y="46714"/>
                      <a:pt x="57436" y="47286"/>
                    </a:cubicBezTo>
                    <a:cubicBezTo>
                      <a:pt x="39008" y="50143"/>
                      <a:pt x="20175" y="46066"/>
                      <a:pt x="4572" y="35856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4" name="Freeform: Shape 963">
                <a:extLst>
                  <a:ext uri="{FF2B5EF4-FFF2-40B4-BE49-F238E27FC236}">
                    <a16:creationId xmlns:a16="http://schemas.microsoft.com/office/drawing/2014/main" id="{C506EA86-07EE-42D7-B014-557B8F1D56C0}"/>
                  </a:ext>
                </a:extLst>
              </p:cNvPr>
              <p:cNvSpPr/>
              <p:nvPr/>
            </p:nvSpPr>
            <p:spPr>
              <a:xfrm>
                <a:off x="908820" y="2243258"/>
                <a:ext cx="180261" cy="391202"/>
              </a:xfrm>
              <a:custGeom>
                <a:avLst/>
                <a:gdLst>
                  <a:gd name="connsiteX0" fmla="*/ 154192 w 180261"/>
                  <a:gd name="connsiteY0" fmla="*/ 0 h 391202"/>
                  <a:gd name="connsiteX1" fmla="*/ 98757 w 180261"/>
                  <a:gd name="connsiteY1" fmla="*/ 62674 h 391202"/>
                  <a:gd name="connsiteX2" fmla="*/ 5793 w 180261"/>
                  <a:gd name="connsiteY2" fmla="*/ 385382 h 391202"/>
                  <a:gd name="connsiteX3" fmla="*/ 148668 w 180261"/>
                  <a:gd name="connsiteY3" fmla="*/ 178784 h 391202"/>
                  <a:gd name="connsiteX4" fmla="*/ 154192 w 180261"/>
                  <a:gd name="connsiteY4" fmla="*/ 0 h 39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261" h="391202">
                    <a:moveTo>
                      <a:pt x="154192" y="0"/>
                    </a:moveTo>
                    <a:cubicBezTo>
                      <a:pt x="154192" y="0"/>
                      <a:pt x="122665" y="4000"/>
                      <a:pt x="98757" y="62674"/>
                    </a:cubicBezTo>
                    <a:cubicBezTo>
                      <a:pt x="56561" y="166211"/>
                      <a:pt x="-21925" y="361093"/>
                      <a:pt x="5793" y="385382"/>
                    </a:cubicBezTo>
                    <a:cubicBezTo>
                      <a:pt x="59609" y="432435"/>
                      <a:pt x="148668" y="178784"/>
                      <a:pt x="148668" y="178784"/>
                    </a:cubicBezTo>
                    <a:cubicBezTo>
                      <a:pt x="148668" y="178784"/>
                      <a:pt x="215914" y="40576"/>
                      <a:pt x="154192" y="0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5" name="Freeform: Shape 964">
                <a:extLst>
                  <a:ext uri="{FF2B5EF4-FFF2-40B4-BE49-F238E27FC236}">
                    <a16:creationId xmlns:a16="http://schemas.microsoft.com/office/drawing/2014/main" id="{5E612960-B8AA-4FCA-8840-D8C2F8143A3B}"/>
                  </a:ext>
                </a:extLst>
              </p:cNvPr>
              <p:cNvSpPr/>
              <p:nvPr/>
            </p:nvSpPr>
            <p:spPr>
              <a:xfrm>
                <a:off x="729162" y="1822387"/>
                <a:ext cx="323087" cy="560309"/>
              </a:xfrm>
              <a:custGeom>
                <a:avLst/>
                <a:gdLst>
                  <a:gd name="connsiteX0" fmla="*/ 100298 w 323087"/>
                  <a:gd name="connsiteY0" fmla="*/ 3009 h 560309"/>
                  <a:gd name="connsiteX1" fmla="*/ 0 w 323087"/>
                  <a:gd name="connsiteY1" fmla="*/ 386010 h 560309"/>
                  <a:gd name="connsiteX2" fmla="*/ 134398 w 323087"/>
                  <a:gd name="connsiteY2" fmla="*/ 540791 h 560309"/>
                  <a:gd name="connsiteX3" fmla="*/ 323088 w 323087"/>
                  <a:gd name="connsiteY3" fmla="*/ 542886 h 560309"/>
                  <a:gd name="connsiteX4" fmla="*/ 264795 w 323087"/>
                  <a:gd name="connsiteY4" fmla="*/ 517264 h 560309"/>
                  <a:gd name="connsiteX5" fmla="*/ 259652 w 323087"/>
                  <a:gd name="connsiteY5" fmla="*/ 218655 h 560309"/>
                  <a:gd name="connsiteX6" fmla="*/ 100298 w 323087"/>
                  <a:gd name="connsiteY6" fmla="*/ 3009 h 56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087" h="560309">
                    <a:moveTo>
                      <a:pt x="100298" y="3009"/>
                    </a:moveTo>
                    <a:cubicBezTo>
                      <a:pt x="85630" y="35966"/>
                      <a:pt x="67437" y="464019"/>
                      <a:pt x="0" y="386010"/>
                    </a:cubicBezTo>
                    <a:cubicBezTo>
                      <a:pt x="0" y="386010"/>
                      <a:pt x="17717" y="490785"/>
                      <a:pt x="134398" y="540791"/>
                    </a:cubicBezTo>
                    <a:cubicBezTo>
                      <a:pt x="180213" y="560508"/>
                      <a:pt x="279749" y="571557"/>
                      <a:pt x="323088" y="542886"/>
                    </a:cubicBezTo>
                    <a:cubicBezTo>
                      <a:pt x="323088" y="542886"/>
                      <a:pt x="277368" y="550602"/>
                      <a:pt x="264795" y="517264"/>
                    </a:cubicBezTo>
                    <a:cubicBezTo>
                      <a:pt x="244412" y="463162"/>
                      <a:pt x="259652" y="218655"/>
                      <a:pt x="259652" y="218655"/>
                    </a:cubicBezTo>
                    <a:cubicBezTo>
                      <a:pt x="259652" y="218655"/>
                      <a:pt x="114872" y="-29947"/>
                      <a:pt x="100298" y="3009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6" name="Freeform: Shape 965">
                <a:extLst>
                  <a:ext uri="{FF2B5EF4-FFF2-40B4-BE49-F238E27FC236}">
                    <a16:creationId xmlns:a16="http://schemas.microsoft.com/office/drawing/2014/main" id="{5528C133-F645-40E9-A2C7-9629BC08E9FB}"/>
                  </a:ext>
                </a:extLst>
              </p:cNvPr>
              <p:cNvSpPr/>
              <p:nvPr/>
            </p:nvSpPr>
            <p:spPr>
              <a:xfrm>
                <a:off x="967953" y="1995142"/>
                <a:ext cx="41742" cy="66653"/>
              </a:xfrm>
              <a:custGeom>
                <a:avLst/>
                <a:gdLst>
                  <a:gd name="connsiteX0" fmla="*/ 13907 w 41742"/>
                  <a:gd name="connsiteY0" fmla="*/ 60378 h 66653"/>
                  <a:gd name="connsiteX1" fmla="*/ 40672 w 41742"/>
                  <a:gd name="connsiteY1" fmla="*/ 52758 h 66653"/>
                  <a:gd name="connsiteX2" fmla="*/ 27813 w 41742"/>
                  <a:gd name="connsiteY2" fmla="*/ 6276 h 66653"/>
                  <a:gd name="connsiteX3" fmla="*/ 1048 w 41742"/>
                  <a:gd name="connsiteY3" fmla="*/ 13896 h 66653"/>
                  <a:gd name="connsiteX4" fmla="*/ 13907 w 41742"/>
                  <a:gd name="connsiteY4" fmla="*/ 60378 h 6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42" h="66653">
                    <a:moveTo>
                      <a:pt x="13907" y="60378"/>
                    </a:moveTo>
                    <a:cubicBezTo>
                      <a:pt x="24860" y="71141"/>
                      <a:pt x="36862" y="67712"/>
                      <a:pt x="40672" y="52758"/>
                    </a:cubicBezTo>
                    <a:cubicBezTo>
                      <a:pt x="44067" y="36099"/>
                      <a:pt x="39287" y="18821"/>
                      <a:pt x="27813" y="6276"/>
                    </a:cubicBezTo>
                    <a:cubicBezTo>
                      <a:pt x="16859" y="-4487"/>
                      <a:pt x="4858" y="-1058"/>
                      <a:pt x="1048" y="13896"/>
                    </a:cubicBezTo>
                    <a:cubicBezTo>
                      <a:pt x="-2299" y="30553"/>
                      <a:pt x="2475" y="47810"/>
                      <a:pt x="13907" y="60378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7" name="Freeform: Shape 966">
                <a:extLst>
                  <a:ext uri="{FF2B5EF4-FFF2-40B4-BE49-F238E27FC236}">
                    <a16:creationId xmlns:a16="http://schemas.microsoft.com/office/drawing/2014/main" id="{54EA39D9-6E35-4632-888E-07B6E3854944}"/>
                  </a:ext>
                </a:extLst>
              </p:cNvPr>
              <p:cNvSpPr/>
              <p:nvPr/>
            </p:nvSpPr>
            <p:spPr>
              <a:xfrm>
                <a:off x="978444" y="2011519"/>
                <a:ext cx="21363" cy="34091"/>
              </a:xfrm>
              <a:custGeom>
                <a:avLst/>
                <a:gdLst>
                  <a:gd name="connsiteX0" fmla="*/ 7130 w 21363"/>
                  <a:gd name="connsiteY0" fmla="*/ 30857 h 34091"/>
                  <a:gd name="connsiteX1" fmla="*/ 20846 w 21363"/>
                  <a:gd name="connsiteY1" fmla="*/ 26952 h 34091"/>
                  <a:gd name="connsiteX2" fmla="*/ 14179 w 21363"/>
                  <a:gd name="connsiteY2" fmla="*/ 3234 h 34091"/>
                  <a:gd name="connsiteX3" fmla="*/ 558 w 21363"/>
                  <a:gd name="connsiteY3" fmla="*/ 7140 h 34091"/>
                  <a:gd name="connsiteX4" fmla="*/ 7130 w 21363"/>
                  <a:gd name="connsiteY4" fmla="*/ 30857 h 3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63" h="34091">
                    <a:moveTo>
                      <a:pt x="7130" y="30857"/>
                    </a:moveTo>
                    <a:cubicBezTo>
                      <a:pt x="12750" y="36381"/>
                      <a:pt x="18846" y="34667"/>
                      <a:pt x="20846" y="26952"/>
                    </a:cubicBezTo>
                    <a:cubicBezTo>
                      <a:pt x="22530" y="18435"/>
                      <a:pt x="20054" y="9626"/>
                      <a:pt x="14179" y="3234"/>
                    </a:cubicBezTo>
                    <a:cubicBezTo>
                      <a:pt x="8654" y="-2290"/>
                      <a:pt x="2463" y="-576"/>
                      <a:pt x="558" y="7140"/>
                    </a:cubicBezTo>
                    <a:cubicBezTo>
                      <a:pt x="-1199" y="15643"/>
                      <a:pt x="1247" y="24471"/>
                      <a:pt x="7130" y="30857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8" name="Freeform: Shape 967">
                <a:extLst>
                  <a:ext uri="{FF2B5EF4-FFF2-40B4-BE49-F238E27FC236}">
                    <a16:creationId xmlns:a16="http://schemas.microsoft.com/office/drawing/2014/main" id="{AB04B914-E105-4957-830D-4880E63FFB04}"/>
                  </a:ext>
                </a:extLst>
              </p:cNvPr>
              <p:cNvSpPr/>
              <p:nvPr/>
            </p:nvSpPr>
            <p:spPr>
              <a:xfrm>
                <a:off x="985098" y="2062569"/>
                <a:ext cx="15239" cy="46577"/>
              </a:xfrm>
              <a:custGeom>
                <a:avLst/>
                <a:gdLst>
                  <a:gd name="connsiteX0" fmla="*/ 15240 w 15239"/>
                  <a:gd name="connsiteY0" fmla="*/ 28575 h 46577"/>
                  <a:gd name="connsiteX1" fmla="*/ 7620 w 15239"/>
                  <a:gd name="connsiteY1" fmla="*/ 46577 h 46577"/>
                  <a:gd name="connsiteX2" fmla="*/ 0 w 15239"/>
                  <a:gd name="connsiteY2" fmla="*/ 28575 h 46577"/>
                  <a:gd name="connsiteX3" fmla="*/ 7620 w 15239"/>
                  <a:gd name="connsiteY3" fmla="*/ 0 h 46577"/>
                  <a:gd name="connsiteX4" fmla="*/ 15240 w 15239"/>
                  <a:gd name="connsiteY4" fmla="*/ 28575 h 4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39" h="46577">
                    <a:moveTo>
                      <a:pt x="15240" y="28575"/>
                    </a:moveTo>
                    <a:cubicBezTo>
                      <a:pt x="15240" y="41434"/>
                      <a:pt x="11811" y="46577"/>
                      <a:pt x="7620" y="46577"/>
                    </a:cubicBezTo>
                    <a:cubicBezTo>
                      <a:pt x="3429" y="46577"/>
                      <a:pt x="0" y="41434"/>
                      <a:pt x="0" y="28575"/>
                    </a:cubicBezTo>
                    <a:cubicBezTo>
                      <a:pt x="0" y="15716"/>
                      <a:pt x="3429" y="0"/>
                      <a:pt x="7620" y="0"/>
                    </a:cubicBezTo>
                    <a:cubicBezTo>
                      <a:pt x="11811" y="0"/>
                      <a:pt x="15240" y="15716"/>
                      <a:pt x="15240" y="28575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69" name="Freeform: Shape 968">
                <a:extLst>
                  <a:ext uri="{FF2B5EF4-FFF2-40B4-BE49-F238E27FC236}">
                    <a16:creationId xmlns:a16="http://schemas.microsoft.com/office/drawing/2014/main" id="{918A805F-7D05-4848-B1AB-82797DFC88E3}"/>
                  </a:ext>
                </a:extLst>
              </p:cNvPr>
              <p:cNvSpPr/>
              <p:nvPr/>
            </p:nvSpPr>
            <p:spPr>
              <a:xfrm>
                <a:off x="987003" y="2052377"/>
                <a:ext cx="11430" cy="11430"/>
              </a:xfrm>
              <a:custGeom>
                <a:avLst/>
                <a:gdLst>
                  <a:gd name="connsiteX0" fmla="*/ 11430 w 11430"/>
                  <a:gd name="connsiteY0" fmla="*/ 5715 h 11430"/>
                  <a:gd name="connsiteX1" fmla="*/ 5715 w 11430"/>
                  <a:gd name="connsiteY1" fmla="*/ 11430 h 11430"/>
                  <a:gd name="connsiteX2" fmla="*/ 0 w 11430"/>
                  <a:gd name="connsiteY2" fmla="*/ 5715 h 11430"/>
                  <a:gd name="connsiteX3" fmla="*/ 5715 w 11430"/>
                  <a:gd name="connsiteY3" fmla="*/ 0 h 11430"/>
                  <a:gd name="connsiteX4" fmla="*/ 11430 w 11430"/>
                  <a:gd name="connsiteY4" fmla="*/ 5715 h 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" h="11430">
                    <a:moveTo>
                      <a:pt x="11430" y="5715"/>
                    </a:moveTo>
                    <a:cubicBezTo>
                      <a:pt x="11430" y="8871"/>
                      <a:pt x="8871" y="11430"/>
                      <a:pt x="5715" y="11430"/>
                    </a:cubicBezTo>
                    <a:cubicBezTo>
                      <a:pt x="2559" y="11430"/>
                      <a:pt x="0" y="8871"/>
                      <a:pt x="0" y="5715"/>
                    </a:cubicBezTo>
                    <a:cubicBezTo>
                      <a:pt x="0" y="2559"/>
                      <a:pt x="2559" y="0"/>
                      <a:pt x="5715" y="0"/>
                    </a:cubicBezTo>
                    <a:cubicBezTo>
                      <a:pt x="8871" y="0"/>
                      <a:pt x="11430" y="2559"/>
                      <a:pt x="11430" y="5715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970" name="Freeform: Shape 969">
                <a:extLst>
                  <a:ext uri="{FF2B5EF4-FFF2-40B4-BE49-F238E27FC236}">
                    <a16:creationId xmlns:a16="http://schemas.microsoft.com/office/drawing/2014/main" id="{D48A6653-CC90-40DE-AFC4-D2C1D95F90DF}"/>
                  </a:ext>
                </a:extLst>
              </p:cNvPr>
              <p:cNvSpPr/>
              <p:nvPr/>
            </p:nvSpPr>
            <p:spPr>
              <a:xfrm>
                <a:off x="836828" y="1769763"/>
                <a:ext cx="285239" cy="141727"/>
              </a:xfrm>
              <a:custGeom>
                <a:avLst/>
                <a:gdLst>
                  <a:gd name="connsiteX0" fmla="*/ 41971 w 285239"/>
                  <a:gd name="connsiteY0" fmla="*/ 117640 h 141727"/>
                  <a:gd name="connsiteX1" fmla="*/ 3871 w 285239"/>
                  <a:gd name="connsiteY1" fmla="*/ 39440 h 141727"/>
                  <a:gd name="connsiteX2" fmla="*/ 284192 w 285239"/>
                  <a:gd name="connsiteY2" fmla="*/ 72587 h 141727"/>
                  <a:gd name="connsiteX3" fmla="*/ 285240 w 285239"/>
                  <a:gd name="connsiteY3" fmla="*/ 74587 h 141727"/>
                  <a:gd name="connsiteX4" fmla="*/ 245616 w 285239"/>
                  <a:gd name="connsiteY4" fmla="*/ 117164 h 141727"/>
                  <a:gd name="connsiteX5" fmla="*/ 41971 w 285239"/>
                  <a:gd name="connsiteY5" fmla="*/ 117640 h 1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239" h="141727">
                    <a:moveTo>
                      <a:pt x="41971" y="117640"/>
                    </a:moveTo>
                    <a:cubicBezTo>
                      <a:pt x="5395" y="96495"/>
                      <a:pt x="-7178" y="66682"/>
                      <a:pt x="3871" y="39440"/>
                    </a:cubicBezTo>
                    <a:cubicBezTo>
                      <a:pt x="69308" y="-26568"/>
                      <a:pt x="240948" y="-5804"/>
                      <a:pt x="284192" y="72587"/>
                    </a:cubicBezTo>
                    <a:lnTo>
                      <a:pt x="285240" y="74587"/>
                    </a:lnTo>
                    <a:cubicBezTo>
                      <a:pt x="277516" y="93040"/>
                      <a:pt x="263467" y="108135"/>
                      <a:pt x="245616" y="117164"/>
                    </a:cubicBezTo>
                    <a:cubicBezTo>
                      <a:pt x="189228" y="149740"/>
                      <a:pt x="98073" y="149930"/>
                      <a:pt x="41971" y="117640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  <p:grpSp>
          <p:nvGrpSpPr>
            <p:cNvPr id="971" name="Green dress">
              <a:extLst>
                <a:ext uri="{FF2B5EF4-FFF2-40B4-BE49-F238E27FC236}">
                  <a16:creationId xmlns:a16="http://schemas.microsoft.com/office/drawing/2014/main" id="{AA9DF2D7-288A-4AC8-BBBA-D0468B13B7FD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5637703" y="3153792"/>
              <a:ext cx="522720" cy="1735937"/>
              <a:chOff x="5894026" y="4081689"/>
              <a:chExt cx="607298" cy="2016819"/>
            </a:xfrm>
          </p:grpSpPr>
          <p:grpSp>
            <p:nvGrpSpPr>
              <p:cNvPr id="972" name="Group 971">
                <a:extLst>
                  <a:ext uri="{FF2B5EF4-FFF2-40B4-BE49-F238E27FC236}">
                    <a16:creationId xmlns:a16="http://schemas.microsoft.com/office/drawing/2014/main" id="{349000C0-9493-4EF4-9FD7-4D7B36E58E22}"/>
                  </a:ext>
                </a:extLst>
              </p:cNvPr>
              <p:cNvGrpSpPr/>
              <p:nvPr/>
            </p:nvGrpSpPr>
            <p:grpSpPr>
              <a:xfrm>
                <a:off x="5894026" y="4258174"/>
                <a:ext cx="607298" cy="1840334"/>
                <a:chOff x="5894026" y="4258174"/>
                <a:chExt cx="607298" cy="1840334"/>
              </a:xfrm>
            </p:grpSpPr>
            <p:sp>
              <p:nvSpPr>
                <p:cNvPr id="974" name="Freeform: Shape 973">
                  <a:extLst>
                    <a:ext uri="{FF2B5EF4-FFF2-40B4-BE49-F238E27FC236}">
                      <a16:creationId xmlns:a16="http://schemas.microsoft.com/office/drawing/2014/main" id="{4342D26A-BF9F-40DB-A52B-A3F44AC3A63C}"/>
                    </a:ext>
                  </a:extLst>
                </p:cNvPr>
                <p:cNvSpPr/>
                <p:nvPr/>
              </p:nvSpPr>
              <p:spPr>
                <a:xfrm>
                  <a:off x="5992474" y="4304116"/>
                  <a:ext cx="17930" cy="197777"/>
                </a:xfrm>
                <a:custGeom>
                  <a:avLst/>
                  <a:gdLst>
                    <a:gd name="connsiteX0" fmla="*/ 410 w 7983"/>
                    <a:gd name="connsiteY0" fmla="*/ 0 h 88057"/>
                    <a:gd name="connsiteX1" fmla="*/ 1613 w 7983"/>
                    <a:gd name="connsiteY1" fmla="*/ 83315 h 88057"/>
                    <a:gd name="connsiteX2" fmla="*/ 7984 w 7983"/>
                    <a:gd name="connsiteY2" fmla="*/ 88058 h 88057"/>
                    <a:gd name="connsiteX3" fmla="*/ 4374 w 7983"/>
                    <a:gd name="connsiteY3" fmla="*/ 212 h 88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83" h="88057">
                      <a:moveTo>
                        <a:pt x="410" y="0"/>
                      </a:moveTo>
                      <a:cubicBezTo>
                        <a:pt x="410" y="0"/>
                        <a:pt x="-1077" y="21236"/>
                        <a:pt x="1613" y="83315"/>
                      </a:cubicBezTo>
                      <a:lnTo>
                        <a:pt x="7984" y="88058"/>
                      </a:lnTo>
                      <a:cubicBezTo>
                        <a:pt x="4869" y="58886"/>
                        <a:pt x="3662" y="29542"/>
                        <a:pt x="4374" y="212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75" name="Freeform: Shape 974">
                  <a:extLst>
                    <a:ext uri="{FF2B5EF4-FFF2-40B4-BE49-F238E27FC236}">
                      <a16:creationId xmlns:a16="http://schemas.microsoft.com/office/drawing/2014/main" id="{38F2619B-663E-445B-BE2C-F49D7F110DE7}"/>
                    </a:ext>
                  </a:extLst>
                </p:cNvPr>
                <p:cNvSpPr/>
                <p:nvPr/>
              </p:nvSpPr>
              <p:spPr>
                <a:xfrm>
                  <a:off x="6383069" y="4528763"/>
                  <a:ext cx="16818" cy="193802"/>
                </a:xfrm>
                <a:custGeom>
                  <a:avLst/>
                  <a:gdLst>
                    <a:gd name="connsiteX0" fmla="*/ 7079 w 7488"/>
                    <a:gd name="connsiteY0" fmla="*/ 4389 h 86287"/>
                    <a:gd name="connsiteX1" fmla="*/ 5875 w 7488"/>
                    <a:gd name="connsiteY1" fmla="*/ 86288 h 86287"/>
                    <a:gd name="connsiteX2" fmla="*/ 0 w 7488"/>
                    <a:gd name="connsiteY2" fmla="*/ 83669 h 86287"/>
                    <a:gd name="connsiteX3" fmla="*/ 3610 w 7488"/>
                    <a:gd name="connsiteY3" fmla="*/ 0 h 86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88" h="86287">
                      <a:moveTo>
                        <a:pt x="7079" y="4389"/>
                      </a:moveTo>
                      <a:cubicBezTo>
                        <a:pt x="7079" y="4389"/>
                        <a:pt x="8565" y="27323"/>
                        <a:pt x="5875" y="86288"/>
                      </a:cubicBezTo>
                      <a:lnTo>
                        <a:pt x="0" y="83669"/>
                      </a:lnTo>
                      <a:cubicBezTo>
                        <a:pt x="3323" y="55911"/>
                        <a:pt x="4530" y="27941"/>
                        <a:pt x="3610" y="0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76" name="Freeform: Shape 975">
                  <a:extLst>
                    <a:ext uri="{FF2B5EF4-FFF2-40B4-BE49-F238E27FC236}">
                      <a16:creationId xmlns:a16="http://schemas.microsoft.com/office/drawing/2014/main" id="{62C5E8F4-40C2-4E02-AF0B-EB6D03EECE35}"/>
                    </a:ext>
                  </a:extLst>
                </p:cNvPr>
                <p:cNvSpPr/>
                <p:nvPr/>
              </p:nvSpPr>
              <p:spPr>
                <a:xfrm>
                  <a:off x="5996097" y="4490924"/>
                  <a:ext cx="400804" cy="469644"/>
                </a:xfrm>
                <a:custGeom>
                  <a:avLst/>
                  <a:gdLst>
                    <a:gd name="connsiteX0" fmla="*/ 0 w 178451"/>
                    <a:gd name="connsiteY0" fmla="*/ 0 h 209101"/>
                    <a:gd name="connsiteX1" fmla="*/ 52735 w 178451"/>
                    <a:gd name="connsiteY1" fmla="*/ 166064 h 209101"/>
                    <a:gd name="connsiteX2" fmla="*/ 127344 w 178451"/>
                    <a:gd name="connsiteY2" fmla="*/ 209101 h 209101"/>
                    <a:gd name="connsiteX3" fmla="*/ 178451 w 178451"/>
                    <a:gd name="connsiteY3" fmla="*/ 102923 h 209101"/>
                    <a:gd name="connsiteX4" fmla="*/ 89756 w 178451"/>
                    <a:gd name="connsiteY4" fmla="*/ 78148 h 209101"/>
                    <a:gd name="connsiteX5" fmla="*/ 0 w 178451"/>
                    <a:gd name="connsiteY5" fmla="*/ 0 h 209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8451" h="209101">
                      <a:moveTo>
                        <a:pt x="0" y="0"/>
                      </a:moveTo>
                      <a:lnTo>
                        <a:pt x="52735" y="166064"/>
                      </a:lnTo>
                      <a:lnTo>
                        <a:pt x="127344" y="209101"/>
                      </a:lnTo>
                      <a:cubicBezTo>
                        <a:pt x="127344" y="209101"/>
                        <a:pt x="169815" y="122884"/>
                        <a:pt x="178451" y="102923"/>
                      </a:cubicBezTo>
                      <a:cubicBezTo>
                        <a:pt x="128901" y="61938"/>
                        <a:pt x="89756" y="78148"/>
                        <a:pt x="89756" y="78148"/>
                      </a:cubicBezTo>
                      <a:cubicBezTo>
                        <a:pt x="89756" y="78148"/>
                        <a:pt x="47922" y="22227"/>
                        <a:pt x="0" y="0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77" name="Freeform: Shape 976">
                  <a:extLst>
                    <a:ext uri="{FF2B5EF4-FFF2-40B4-BE49-F238E27FC236}">
                      <a16:creationId xmlns:a16="http://schemas.microsoft.com/office/drawing/2014/main" id="{643ED7B1-860D-43DE-939F-E5C754D50EC5}"/>
                    </a:ext>
                  </a:extLst>
                </p:cNvPr>
                <p:cNvSpPr/>
                <p:nvPr/>
              </p:nvSpPr>
              <p:spPr>
                <a:xfrm>
                  <a:off x="5894026" y="4857056"/>
                  <a:ext cx="607298" cy="1239870"/>
                </a:xfrm>
                <a:custGeom>
                  <a:avLst/>
                  <a:gdLst>
                    <a:gd name="connsiteX0" fmla="*/ 98180 w 270389"/>
                    <a:gd name="connsiteY0" fmla="*/ 3191 h 552031"/>
                    <a:gd name="connsiteX1" fmla="*/ 0 w 270389"/>
                    <a:gd name="connsiteY1" fmla="*/ 396549 h 552031"/>
                    <a:gd name="connsiteX2" fmla="*/ 133927 w 270389"/>
                    <a:gd name="connsiteY2" fmla="*/ 505700 h 552031"/>
                    <a:gd name="connsiteX3" fmla="*/ 269199 w 270389"/>
                    <a:gd name="connsiteY3" fmla="*/ 551924 h 552031"/>
                    <a:gd name="connsiteX4" fmla="*/ 172788 w 270389"/>
                    <a:gd name="connsiteY4" fmla="*/ 46158 h 552031"/>
                    <a:gd name="connsiteX5" fmla="*/ 98180 w 270389"/>
                    <a:gd name="connsiteY5" fmla="*/ 3191 h 552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389" h="552031">
                      <a:moveTo>
                        <a:pt x="98180" y="3191"/>
                      </a:moveTo>
                      <a:cubicBezTo>
                        <a:pt x="-16422" y="183837"/>
                        <a:pt x="4176" y="254623"/>
                        <a:pt x="0" y="396549"/>
                      </a:cubicBezTo>
                      <a:cubicBezTo>
                        <a:pt x="0" y="396549"/>
                        <a:pt x="45940" y="454876"/>
                        <a:pt x="133927" y="505700"/>
                      </a:cubicBezTo>
                      <a:cubicBezTo>
                        <a:pt x="221914" y="556525"/>
                        <a:pt x="269199" y="551924"/>
                        <a:pt x="269199" y="551924"/>
                      </a:cubicBezTo>
                      <a:cubicBezTo>
                        <a:pt x="269199" y="471652"/>
                        <a:pt x="288382" y="343884"/>
                        <a:pt x="172788" y="46158"/>
                      </a:cubicBezTo>
                      <a:cubicBezTo>
                        <a:pt x="172788" y="46229"/>
                        <a:pt x="138245" y="-14363"/>
                        <a:pt x="98180" y="3191"/>
                      </a:cubicBezTo>
                      <a:close/>
                    </a:path>
                  </a:pathLst>
                </a:custGeom>
                <a:solidFill>
                  <a:srgbClr val="23ADAD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78" name="Freeform: Shape 977">
                  <a:extLst>
                    <a:ext uri="{FF2B5EF4-FFF2-40B4-BE49-F238E27FC236}">
                      <a16:creationId xmlns:a16="http://schemas.microsoft.com/office/drawing/2014/main" id="{5DA1A9A5-9D2C-48D1-A9AA-66C265892C0F}"/>
                    </a:ext>
                  </a:extLst>
                </p:cNvPr>
                <p:cNvSpPr/>
                <p:nvPr/>
              </p:nvSpPr>
              <p:spPr>
                <a:xfrm>
                  <a:off x="6049675" y="4529877"/>
                  <a:ext cx="451218" cy="1568631"/>
                </a:xfrm>
                <a:custGeom>
                  <a:avLst/>
                  <a:gdLst>
                    <a:gd name="connsiteX0" fmla="*/ 103206 w 200897"/>
                    <a:gd name="connsiteY0" fmla="*/ 192467 h 698406"/>
                    <a:gd name="connsiteX1" fmla="*/ 154313 w 200897"/>
                    <a:gd name="connsiteY1" fmla="*/ 86288 h 698406"/>
                    <a:gd name="connsiteX2" fmla="*/ 155517 w 200897"/>
                    <a:gd name="connsiteY2" fmla="*/ 4318 h 698406"/>
                    <a:gd name="connsiteX3" fmla="*/ 151623 w 200897"/>
                    <a:gd name="connsiteY3" fmla="*/ 0 h 698406"/>
                    <a:gd name="connsiteX4" fmla="*/ 148438 w 200897"/>
                    <a:gd name="connsiteY4" fmla="*/ 81758 h 698406"/>
                    <a:gd name="connsiteX5" fmla="*/ 136688 w 200897"/>
                    <a:gd name="connsiteY5" fmla="*/ 73971 h 698406"/>
                    <a:gd name="connsiteX6" fmla="*/ 85863 w 200897"/>
                    <a:gd name="connsiteY6" fmla="*/ 179513 h 698406"/>
                    <a:gd name="connsiteX7" fmla="*/ 182274 w 200897"/>
                    <a:gd name="connsiteY7" fmla="*/ 685207 h 698406"/>
                    <a:gd name="connsiteX8" fmla="*/ 47073 w 200897"/>
                    <a:gd name="connsiteY8" fmla="*/ 638913 h 698406"/>
                    <a:gd name="connsiteX9" fmla="*/ 0 w 200897"/>
                    <a:gd name="connsiteY9" fmla="*/ 608475 h 698406"/>
                    <a:gd name="connsiteX10" fmla="*/ 64557 w 200897"/>
                    <a:gd name="connsiteY10" fmla="*/ 652009 h 698406"/>
                    <a:gd name="connsiteX11" fmla="*/ 199829 w 200897"/>
                    <a:gd name="connsiteY11" fmla="*/ 698303 h 698406"/>
                    <a:gd name="connsiteX12" fmla="*/ 103206 w 200897"/>
                    <a:gd name="connsiteY12" fmla="*/ 192467 h 698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0897" h="698406">
                      <a:moveTo>
                        <a:pt x="103206" y="192467"/>
                      </a:moveTo>
                      <a:cubicBezTo>
                        <a:pt x="103206" y="192467"/>
                        <a:pt x="145677" y="106250"/>
                        <a:pt x="154313" y="86288"/>
                      </a:cubicBezTo>
                      <a:cubicBezTo>
                        <a:pt x="157074" y="27323"/>
                        <a:pt x="155517" y="4318"/>
                        <a:pt x="155517" y="4318"/>
                      </a:cubicBezTo>
                      <a:lnTo>
                        <a:pt x="151623" y="0"/>
                      </a:lnTo>
                      <a:cubicBezTo>
                        <a:pt x="152494" y="27294"/>
                        <a:pt x="151429" y="54615"/>
                        <a:pt x="148438" y="81758"/>
                      </a:cubicBezTo>
                      <a:cubicBezTo>
                        <a:pt x="144403" y="78785"/>
                        <a:pt x="140581" y="76307"/>
                        <a:pt x="136688" y="73971"/>
                      </a:cubicBezTo>
                      <a:cubicBezTo>
                        <a:pt x="127273" y="95207"/>
                        <a:pt x="85863" y="179513"/>
                        <a:pt x="85863" y="179513"/>
                      </a:cubicBezTo>
                      <a:cubicBezTo>
                        <a:pt x="201457" y="477168"/>
                        <a:pt x="182274" y="604936"/>
                        <a:pt x="182274" y="685207"/>
                      </a:cubicBezTo>
                      <a:cubicBezTo>
                        <a:pt x="182274" y="685207"/>
                        <a:pt x="134989" y="689667"/>
                        <a:pt x="47073" y="638913"/>
                      </a:cubicBezTo>
                      <a:cubicBezTo>
                        <a:pt x="29730" y="628862"/>
                        <a:pt x="14016" y="618598"/>
                        <a:pt x="0" y="608475"/>
                      </a:cubicBezTo>
                      <a:cubicBezTo>
                        <a:pt x="20465" y="624494"/>
                        <a:pt x="42038" y="639041"/>
                        <a:pt x="64557" y="652009"/>
                      </a:cubicBezTo>
                      <a:cubicBezTo>
                        <a:pt x="152544" y="702833"/>
                        <a:pt x="199829" y="698303"/>
                        <a:pt x="199829" y="698303"/>
                      </a:cubicBezTo>
                      <a:cubicBezTo>
                        <a:pt x="199616" y="617961"/>
                        <a:pt x="218799" y="490192"/>
                        <a:pt x="103206" y="192467"/>
                      </a:cubicBezTo>
                      <a:close/>
                    </a:path>
                  </a:pathLst>
                </a:custGeom>
                <a:solidFill>
                  <a:srgbClr val="199393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79" name="Freeform: Shape 978">
                  <a:extLst>
                    <a:ext uri="{FF2B5EF4-FFF2-40B4-BE49-F238E27FC236}">
                      <a16:creationId xmlns:a16="http://schemas.microsoft.com/office/drawing/2014/main" id="{983AF5FC-DD61-4FDB-8399-237D6FD8C36F}"/>
                    </a:ext>
                  </a:extLst>
                </p:cNvPr>
                <p:cNvSpPr/>
                <p:nvPr/>
              </p:nvSpPr>
              <p:spPr>
                <a:xfrm>
                  <a:off x="5942293" y="4258174"/>
                  <a:ext cx="498184" cy="296678"/>
                </a:xfrm>
                <a:custGeom>
                  <a:avLst/>
                  <a:gdLst>
                    <a:gd name="connsiteX0" fmla="*/ 221802 w 221808"/>
                    <a:gd name="connsiteY0" fmla="*/ 131942 h 132091"/>
                    <a:gd name="connsiteX1" fmla="*/ 108545 w 221808"/>
                    <a:gd name="connsiteY1" fmla="*/ 43672 h 132091"/>
                    <a:gd name="connsiteX2" fmla="*/ 30 w 221808"/>
                    <a:gd name="connsiteY2" fmla="*/ 564 h 132091"/>
                    <a:gd name="connsiteX3" fmla="*/ 109536 w 221808"/>
                    <a:gd name="connsiteY3" fmla="*/ 59599 h 132091"/>
                    <a:gd name="connsiteX4" fmla="*/ 221802 w 221808"/>
                    <a:gd name="connsiteY4" fmla="*/ 131942 h 132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1808" h="132091">
                      <a:moveTo>
                        <a:pt x="221802" y="131942"/>
                      </a:moveTo>
                      <a:cubicBezTo>
                        <a:pt x="222298" y="127766"/>
                        <a:pt x="194620" y="115874"/>
                        <a:pt x="108545" y="43672"/>
                      </a:cubicBezTo>
                      <a:cubicBezTo>
                        <a:pt x="52836" y="28807"/>
                        <a:pt x="-1457" y="-4745"/>
                        <a:pt x="30" y="564"/>
                      </a:cubicBezTo>
                      <a:cubicBezTo>
                        <a:pt x="1516" y="5873"/>
                        <a:pt x="109536" y="59599"/>
                        <a:pt x="109536" y="59599"/>
                      </a:cubicBezTo>
                      <a:cubicBezTo>
                        <a:pt x="109536" y="59599"/>
                        <a:pt x="221307" y="135906"/>
                        <a:pt x="221802" y="131942"/>
                      </a:cubicBez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80" name="Freeform: Shape 979">
                  <a:extLst>
                    <a:ext uri="{FF2B5EF4-FFF2-40B4-BE49-F238E27FC236}">
                      <a16:creationId xmlns:a16="http://schemas.microsoft.com/office/drawing/2014/main" id="{D9CCC175-FA0B-4246-879D-8B19FFF11677}"/>
                    </a:ext>
                  </a:extLst>
                </p:cNvPr>
                <p:cNvSpPr/>
                <p:nvPr/>
              </p:nvSpPr>
              <p:spPr>
                <a:xfrm>
                  <a:off x="6387042" y="4517793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  <p:sp>
              <p:nvSpPr>
                <p:cNvPr id="981" name="Freeform: Shape 980">
                  <a:extLst>
                    <a:ext uri="{FF2B5EF4-FFF2-40B4-BE49-F238E27FC236}">
                      <a16:creationId xmlns:a16="http://schemas.microsoft.com/office/drawing/2014/main" id="{3B308604-E447-4335-B05E-987E25DA4036}"/>
                    </a:ext>
                  </a:extLst>
                </p:cNvPr>
                <p:cNvSpPr/>
                <p:nvPr/>
              </p:nvSpPr>
              <p:spPr>
                <a:xfrm>
                  <a:off x="5976700" y="4280904"/>
                  <a:ext cx="20668" cy="32909"/>
                </a:xfrm>
                <a:custGeom>
                  <a:avLst/>
                  <a:gdLst>
                    <a:gd name="connsiteX0" fmla="*/ 0 w 9202"/>
                    <a:gd name="connsiteY0" fmla="*/ 9344 h 14652"/>
                    <a:gd name="connsiteX1" fmla="*/ 9202 w 9202"/>
                    <a:gd name="connsiteY1" fmla="*/ 14653 h 14652"/>
                    <a:gd name="connsiteX2" fmla="*/ 9202 w 9202"/>
                    <a:gd name="connsiteY2" fmla="*/ 5309 h 14652"/>
                    <a:gd name="connsiteX3" fmla="*/ 0 w 9202"/>
                    <a:gd name="connsiteY3" fmla="*/ 0 h 14652"/>
                    <a:gd name="connsiteX4" fmla="*/ 0 w 9202"/>
                    <a:gd name="connsiteY4" fmla="*/ 9344 h 1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02" h="14652">
                      <a:moveTo>
                        <a:pt x="0" y="9344"/>
                      </a:moveTo>
                      <a:lnTo>
                        <a:pt x="9202" y="14653"/>
                      </a:lnTo>
                      <a:lnTo>
                        <a:pt x="9202" y="5309"/>
                      </a:lnTo>
                      <a:lnTo>
                        <a:pt x="0" y="0"/>
                      </a:lnTo>
                      <a:lnTo>
                        <a:pt x="0" y="9344"/>
                      </a:lnTo>
                      <a:close/>
                    </a:path>
                  </a:pathLst>
                </a:custGeom>
                <a:solidFill>
                  <a:srgbClr val="2E475E"/>
                </a:solidFill>
                <a:ln w="70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765"/>
                </a:p>
              </p:txBody>
            </p:sp>
          </p:grpSp>
          <p:sp>
            <p:nvSpPr>
              <p:cNvPr id="973" name="Freeform: Shape 972">
                <a:extLst>
                  <a:ext uri="{FF2B5EF4-FFF2-40B4-BE49-F238E27FC236}">
                    <a16:creationId xmlns:a16="http://schemas.microsoft.com/office/drawing/2014/main" id="{724FEC88-3A41-4774-81A9-435DBCDB61F9}"/>
                  </a:ext>
                </a:extLst>
              </p:cNvPr>
              <p:cNvSpPr/>
              <p:nvPr/>
            </p:nvSpPr>
            <p:spPr>
              <a:xfrm>
                <a:off x="6144590" y="4081689"/>
                <a:ext cx="112561" cy="289002"/>
              </a:xfrm>
              <a:custGeom>
                <a:avLst/>
                <a:gdLst>
                  <a:gd name="connsiteX0" fmla="*/ 19820 w 50116"/>
                  <a:gd name="connsiteY0" fmla="*/ 127417 h 128673"/>
                  <a:gd name="connsiteX1" fmla="*/ 20811 w 50116"/>
                  <a:gd name="connsiteY1" fmla="*/ 115029 h 128673"/>
                  <a:gd name="connsiteX2" fmla="*/ 20811 w 50116"/>
                  <a:gd name="connsiteY2" fmla="*/ 103491 h 128673"/>
                  <a:gd name="connsiteX3" fmla="*/ 25837 w 50116"/>
                  <a:gd name="connsiteY3" fmla="*/ 99598 h 128673"/>
                  <a:gd name="connsiteX4" fmla="*/ 35393 w 50116"/>
                  <a:gd name="connsiteY4" fmla="*/ 102005 h 128673"/>
                  <a:gd name="connsiteX5" fmla="*/ 36030 w 50116"/>
                  <a:gd name="connsiteY5" fmla="*/ 102005 h 128673"/>
                  <a:gd name="connsiteX6" fmla="*/ 47356 w 50116"/>
                  <a:gd name="connsiteY6" fmla="*/ 92307 h 128673"/>
                  <a:gd name="connsiteX7" fmla="*/ 50117 w 50116"/>
                  <a:gd name="connsiteY7" fmla="*/ 74610 h 128673"/>
                  <a:gd name="connsiteX8" fmla="*/ 50117 w 50116"/>
                  <a:gd name="connsiteY8" fmla="*/ 64842 h 128673"/>
                  <a:gd name="connsiteX9" fmla="*/ 49338 w 50116"/>
                  <a:gd name="connsiteY9" fmla="*/ 54932 h 128673"/>
                  <a:gd name="connsiteX10" fmla="*/ 47568 w 50116"/>
                  <a:gd name="connsiteY10" fmla="*/ 44385 h 128673"/>
                  <a:gd name="connsiteX11" fmla="*/ 44737 w 50116"/>
                  <a:gd name="connsiteY11" fmla="*/ 33625 h 128673"/>
                  <a:gd name="connsiteX12" fmla="*/ 40419 w 50116"/>
                  <a:gd name="connsiteY12" fmla="*/ 22724 h 128673"/>
                  <a:gd name="connsiteX13" fmla="*/ 34261 w 50116"/>
                  <a:gd name="connsiteY13" fmla="*/ 12107 h 128673"/>
                  <a:gd name="connsiteX14" fmla="*/ 25837 w 50116"/>
                  <a:gd name="connsiteY14" fmla="*/ 3895 h 128673"/>
                  <a:gd name="connsiteX15" fmla="*/ 17060 w 50116"/>
                  <a:gd name="connsiteY15" fmla="*/ 214 h 128673"/>
                  <a:gd name="connsiteX16" fmla="*/ 13096 w 50116"/>
                  <a:gd name="connsiteY16" fmla="*/ 214 h 128673"/>
                  <a:gd name="connsiteX17" fmla="*/ 9627 w 50116"/>
                  <a:gd name="connsiteY17" fmla="*/ 1347 h 128673"/>
                  <a:gd name="connsiteX18" fmla="*/ 4177 w 50116"/>
                  <a:gd name="connsiteY18" fmla="*/ 6302 h 128673"/>
                  <a:gd name="connsiteX19" fmla="*/ 1204 w 50116"/>
                  <a:gd name="connsiteY19" fmla="*/ 14301 h 128673"/>
                  <a:gd name="connsiteX20" fmla="*/ 0 w 50116"/>
                  <a:gd name="connsiteY20" fmla="*/ 24282 h 128673"/>
                  <a:gd name="connsiteX21" fmla="*/ 3186 w 50116"/>
                  <a:gd name="connsiteY21" fmla="*/ 30652 h 128673"/>
                  <a:gd name="connsiteX22" fmla="*/ 7150 w 50116"/>
                  <a:gd name="connsiteY22" fmla="*/ 29307 h 128673"/>
                  <a:gd name="connsiteX23" fmla="*/ 7150 w 50116"/>
                  <a:gd name="connsiteY23" fmla="*/ 27467 h 128673"/>
                  <a:gd name="connsiteX24" fmla="*/ 7150 w 50116"/>
                  <a:gd name="connsiteY24" fmla="*/ 18902 h 128673"/>
                  <a:gd name="connsiteX25" fmla="*/ 7645 w 50116"/>
                  <a:gd name="connsiteY25" fmla="*/ 14938 h 128673"/>
                  <a:gd name="connsiteX26" fmla="*/ 8778 w 50116"/>
                  <a:gd name="connsiteY26" fmla="*/ 11611 h 128673"/>
                  <a:gd name="connsiteX27" fmla="*/ 12671 w 50116"/>
                  <a:gd name="connsiteY27" fmla="*/ 6798 h 128673"/>
                  <a:gd name="connsiteX28" fmla="*/ 15432 w 50116"/>
                  <a:gd name="connsiteY28" fmla="*/ 5523 h 128673"/>
                  <a:gd name="connsiteX29" fmla="*/ 18546 w 50116"/>
                  <a:gd name="connsiteY29" fmla="*/ 5523 h 128673"/>
                  <a:gd name="connsiteX30" fmla="*/ 25625 w 50116"/>
                  <a:gd name="connsiteY30" fmla="*/ 8072 h 128673"/>
                  <a:gd name="connsiteX31" fmla="*/ 32703 w 50116"/>
                  <a:gd name="connsiteY31" fmla="*/ 14584 h 128673"/>
                  <a:gd name="connsiteX32" fmla="*/ 37941 w 50116"/>
                  <a:gd name="connsiteY32" fmla="*/ 23786 h 128673"/>
                  <a:gd name="connsiteX33" fmla="*/ 41552 w 50116"/>
                  <a:gd name="connsiteY33" fmla="*/ 33696 h 128673"/>
                  <a:gd name="connsiteX34" fmla="*/ 43746 w 50116"/>
                  <a:gd name="connsiteY34" fmla="*/ 43535 h 128673"/>
                  <a:gd name="connsiteX35" fmla="*/ 44808 w 50116"/>
                  <a:gd name="connsiteY35" fmla="*/ 53021 h 128673"/>
                  <a:gd name="connsiteX36" fmla="*/ 45232 w 50116"/>
                  <a:gd name="connsiteY36" fmla="*/ 62506 h 128673"/>
                  <a:gd name="connsiteX37" fmla="*/ 45232 w 50116"/>
                  <a:gd name="connsiteY37" fmla="*/ 71637 h 128673"/>
                  <a:gd name="connsiteX38" fmla="*/ 42472 w 50116"/>
                  <a:gd name="connsiteY38" fmla="*/ 87423 h 128673"/>
                  <a:gd name="connsiteX39" fmla="*/ 34261 w 50116"/>
                  <a:gd name="connsiteY39" fmla="*/ 94997 h 128673"/>
                  <a:gd name="connsiteX40" fmla="*/ 34898 w 50116"/>
                  <a:gd name="connsiteY40" fmla="*/ 94997 h 128673"/>
                  <a:gd name="connsiteX41" fmla="*/ 23784 w 50116"/>
                  <a:gd name="connsiteY41" fmla="*/ 92236 h 128673"/>
                  <a:gd name="connsiteX42" fmla="*/ 18475 w 50116"/>
                  <a:gd name="connsiteY42" fmla="*/ 93510 h 128673"/>
                  <a:gd name="connsiteX43" fmla="*/ 15573 w 50116"/>
                  <a:gd name="connsiteY43" fmla="*/ 98819 h 128673"/>
                  <a:gd name="connsiteX44" fmla="*/ 15573 w 50116"/>
                  <a:gd name="connsiteY44" fmla="*/ 111915 h 128673"/>
                  <a:gd name="connsiteX45" fmla="*/ 14794 w 50116"/>
                  <a:gd name="connsiteY45" fmla="*/ 123028 h 128673"/>
                  <a:gd name="connsiteX46" fmla="*/ 16776 w 50116"/>
                  <a:gd name="connsiteY46" fmla="*/ 127912 h 128673"/>
                  <a:gd name="connsiteX47" fmla="*/ 20033 w 50116"/>
                  <a:gd name="connsiteY47" fmla="*/ 127558 h 128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0116" h="128673">
                    <a:moveTo>
                      <a:pt x="19820" y="127417"/>
                    </a:moveTo>
                    <a:cubicBezTo>
                      <a:pt x="20677" y="123347"/>
                      <a:pt x="21009" y="119184"/>
                      <a:pt x="20811" y="115029"/>
                    </a:cubicBezTo>
                    <a:cubicBezTo>
                      <a:pt x="20481" y="111190"/>
                      <a:pt x="20481" y="107330"/>
                      <a:pt x="20811" y="103491"/>
                    </a:cubicBezTo>
                    <a:cubicBezTo>
                      <a:pt x="21236" y="100589"/>
                      <a:pt x="23006" y="99527"/>
                      <a:pt x="25837" y="99598"/>
                    </a:cubicBezTo>
                    <a:cubicBezTo>
                      <a:pt x="29123" y="99928"/>
                      <a:pt x="32343" y="100740"/>
                      <a:pt x="35393" y="102005"/>
                    </a:cubicBezTo>
                    <a:lnTo>
                      <a:pt x="36030" y="102005"/>
                    </a:lnTo>
                    <a:cubicBezTo>
                      <a:pt x="42330" y="102429"/>
                      <a:pt x="45516" y="97403"/>
                      <a:pt x="47356" y="92307"/>
                    </a:cubicBezTo>
                    <a:cubicBezTo>
                      <a:pt x="49142" y="86576"/>
                      <a:pt x="50072" y="80613"/>
                      <a:pt x="50117" y="74610"/>
                    </a:cubicBezTo>
                    <a:cubicBezTo>
                      <a:pt x="50117" y="71142"/>
                      <a:pt x="50117" y="68098"/>
                      <a:pt x="50117" y="64842"/>
                    </a:cubicBezTo>
                    <a:cubicBezTo>
                      <a:pt x="50088" y="61524"/>
                      <a:pt x="49827" y="58213"/>
                      <a:pt x="49338" y="54932"/>
                    </a:cubicBezTo>
                    <a:cubicBezTo>
                      <a:pt x="48701" y="51393"/>
                      <a:pt x="48488" y="47853"/>
                      <a:pt x="47568" y="44385"/>
                    </a:cubicBezTo>
                    <a:cubicBezTo>
                      <a:pt x="46648" y="40916"/>
                      <a:pt x="46082" y="37306"/>
                      <a:pt x="44737" y="33625"/>
                    </a:cubicBezTo>
                    <a:cubicBezTo>
                      <a:pt x="43556" y="29894"/>
                      <a:pt x="42114" y="26252"/>
                      <a:pt x="40419" y="22724"/>
                    </a:cubicBezTo>
                    <a:cubicBezTo>
                      <a:pt x="38697" y="19003"/>
                      <a:pt x="36635" y="15449"/>
                      <a:pt x="34261" y="12107"/>
                    </a:cubicBezTo>
                    <a:cubicBezTo>
                      <a:pt x="31852" y="8987"/>
                      <a:pt x="29017" y="6223"/>
                      <a:pt x="25837" y="3895"/>
                    </a:cubicBezTo>
                    <a:cubicBezTo>
                      <a:pt x="23263" y="1959"/>
                      <a:pt x="20246" y="693"/>
                      <a:pt x="17060" y="214"/>
                    </a:cubicBezTo>
                    <a:cubicBezTo>
                      <a:pt x="15754" y="-71"/>
                      <a:pt x="14402" y="-71"/>
                      <a:pt x="13096" y="214"/>
                    </a:cubicBezTo>
                    <a:cubicBezTo>
                      <a:pt x="11865" y="309"/>
                      <a:pt x="10676" y="698"/>
                      <a:pt x="9627" y="1347"/>
                    </a:cubicBezTo>
                    <a:cubicBezTo>
                      <a:pt x="7405" y="2489"/>
                      <a:pt x="5524" y="4198"/>
                      <a:pt x="4177" y="6302"/>
                    </a:cubicBezTo>
                    <a:cubicBezTo>
                      <a:pt x="2765" y="8792"/>
                      <a:pt x="1761" y="11493"/>
                      <a:pt x="1204" y="14301"/>
                    </a:cubicBezTo>
                    <a:cubicBezTo>
                      <a:pt x="486" y="17582"/>
                      <a:pt x="84" y="20924"/>
                      <a:pt x="0" y="24282"/>
                    </a:cubicBezTo>
                    <a:cubicBezTo>
                      <a:pt x="-17" y="26792"/>
                      <a:pt x="1167" y="29160"/>
                      <a:pt x="3186" y="30652"/>
                    </a:cubicBezTo>
                    <a:cubicBezTo>
                      <a:pt x="5168" y="32068"/>
                      <a:pt x="6937" y="31431"/>
                      <a:pt x="7150" y="29307"/>
                    </a:cubicBezTo>
                    <a:lnTo>
                      <a:pt x="7150" y="27467"/>
                    </a:lnTo>
                    <a:cubicBezTo>
                      <a:pt x="6873" y="24619"/>
                      <a:pt x="6873" y="21750"/>
                      <a:pt x="7150" y="18902"/>
                    </a:cubicBezTo>
                    <a:cubicBezTo>
                      <a:pt x="7240" y="17573"/>
                      <a:pt x="7405" y="16249"/>
                      <a:pt x="7645" y="14938"/>
                    </a:cubicBezTo>
                    <a:lnTo>
                      <a:pt x="8778" y="11611"/>
                    </a:lnTo>
                    <a:cubicBezTo>
                      <a:pt x="9655" y="9708"/>
                      <a:pt x="10993" y="8053"/>
                      <a:pt x="12671" y="6798"/>
                    </a:cubicBezTo>
                    <a:cubicBezTo>
                      <a:pt x="13417" y="6068"/>
                      <a:pt x="14392" y="5618"/>
                      <a:pt x="15432" y="5523"/>
                    </a:cubicBezTo>
                    <a:cubicBezTo>
                      <a:pt x="16450" y="5236"/>
                      <a:pt x="17527" y="5236"/>
                      <a:pt x="18546" y="5523"/>
                    </a:cubicBezTo>
                    <a:cubicBezTo>
                      <a:pt x="21097" y="5698"/>
                      <a:pt x="23549" y="6580"/>
                      <a:pt x="25625" y="8072"/>
                    </a:cubicBezTo>
                    <a:cubicBezTo>
                      <a:pt x="28306" y="9865"/>
                      <a:pt x="30694" y="12061"/>
                      <a:pt x="32703" y="14584"/>
                    </a:cubicBezTo>
                    <a:cubicBezTo>
                      <a:pt x="34735" y="17479"/>
                      <a:pt x="36489" y="20560"/>
                      <a:pt x="37941" y="23786"/>
                    </a:cubicBezTo>
                    <a:cubicBezTo>
                      <a:pt x="39477" y="26959"/>
                      <a:pt x="40687" y="30279"/>
                      <a:pt x="41552" y="33696"/>
                    </a:cubicBezTo>
                    <a:cubicBezTo>
                      <a:pt x="42477" y="36930"/>
                      <a:pt x="43210" y="40215"/>
                      <a:pt x="43746" y="43535"/>
                    </a:cubicBezTo>
                    <a:cubicBezTo>
                      <a:pt x="44383" y="46862"/>
                      <a:pt x="44383" y="49906"/>
                      <a:pt x="44808" y="53021"/>
                    </a:cubicBezTo>
                    <a:cubicBezTo>
                      <a:pt x="45126" y="56172"/>
                      <a:pt x="45268" y="59339"/>
                      <a:pt x="45232" y="62506"/>
                    </a:cubicBezTo>
                    <a:cubicBezTo>
                      <a:pt x="45232" y="65479"/>
                      <a:pt x="45232" y="69089"/>
                      <a:pt x="45232" y="71637"/>
                    </a:cubicBezTo>
                    <a:cubicBezTo>
                      <a:pt x="45095" y="77007"/>
                      <a:pt x="44165" y="82325"/>
                      <a:pt x="42472" y="87423"/>
                    </a:cubicBezTo>
                    <a:cubicBezTo>
                      <a:pt x="40914" y="91953"/>
                      <a:pt x="38154" y="95351"/>
                      <a:pt x="34261" y="94997"/>
                    </a:cubicBezTo>
                    <a:lnTo>
                      <a:pt x="34898" y="94997"/>
                    </a:lnTo>
                    <a:cubicBezTo>
                      <a:pt x="31356" y="93515"/>
                      <a:pt x="27608" y="92584"/>
                      <a:pt x="23784" y="92236"/>
                    </a:cubicBezTo>
                    <a:cubicBezTo>
                      <a:pt x="21927" y="92119"/>
                      <a:pt x="20077" y="92562"/>
                      <a:pt x="18475" y="93510"/>
                    </a:cubicBezTo>
                    <a:cubicBezTo>
                      <a:pt x="16878" y="94855"/>
                      <a:pt x="15843" y="96749"/>
                      <a:pt x="15573" y="98819"/>
                    </a:cubicBezTo>
                    <a:cubicBezTo>
                      <a:pt x="15114" y="103173"/>
                      <a:pt x="15114" y="107561"/>
                      <a:pt x="15573" y="111915"/>
                    </a:cubicBezTo>
                    <a:cubicBezTo>
                      <a:pt x="15790" y="115637"/>
                      <a:pt x="15528" y="119372"/>
                      <a:pt x="14794" y="123028"/>
                    </a:cubicBezTo>
                    <a:cubicBezTo>
                      <a:pt x="14611" y="124883"/>
                      <a:pt x="15352" y="126710"/>
                      <a:pt x="16776" y="127912"/>
                    </a:cubicBezTo>
                    <a:cubicBezTo>
                      <a:pt x="18192" y="129045"/>
                      <a:pt x="19608" y="128903"/>
                      <a:pt x="20033" y="127558"/>
                    </a:cubicBezTo>
                    <a:close/>
                  </a:path>
                </a:pathLst>
              </a:custGeom>
              <a:solidFill>
                <a:srgbClr val="2E475E"/>
              </a:solidFill>
              <a:ln w="70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sp>
        <p:nvSpPr>
          <p:cNvPr id="931" name="text CUSTOMER TAKES DRESS OFF SHELF">
            <a:extLst>
              <a:ext uri="{FF2B5EF4-FFF2-40B4-BE49-F238E27FC236}">
                <a16:creationId xmlns:a16="http://schemas.microsoft.com/office/drawing/2014/main" id="{065B3EE3-974C-4D2D-80F4-474B3C0D1140}"/>
              </a:ext>
            </a:extLst>
          </p:cNvPr>
          <p:cNvSpPr txBox="1"/>
          <p:nvPr/>
        </p:nvSpPr>
        <p:spPr>
          <a:xfrm>
            <a:off x="3096952" y="5236073"/>
            <a:ext cx="1630337" cy="658989"/>
          </a:xfrm>
          <a:prstGeom prst="rect">
            <a:avLst/>
          </a:prstGeom>
          <a:solidFill>
            <a:srgbClr val="FFFFFF"/>
          </a:solidFill>
        </p:spPr>
        <p:txBody>
          <a:bodyPr wrap="square" lIns="179285" tIns="143428" rIns="179285" bIns="143428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er takes </a:t>
            </a:r>
            <a:b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pparel off shelf </a:t>
            </a:r>
          </a:p>
        </p:txBody>
      </p:sp>
      <p:grpSp>
        <p:nvGrpSpPr>
          <p:cNvPr id="1011" name="4 CUSTOMER walks to shelf">
            <a:extLst>
              <a:ext uri="{FF2B5EF4-FFF2-40B4-BE49-F238E27FC236}">
                <a16:creationId xmlns:a16="http://schemas.microsoft.com/office/drawing/2014/main" id="{43F8FAC3-86AA-4351-A594-D02769A327D8}"/>
              </a:ext>
            </a:extLst>
          </p:cNvPr>
          <p:cNvGrpSpPr/>
          <p:nvPr/>
        </p:nvGrpSpPr>
        <p:grpSpPr>
          <a:xfrm>
            <a:off x="5220654" y="2681040"/>
            <a:ext cx="538964" cy="2573747"/>
            <a:chOff x="718877" y="1766194"/>
            <a:chExt cx="465864" cy="2224672"/>
          </a:xfrm>
          <a:solidFill>
            <a:schemeClr val="accent1"/>
          </a:solidFill>
        </p:grpSpPr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D5951D05-104A-49E9-A401-8726CC777E65}"/>
                </a:ext>
              </a:extLst>
            </p:cNvPr>
            <p:cNvSpPr/>
            <p:nvPr/>
          </p:nvSpPr>
          <p:spPr>
            <a:xfrm>
              <a:off x="741639" y="2465000"/>
              <a:ext cx="68543" cy="366331"/>
            </a:xfrm>
            <a:custGeom>
              <a:avLst/>
              <a:gdLst>
                <a:gd name="connsiteX0" fmla="*/ 0 w 68543"/>
                <a:gd name="connsiteY0" fmla="*/ 6001 h 366331"/>
                <a:gd name="connsiteX1" fmla="*/ 38576 w 68543"/>
                <a:gd name="connsiteY1" fmla="*/ 366332 h 366331"/>
                <a:gd name="connsiteX2" fmla="*/ 50578 w 68543"/>
                <a:gd name="connsiteY2" fmla="*/ 366332 h 366331"/>
                <a:gd name="connsiteX3" fmla="*/ 63532 w 68543"/>
                <a:gd name="connsiteY3" fmla="*/ 0 h 36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43" h="366331">
                  <a:moveTo>
                    <a:pt x="0" y="6001"/>
                  </a:moveTo>
                  <a:cubicBezTo>
                    <a:pt x="0" y="6001"/>
                    <a:pt x="2477" y="222123"/>
                    <a:pt x="38576" y="366332"/>
                  </a:cubicBezTo>
                  <a:lnTo>
                    <a:pt x="50578" y="366332"/>
                  </a:lnTo>
                  <a:cubicBezTo>
                    <a:pt x="50578" y="366332"/>
                    <a:pt x="80010" y="167926"/>
                    <a:pt x="635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B5B0487E-531F-4758-A4FD-624FAF6A0BCF}"/>
                </a:ext>
              </a:extLst>
            </p:cNvPr>
            <p:cNvSpPr/>
            <p:nvPr/>
          </p:nvSpPr>
          <p:spPr>
            <a:xfrm>
              <a:off x="732315" y="2077428"/>
              <a:ext cx="90960" cy="443934"/>
            </a:xfrm>
            <a:custGeom>
              <a:avLst/>
              <a:gdLst>
                <a:gd name="connsiteX0" fmla="*/ 37232 w 90960"/>
                <a:gd name="connsiteY0" fmla="*/ 0 h 443934"/>
                <a:gd name="connsiteX1" fmla="*/ 2942 w 90960"/>
                <a:gd name="connsiteY1" fmla="*/ 75248 h 443934"/>
                <a:gd name="connsiteX2" fmla="*/ 28660 w 90960"/>
                <a:gd name="connsiteY2" fmla="*/ 442341 h 443934"/>
                <a:gd name="connsiteX3" fmla="*/ 89048 w 90960"/>
                <a:gd name="connsiteY3" fmla="*/ 167545 h 443934"/>
                <a:gd name="connsiteX4" fmla="*/ 37232 w 90960"/>
                <a:gd name="connsiteY4" fmla="*/ 0 h 443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960" h="443934">
                  <a:moveTo>
                    <a:pt x="37232" y="0"/>
                  </a:moveTo>
                  <a:cubicBezTo>
                    <a:pt x="37232" y="0"/>
                    <a:pt x="5609" y="11906"/>
                    <a:pt x="2942" y="75248"/>
                  </a:cubicBezTo>
                  <a:cubicBezTo>
                    <a:pt x="-1535" y="186976"/>
                    <a:pt x="-5630" y="429006"/>
                    <a:pt x="28660" y="442341"/>
                  </a:cubicBezTo>
                  <a:cubicBezTo>
                    <a:pt x="95335" y="468344"/>
                    <a:pt x="89048" y="167545"/>
                    <a:pt x="89048" y="167545"/>
                  </a:cubicBezTo>
                  <a:cubicBezTo>
                    <a:pt x="89048" y="167545"/>
                    <a:pt x="106288" y="16478"/>
                    <a:pt x="37232" y="0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1DA4556E-7D92-4EA1-9D13-79B8AE2E5BA2}"/>
                </a:ext>
              </a:extLst>
            </p:cNvPr>
            <p:cNvSpPr/>
            <p:nvPr/>
          </p:nvSpPr>
          <p:spPr>
            <a:xfrm>
              <a:off x="765119" y="3122415"/>
              <a:ext cx="159399" cy="729043"/>
            </a:xfrm>
            <a:custGeom>
              <a:avLst/>
              <a:gdLst>
                <a:gd name="connsiteX0" fmla="*/ 159400 w 159399"/>
                <a:gd name="connsiteY0" fmla="*/ 52388 h 729043"/>
                <a:gd name="connsiteX1" fmla="*/ 125777 w 159399"/>
                <a:gd name="connsiteY1" fmla="*/ 349187 h 729043"/>
                <a:gd name="connsiteX2" fmla="*/ 90439 w 159399"/>
                <a:gd name="connsiteY2" fmla="*/ 729043 h 729043"/>
                <a:gd name="connsiteX3" fmla="*/ 62721 w 159399"/>
                <a:gd name="connsiteY3" fmla="*/ 723424 h 729043"/>
                <a:gd name="connsiteX4" fmla="*/ 142 w 159399"/>
                <a:gd name="connsiteY4" fmla="*/ 318611 h 729043"/>
                <a:gd name="connsiteX5" fmla="*/ 52625 w 159399"/>
                <a:gd name="connsiteY5" fmla="*/ 139160 h 729043"/>
                <a:gd name="connsiteX6" fmla="*/ 37385 w 159399"/>
                <a:gd name="connsiteY6" fmla="*/ 0 h 72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99" h="729043">
                  <a:moveTo>
                    <a:pt x="159400" y="52388"/>
                  </a:moveTo>
                  <a:cubicBezTo>
                    <a:pt x="159400" y="52388"/>
                    <a:pt x="142541" y="177260"/>
                    <a:pt x="125777" y="349187"/>
                  </a:cubicBezTo>
                  <a:cubicBezTo>
                    <a:pt x="113204" y="478060"/>
                    <a:pt x="90248" y="572072"/>
                    <a:pt x="90439" y="729043"/>
                  </a:cubicBezTo>
                  <a:cubicBezTo>
                    <a:pt x="90439" y="729043"/>
                    <a:pt x="92439" y="723424"/>
                    <a:pt x="62721" y="723424"/>
                  </a:cubicBezTo>
                  <a:cubicBezTo>
                    <a:pt x="50053" y="664559"/>
                    <a:pt x="-3097" y="379190"/>
                    <a:pt x="142" y="318611"/>
                  </a:cubicBezTo>
                  <a:cubicBezTo>
                    <a:pt x="3380" y="258032"/>
                    <a:pt x="52625" y="139160"/>
                    <a:pt x="52625" y="139160"/>
                  </a:cubicBezTo>
                  <a:lnTo>
                    <a:pt x="37385" y="0"/>
                  </a:ln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EFEAC069-30C3-454A-8955-B929E0577430}"/>
                </a:ext>
              </a:extLst>
            </p:cNvPr>
            <p:cNvSpPr/>
            <p:nvPr/>
          </p:nvSpPr>
          <p:spPr>
            <a:xfrm>
              <a:off x="830127" y="3887555"/>
              <a:ext cx="47720" cy="42961"/>
            </a:xfrm>
            <a:custGeom>
              <a:avLst/>
              <a:gdLst>
                <a:gd name="connsiteX0" fmla="*/ 47720 w 47720"/>
                <a:gd name="connsiteY0" fmla="*/ 42962 h 42961"/>
                <a:gd name="connsiteX1" fmla="*/ 25336 w 47720"/>
                <a:gd name="connsiteY1" fmla="*/ 28579 h 42961"/>
                <a:gd name="connsiteX2" fmla="*/ 0 w 47720"/>
                <a:gd name="connsiteY2" fmla="*/ 4 h 42961"/>
                <a:gd name="connsiteX3" fmla="*/ 47720 w 47720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" h="42961">
                  <a:moveTo>
                    <a:pt x="47720" y="42962"/>
                  </a:moveTo>
                  <a:cubicBezTo>
                    <a:pt x="39772" y="38971"/>
                    <a:pt x="32268" y="34151"/>
                    <a:pt x="25336" y="28579"/>
                  </a:cubicBezTo>
                  <a:cubicBezTo>
                    <a:pt x="25336" y="28579"/>
                    <a:pt x="23717" y="14863"/>
                    <a:pt x="0" y="4"/>
                  </a:cubicBezTo>
                  <a:cubicBezTo>
                    <a:pt x="0" y="-282"/>
                    <a:pt x="45529" y="15149"/>
                    <a:pt x="47720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DB9F0194-A2C7-4525-9ABE-54B60DF813FA}"/>
                </a:ext>
              </a:extLst>
            </p:cNvPr>
            <p:cNvSpPr/>
            <p:nvPr/>
          </p:nvSpPr>
          <p:spPr>
            <a:xfrm>
              <a:off x="820598" y="3841553"/>
              <a:ext cx="88993" cy="88963"/>
            </a:xfrm>
            <a:custGeom>
              <a:avLst/>
              <a:gdLst>
                <a:gd name="connsiteX0" fmla="*/ 6671 w 88993"/>
                <a:gd name="connsiteY0" fmla="*/ 4667 h 88963"/>
                <a:gd name="connsiteX1" fmla="*/ 9529 w 88993"/>
                <a:gd name="connsiteY1" fmla="*/ 45720 h 88963"/>
                <a:gd name="connsiteX2" fmla="*/ 57154 w 88993"/>
                <a:gd name="connsiteY2" fmla="*/ 88963 h 88963"/>
                <a:gd name="connsiteX3" fmla="*/ 84395 w 88993"/>
                <a:gd name="connsiteY3" fmla="*/ 46101 h 88963"/>
                <a:gd name="connsiteX4" fmla="*/ 55820 w 88993"/>
                <a:gd name="connsiteY4" fmla="*/ 47339 h 88963"/>
                <a:gd name="connsiteX5" fmla="*/ 22102 w 88993"/>
                <a:gd name="connsiteY5" fmla="*/ 1810 h 88963"/>
                <a:gd name="connsiteX6" fmla="*/ 11719 w 88993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93" h="88963">
                  <a:moveTo>
                    <a:pt x="6671" y="4667"/>
                  </a:moveTo>
                  <a:cubicBezTo>
                    <a:pt x="6671" y="4667"/>
                    <a:pt x="-10093" y="35909"/>
                    <a:pt x="9529" y="45720"/>
                  </a:cubicBezTo>
                  <a:cubicBezTo>
                    <a:pt x="32579" y="57150"/>
                    <a:pt x="52867" y="76200"/>
                    <a:pt x="57154" y="88963"/>
                  </a:cubicBezTo>
                  <a:cubicBezTo>
                    <a:pt x="57154" y="88963"/>
                    <a:pt x="103445" y="56483"/>
                    <a:pt x="84395" y="46101"/>
                  </a:cubicBezTo>
                  <a:cubicBezTo>
                    <a:pt x="75156" y="42262"/>
                    <a:pt x="64693" y="42720"/>
                    <a:pt x="55820" y="47339"/>
                  </a:cubicBezTo>
                  <a:lnTo>
                    <a:pt x="22102" y="1810"/>
                  </a:lnTo>
                  <a:lnTo>
                    <a:pt x="11719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CACB5FFA-DF74-4CF0-B942-7F9C9A202D95}"/>
                </a:ext>
              </a:extLst>
            </p:cNvPr>
            <p:cNvSpPr/>
            <p:nvPr/>
          </p:nvSpPr>
          <p:spPr>
            <a:xfrm>
              <a:off x="827269" y="3834153"/>
              <a:ext cx="63827" cy="65422"/>
            </a:xfrm>
            <a:custGeom>
              <a:avLst/>
              <a:gdLst>
                <a:gd name="connsiteX0" fmla="*/ 0 w 63827"/>
                <a:gd name="connsiteY0" fmla="*/ 12067 h 65422"/>
                <a:gd name="connsiteX1" fmla="*/ 18383 w 63827"/>
                <a:gd name="connsiteY1" fmla="*/ 15115 h 65422"/>
                <a:gd name="connsiteX2" fmla="*/ 52102 w 63827"/>
                <a:gd name="connsiteY2" fmla="*/ 65216 h 65422"/>
                <a:gd name="connsiteX3" fmla="*/ 53531 w 63827"/>
                <a:gd name="connsiteY3" fmla="*/ 52834 h 65422"/>
                <a:gd name="connsiteX4" fmla="*/ 29623 w 63827"/>
                <a:gd name="connsiteY4" fmla="*/ 14734 h 65422"/>
                <a:gd name="connsiteX5" fmla="*/ 0 w 63827"/>
                <a:gd name="connsiteY5" fmla="*/ 12067 h 6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422">
                  <a:moveTo>
                    <a:pt x="0" y="12067"/>
                  </a:moveTo>
                  <a:cubicBezTo>
                    <a:pt x="0" y="12067"/>
                    <a:pt x="7525" y="3304"/>
                    <a:pt x="18383" y="15115"/>
                  </a:cubicBezTo>
                  <a:cubicBezTo>
                    <a:pt x="29242" y="26926"/>
                    <a:pt x="40291" y="61692"/>
                    <a:pt x="52102" y="65216"/>
                  </a:cubicBezTo>
                  <a:cubicBezTo>
                    <a:pt x="59055" y="67407"/>
                    <a:pt x="73819" y="51405"/>
                    <a:pt x="53531" y="52834"/>
                  </a:cubicBezTo>
                  <a:cubicBezTo>
                    <a:pt x="46958" y="49690"/>
                    <a:pt x="43148" y="40927"/>
                    <a:pt x="29623" y="14734"/>
                  </a:cubicBezTo>
                  <a:cubicBezTo>
                    <a:pt x="29623" y="14829"/>
                    <a:pt x="18288" y="-16604"/>
                    <a:pt x="0" y="12067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E88D7F47-983D-49F1-A39B-67BD9F75E8B0}"/>
                </a:ext>
              </a:extLst>
            </p:cNvPr>
            <p:cNvSpPr/>
            <p:nvPr/>
          </p:nvSpPr>
          <p:spPr>
            <a:xfrm>
              <a:off x="824792" y="3883177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72" y="22870"/>
                    <a:pt x="12769" y="3802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572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3714F8F3-72CA-493E-98D7-A01D19D711EB}"/>
                </a:ext>
              </a:extLst>
            </p:cNvPr>
            <p:cNvSpPr/>
            <p:nvPr/>
          </p:nvSpPr>
          <p:spPr>
            <a:xfrm>
              <a:off x="858369" y="3178041"/>
              <a:ext cx="159590" cy="726471"/>
            </a:xfrm>
            <a:custGeom>
              <a:avLst/>
              <a:gdLst>
                <a:gd name="connsiteX0" fmla="*/ 159590 w 159590"/>
                <a:gd name="connsiteY0" fmla="*/ 52673 h 726471"/>
                <a:gd name="connsiteX1" fmla="*/ 125967 w 159590"/>
                <a:gd name="connsiteY1" fmla="*/ 349472 h 726471"/>
                <a:gd name="connsiteX2" fmla="*/ 91391 w 159590"/>
                <a:gd name="connsiteY2" fmla="*/ 726472 h 726471"/>
                <a:gd name="connsiteX3" fmla="*/ 62816 w 159590"/>
                <a:gd name="connsiteY3" fmla="*/ 723710 h 726471"/>
                <a:gd name="connsiteX4" fmla="*/ 142 w 159590"/>
                <a:gd name="connsiteY4" fmla="*/ 318897 h 726471"/>
                <a:gd name="connsiteX5" fmla="*/ 52720 w 159590"/>
                <a:gd name="connsiteY5" fmla="*/ 139065 h 726471"/>
                <a:gd name="connsiteX6" fmla="*/ 37384 w 159590"/>
                <a:gd name="connsiteY6" fmla="*/ 0 h 726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90" h="726471">
                  <a:moveTo>
                    <a:pt x="159590" y="52673"/>
                  </a:moveTo>
                  <a:cubicBezTo>
                    <a:pt x="159590" y="52673"/>
                    <a:pt x="142731" y="177737"/>
                    <a:pt x="125967" y="349472"/>
                  </a:cubicBezTo>
                  <a:cubicBezTo>
                    <a:pt x="113394" y="478441"/>
                    <a:pt x="91296" y="569405"/>
                    <a:pt x="91391" y="726472"/>
                  </a:cubicBezTo>
                  <a:cubicBezTo>
                    <a:pt x="91391" y="726472"/>
                    <a:pt x="92534" y="723710"/>
                    <a:pt x="62816" y="723710"/>
                  </a:cubicBezTo>
                  <a:cubicBezTo>
                    <a:pt x="50148" y="664940"/>
                    <a:pt x="-3097" y="379476"/>
                    <a:pt x="142" y="318897"/>
                  </a:cubicBezTo>
                  <a:cubicBezTo>
                    <a:pt x="3380" y="258318"/>
                    <a:pt x="52720" y="139065"/>
                    <a:pt x="52720" y="139065"/>
                  </a:cubicBezTo>
                  <a:lnTo>
                    <a:pt x="37384" y="0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82824A12-6059-4C5F-BC72-2BF1E1E20BC7}"/>
                </a:ext>
              </a:extLst>
            </p:cNvPr>
            <p:cNvSpPr/>
            <p:nvPr/>
          </p:nvSpPr>
          <p:spPr>
            <a:xfrm>
              <a:off x="923567" y="3941180"/>
              <a:ext cx="47815" cy="42961"/>
            </a:xfrm>
            <a:custGeom>
              <a:avLst/>
              <a:gdLst>
                <a:gd name="connsiteX0" fmla="*/ 47816 w 47815"/>
                <a:gd name="connsiteY0" fmla="*/ 42962 h 42961"/>
                <a:gd name="connsiteX1" fmla="*/ 25336 w 47815"/>
                <a:gd name="connsiteY1" fmla="*/ 28579 h 42961"/>
                <a:gd name="connsiteX2" fmla="*/ 0 w 47815"/>
                <a:gd name="connsiteY2" fmla="*/ 4 h 42961"/>
                <a:gd name="connsiteX3" fmla="*/ 47816 w 47815"/>
                <a:gd name="connsiteY3" fmla="*/ 42962 h 4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15" h="42961">
                  <a:moveTo>
                    <a:pt x="47816" y="42962"/>
                  </a:moveTo>
                  <a:cubicBezTo>
                    <a:pt x="39847" y="38952"/>
                    <a:pt x="32314" y="34132"/>
                    <a:pt x="25336" y="28579"/>
                  </a:cubicBezTo>
                  <a:cubicBezTo>
                    <a:pt x="25336" y="28579"/>
                    <a:pt x="23813" y="14863"/>
                    <a:pt x="0" y="4"/>
                  </a:cubicBezTo>
                  <a:cubicBezTo>
                    <a:pt x="0" y="-282"/>
                    <a:pt x="45530" y="15149"/>
                    <a:pt x="47816" y="42962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6DEE128B-F0CA-46C5-8DCB-4746819F6882}"/>
                </a:ext>
              </a:extLst>
            </p:cNvPr>
            <p:cNvSpPr/>
            <p:nvPr/>
          </p:nvSpPr>
          <p:spPr>
            <a:xfrm>
              <a:off x="914067" y="3895083"/>
              <a:ext cx="88964" cy="88963"/>
            </a:xfrm>
            <a:custGeom>
              <a:avLst/>
              <a:gdLst>
                <a:gd name="connsiteX0" fmla="*/ 6737 w 88964"/>
                <a:gd name="connsiteY0" fmla="*/ 4667 h 88963"/>
                <a:gd name="connsiteX1" fmla="*/ 9499 w 88964"/>
                <a:gd name="connsiteY1" fmla="*/ 45720 h 88963"/>
                <a:gd name="connsiteX2" fmla="*/ 57124 w 88964"/>
                <a:gd name="connsiteY2" fmla="*/ 88964 h 88963"/>
                <a:gd name="connsiteX3" fmla="*/ 84366 w 88964"/>
                <a:gd name="connsiteY3" fmla="*/ 46101 h 88963"/>
                <a:gd name="connsiteX4" fmla="*/ 55791 w 88964"/>
                <a:gd name="connsiteY4" fmla="*/ 47339 h 88963"/>
                <a:gd name="connsiteX5" fmla="*/ 21977 w 88964"/>
                <a:gd name="connsiteY5" fmla="*/ 1810 h 88963"/>
                <a:gd name="connsiteX6" fmla="*/ 11595 w 88964"/>
                <a:gd name="connsiteY6" fmla="*/ 0 h 8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64" h="88963">
                  <a:moveTo>
                    <a:pt x="6737" y="4667"/>
                  </a:moveTo>
                  <a:cubicBezTo>
                    <a:pt x="6737" y="4667"/>
                    <a:pt x="-10122" y="35909"/>
                    <a:pt x="9499" y="45720"/>
                  </a:cubicBezTo>
                  <a:cubicBezTo>
                    <a:pt x="32550" y="57150"/>
                    <a:pt x="52838" y="76200"/>
                    <a:pt x="57124" y="88964"/>
                  </a:cubicBezTo>
                  <a:cubicBezTo>
                    <a:pt x="57124" y="88964"/>
                    <a:pt x="103416" y="56483"/>
                    <a:pt x="84366" y="46101"/>
                  </a:cubicBezTo>
                  <a:cubicBezTo>
                    <a:pt x="75128" y="42253"/>
                    <a:pt x="64660" y="42710"/>
                    <a:pt x="55791" y="47339"/>
                  </a:cubicBezTo>
                  <a:lnTo>
                    <a:pt x="21977" y="1810"/>
                  </a:lnTo>
                  <a:lnTo>
                    <a:pt x="11595" y="0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9B276B98-B689-4753-B20C-BCD8FADA4C1A}"/>
                </a:ext>
              </a:extLst>
            </p:cNvPr>
            <p:cNvSpPr/>
            <p:nvPr/>
          </p:nvSpPr>
          <p:spPr>
            <a:xfrm>
              <a:off x="920805" y="3887745"/>
              <a:ext cx="63827" cy="65361"/>
            </a:xfrm>
            <a:custGeom>
              <a:avLst/>
              <a:gdLst>
                <a:gd name="connsiteX0" fmla="*/ 0 w 63827"/>
                <a:gd name="connsiteY0" fmla="*/ 12005 h 65361"/>
                <a:gd name="connsiteX1" fmla="*/ 18288 w 63827"/>
                <a:gd name="connsiteY1" fmla="*/ 15053 h 65361"/>
                <a:gd name="connsiteX2" fmla="*/ 52102 w 63827"/>
                <a:gd name="connsiteY2" fmla="*/ 65155 h 65361"/>
                <a:gd name="connsiteX3" fmla="*/ 53530 w 63827"/>
                <a:gd name="connsiteY3" fmla="*/ 52772 h 65361"/>
                <a:gd name="connsiteX4" fmla="*/ 29623 w 63827"/>
                <a:gd name="connsiteY4" fmla="*/ 14672 h 65361"/>
                <a:gd name="connsiteX5" fmla="*/ 0 w 63827"/>
                <a:gd name="connsiteY5" fmla="*/ 12005 h 6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827" h="65361">
                  <a:moveTo>
                    <a:pt x="0" y="12005"/>
                  </a:moveTo>
                  <a:cubicBezTo>
                    <a:pt x="0" y="12005"/>
                    <a:pt x="7525" y="3242"/>
                    <a:pt x="18288" y="15053"/>
                  </a:cubicBezTo>
                  <a:cubicBezTo>
                    <a:pt x="29051" y="26864"/>
                    <a:pt x="40291" y="61630"/>
                    <a:pt x="52102" y="65155"/>
                  </a:cubicBezTo>
                  <a:cubicBezTo>
                    <a:pt x="59055" y="67345"/>
                    <a:pt x="73819" y="51343"/>
                    <a:pt x="53530" y="52772"/>
                  </a:cubicBezTo>
                  <a:cubicBezTo>
                    <a:pt x="46958" y="49629"/>
                    <a:pt x="43053" y="40866"/>
                    <a:pt x="29623" y="14672"/>
                  </a:cubicBezTo>
                  <a:cubicBezTo>
                    <a:pt x="29623" y="14863"/>
                    <a:pt x="18288" y="-16570"/>
                    <a:pt x="0" y="12005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BCCD1DD0-5556-465C-B579-900F42BCFA44}"/>
                </a:ext>
              </a:extLst>
            </p:cNvPr>
            <p:cNvSpPr/>
            <p:nvPr/>
          </p:nvSpPr>
          <p:spPr>
            <a:xfrm>
              <a:off x="918423" y="3936803"/>
              <a:ext cx="19526" cy="54063"/>
            </a:xfrm>
            <a:custGeom>
              <a:avLst/>
              <a:gdLst>
                <a:gd name="connsiteX0" fmla="*/ 19526 w 19526"/>
                <a:gd name="connsiteY0" fmla="*/ 8477 h 54063"/>
                <a:gd name="connsiteX1" fmla="*/ 13621 w 19526"/>
                <a:gd name="connsiteY1" fmla="*/ 53150 h 54063"/>
                <a:gd name="connsiteX2" fmla="*/ 7715 w 19526"/>
                <a:gd name="connsiteY2" fmla="*/ 53150 h 54063"/>
                <a:gd name="connsiteX3" fmla="*/ 0 w 19526"/>
                <a:gd name="connsiteY3" fmla="*/ 0 h 5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6" h="54063">
                  <a:moveTo>
                    <a:pt x="19526" y="8477"/>
                  </a:moveTo>
                  <a:cubicBezTo>
                    <a:pt x="14714" y="22850"/>
                    <a:pt x="12709" y="38014"/>
                    <a:pt x="13621" y="53150"/>
                  </a:cubicBezTo>
                  <a:cubicBezTo>
                    <a:pt x="11840" y="54369"/>
                    <a:pt x="9496" y="54369"/>
                    <a:pt x="7715" y="53150"/>
                  </a:cubicBezTo>
                  <a:cubicBezTo>
                    <a:pt x="7715" y="53150"/>
                    <a:pt x="6477" y="10668"/>
                    <a:pt x="0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8D946EEA-AEE1-4436-A689-C9D23DFE6A7B}"/>
                </a:ext>
              </a:extLst>
            </p:cNvPr>
            <p:cNvSpPr/>
            <p:nvPr/>
          </p:nvSpPr>
          <p:spPr>
            <a:xfrm>
              <a:off x="727915" y="2587110"/>
              <a:ext cx="398285" cy="755363"/>
            </a:xfrm>
            <a:custGeom>
              <a:avLst/>
              <a:gdLst>
                <a:gd name="connsiteX0" fmla="*/ 68874 w 398285"/>
                <a:gd name="connsiteY0" fmla="*/ 607123 h 755363"/>
                <a:gd name="connsiteX1" fmla="*/ 60683 w 398285"/>
                <a:gd name="connsiteY1" fmla="*/ 0 h 755363"/>
                <a:gd name="connsiteX2" fmla="*/ 393105 w 398285"/>
                <a:gd name="connsiteY2" fmla="*/ 200025 h 755363"/>
                <a:gd name="connsiteX3" fmla="*/ 303665 w 398285"/>
                <a:gd name="connsiteY3" fmla="*/ 737997 h 755363"/>
                <a:gd name="connsiteX4" fmla="*/ 215845 w 398285"/>
                <a:gd name="connsiteY4" fmla="*/ 747522 h 755363"/>
                <a:gd name="connsiteX5" fmla="*/ 68874 w 398285"/>
                <a:gd name="connsiteY5" fmla="*/ 607123 h 75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285" h="755363">
                  <a:moveTo>
                    <a:pt x="68874" y="607123"/>
                  </a:moveTo>
                  <a:cubicBezTo>
                    <a:pt x="68874" y="607123"/>
                    <a:pt x="-80478" y="205454"/>
                    <a:pt x="60683" y="0"/>
                  </a:cubicBezTo>
                  <a:cubicBezTo>
                    <a:pt x="60683" y="0"/>
                    <a:pt x="318429" y="76200"/>
                    <a:pt x="393105" y="200025"/>
                  </a:cubicBezTo>
                  <a:cubicBezTo>
                    <a:pt x="393105" y="200025"/>
                    <a:pt x="430634" y="352425"/>
                    <a:pt x="303665" y="737997"/>
                  </a:cubicBezTo>
                  <a:cubicBezTo>
                    <a:pt x="303665" y="737997"/>
                    <a:pt x="281567" y="769620"/>
                    <a:pt x="215845" y="747522"/>
                  </a:cubicBezTo>
                  <a:cubicBezTo>
                    <a:pt x="98401" y="700850"/>
                    <a:pt x="68874" y="607123"/>
                    <a:pt x="68874" y="60712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A924A2BE-7AC1-495E-96E9-1AEC59948C5F}"/>
                </a:ext>
              </a:extLst>
            </p:cNvPr>
            <p:cNvSpPr/>
            <p:nvPr/>
          </p:nvSpPr>
          <p:spPr>
            <a:xfrm>
              <a:off x="760564" y="2077428"/>
              <a:ext cx="347193" cy="481012"/>
            </a:xfrm>
            <a:custGeom>
              <a:avLst/>
              <a:gdLst>
                <a:gd name="connsiteX0" fmla="*/ 312736 w 347193"/>
                <a:gd name="connsiteY0" fmla="*/ 174498 h 481012"/>
                <a:gd name="connsiteX1" fmla="*/ 8984 w 347193"/>
                <a:gd name="connsiteY1" fmla="*/ 0 h 481012"/>
                <a:gd name="connsiteX2" fmla="*/ 602 w 347193"/>
                <a:gd name="connsiteY2" fmla="*/ 73533 h 481012"/>
                <a:gd name="connsiteX3" fmla="*/ 100233 w 347193"/>
                <a:gd name="connsiteY3" fmla="*/ 400431 h 481012"/>
                <a:gd name="connsiteX4" fmla="*/ 241013 w 347193"/>
                <a:gd name="connsiteY4" fmla="*/ 481013 h 481012"/>
                <a:gd name="connsiteX5" fmla="*/ 344073 w 347193"/>
                <a:gd name="connsiteY5" fmla="*/ 301752 h 481012"/>
                <a:gd name="connsiteX6" fmla="*/ 312736 w 347193"/>
                <a:gd name="connsiteY6" fmla="*/ 174498 h 481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193" h="481012">
                  <a:moveTo>
                    <a:pt x="312736" y="174498"/>
                  </a:moveTo>
                  <a:cubicBezTo>
                    <a:pt x="312736" y="174498"/>
                    <a:pt x="214057" y="83153"/>
                    <a:pt x="8984" y="0"/>
                  </a:cubicBezTo>
                  <a:cubicBezTo>
                    <a:pt x="1486" y="23744"/>
                    <a:pt x="-1360" y="48711"/>
                    <a:pt x="602" y="73533"/>
                  </a:cubicBezTo>
                  <a:cubicBezTo>
                    <a:pt x="4697" y="144304"/>
                    <a:pt x="31272" y="259461"/>
                    <a:pt x="100233" y="400431"/>
                  </a:cubicBezTo>
                  <a:lnTo>
                    <a:pt x="241013" y="481013"/>
                  </a:lnTo>
                  <a:cubicBezTo>
                    <a:pt x="252157" y="393573"/>
                    <a:pt x="325976" y="362617"/>
                    <a:pt x="344073" y="301752"/>
                  </a:cubicBezTo>
                  <a:cubicBezTo>
                    <a:pt x="353313" y="270796"/>
                    <a:pt x="341787" y="242506"/>
                    <a:pt x="312736" y="174498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DA4DF133-6EC4-4BE7-A82D-553E3FE39D4E}"/>
                </a:ext>
              </a:extLst>
            </p:cNvPr>
            <p:cNvSpPr/>
            <p:nvPr/>
          </p:nvSpPr>
          <p:spPr>
            <a:xfrm>
              <a:off x="776882" y="2475287"/>
              <a:ext cx="344138" cy="311753"/>
            </a:xfrm>
            <a:custGeom>
              <a:avLst/>
              <a:gdLst>
                <a:gd name="connsiteX0" fmla="*/ 224695 w 344138"/>
                <a:gd name="connsiteY0" fmla="*/ 83153 h 311753"/>
                <a:gd name="connsiteX1" fmla="*/ 344138 w 344138"/>
                <a:gd name="connsiteY1" fmla="*/ 311753 h 311753"/>
                <a:gd name="connsiteX2" fmla="*/ 0 w 344138"/>
                <a:gd name="connsiteY2" fmla="*/ 114300 h 311753"/>
                <a:gd name="connsiteX3" fmla="*/ 85725 w 344138"/>
                <a:gd name="connsiteY3" fmla="*/ 0 h 311753"/>
                <a:gd name="connsiteX4" fmla="*/ 224695 w 344138"/>
                <a:gd name="connsiteY4" fmla="*/ 83153 h 31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138" h="311753">
                  <a:moveTo>
                    <a:pt x="224695" y="83153"/>
                  </a:moveTo>
                  <a:cubicBezTo>
                    <a:pt x="224695" y="83153"/>
                    <a:pt x="290703" y="154019"/>
                    <a:pt x="344138" y="311753"/>
                  </a:cubicBezTo>
                  <a:lnTo>
                    <a:pt x="0" y="114300"/>
                  </a:lnTo>
                  <a:lnTo>
                    <a:pt x="85725" y="0"/>
                  </a:lnTo>
                  <a:cubicBezTo>
                    <a:pt x="85725" y="0"/>
                    <a:pt x="186595" y="2096"/>
                    <a:pt x="224695" y="83153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F66FA419-4365-4C49-9AD5-15866B453EC9}"/>
                </a:ext>
              </a:extLst>
            </p:cNvPr>
            <p:cNvSpPr/>
            <p:nvPr/>
          </p:nvSpPr>
          <p:spPr>
            <a:xfrm>
              <a:off x="718877" y="2077428"/>
              <a:ext cx="376615" cy="1265647"/>
            </a:xfrm>
            <a:custGeom>
              <a:avLst/>
              <a:gdLst>
                <a:gd name="connsiteX0" fmla="*/ 77912 w 376615"/>
                <a:gd name="connsiteY0" fmla="*/ 1116806 h 1265647"/>
                <a:gd name="connsiteX1" fmla="*/ 58005 w 376615"/>
                <a:gd name="connsiteY1" fmla="*/ 512159 h 1265647"/>
                <a:gd name="connsiteX2" fmla="*/ 141920 w 376615"/>
                <a:gd name="connsiteY2" fmla="*/ 400431 h 1265647"/>
                <a:gd name="connsiteX3" fmla="*/ 42288 w 376615"/>
                <a:gd name="connsiteY3" fmla="*/ 73533 h 1265647"/>
                <a:gd name="connsiteX4" fmla="*/ 50670 w 376615"/>
                <a:gd name="connsiteY4" fmla="*/ 0 h 1265647"/>
                <a:gd name="connsiteX5" fmla="*/ 338802 w 376615"/>
                <a:gd name="connsiteY5" fmla="*/ 161068 h 1265647"/>
                <a:gd name="connsiteX6" fmla="*/ 267269 w 376615"/>
                <a:gd name="connsiteY6" fmla="*/ 477298 h 1265647"/>
                <a:gd name="connsiteX7" fmla="*/ 29144 w 376615"/>
                <a:gd name="connsiteY7" fmla="*/ 607314 h 1265647"/>
                <a:gd name="connsiteX8" fmla="*/ 376616 w 376615"/>
                <a:gd name="connsiteY8" fmla="*/ 805625 h 1265647"/>
                <a:gd name="connsiteX9" fmla="*/ 274889 w 376615"/>
                <a:gd name="connsiteY9" fmla="*/ 1264253 h 1265647"/>
                <a:gd name="connsiteX10" fmla="*/ 164970 w 376615"/>
                <a:gd name="connsiteY10" fmla="*/ 1224725 h 1265647"/>
                <a:gd name="connsiteX11" fmla="*/ 77912 w 376615"/>
                <a:gd name="connsiteY11" fmla="*/ 1116806 h 126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615" h="1265647">
                  <a:moveTo>
                    <a:pt x="77912" y="1116806"/>
                  </a:moveTo>
                  <a:cubicBezTo>
                    <a:pt x="77912" y="1116806"/>
                    <a:pt x="-83251" y="717423"/>
                    <a:pt x="58005" y="512159"/>
                  </a:cubicBezTo>
                  <a:lnTo>
                    <a:pt x="141920" y="400431"/>
                  </a:lnTo>
                  <a:cubicBezTo>
                    <a:pt x="72959" y="259461"/>
                    <a:pt x="46384" y="144304"/>
                    <a:pt x="42288" y="73533"/>
                  </a:cubicBezTo>
                  <a:cubicBezTo>
                    <a:pt x="40326" y="48711"/>
                    <a:pt x="43172" y="23744"/>
                    <a:pt x="50670" y="0"/>
                  </a:cubicBezTo>
                  <a:cubicBezTo>
                    <a:pt x="208785" y="64198"/>
                    <a:pt x="303654" y="133350"/>
                    <a:pt x="338802" y="161068"/>
                  </a:cubicBezTo>
                  <a:cubicBezTo>
                    <a:pt x="297273" y="173926"/>
                    <a:pt x="230979" y="279273"/>
                    <a:pt x="267269" y="477298"/>
                  </a:cubicBezTo>
                  <a:cubicBezTo>
                    <a:pt x="267269" y="477298"/>
                    <a:pt x="39336" y="509492"/>
                    <a:pt x="29144" y="607314"/>
                  </a:cubicBezTo>
                  <a:cubicBezTo>
                    <a:pt x="15809" y="736473"/>
                    <a:pt x="326800" y="853631"/>
                    <a:pt x="376616" y="805625"/>
                  </a:cubicBezTo>
                  <a:cubicBezTo>
                    <a:pt x="376616" y="805625"/>
                    <a:pt x="374616" y="970216"/>
                    <a:pt x="274889" y="1264253"/>
                  </a:cubicBezTo>
                  <a:cubicBezTo>
                    <a:pt x="274889" y="1264253"/>
                    <a:pt x="240313" y="1277112"/>
                    <a:pt x="164970" y="1224725"/>
                  </a:cubicBezTo>
                  <a:cubicBezTo>
                    <a:pt x="89628" y="1172337"/>
                    <a:pt x="77912" y="1116806"/>
                    <a:pt x="77912" y="1116806"/>
                  </a:cubicBezTo>
                  <a:close/>
                </a:path>
              </a:pathLst>
            </a:custGeom>
            <a:solidFill>
              <a:srgbClr val="EF9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1FAA676-FB28-4BA3-8460-0ABBC365CF1D}"/>
                </a:ext>
              </a:extLst>
            </p:cNvPr>
            <p:cNvSpPr/>
            <p:nvPr/>
          </p:nvSpPr>
          <p:spPr>
            <a:xfrm>
              <a:off x="790788" y="2085714"/>
              <a:ext cx="247173" cy="209550"/>
            </a:xfrm>
            <a:custGeom>
              <a:avLst/>
              <a:gdLst>
                <a:gd name="connsiteX0" fmla="*/ 247174 w 247173"/>
                <a:gd name="connsiteY0" fmla="*/ 137636 h 209550"/>
                <a:gd name="connsiteX1" fmla="*/ 82677 w 247173"/>
                <a:gd name="connsiteY1" fmla="*/ 209550 h 209550"/>
                <a:gd name="connsiteX2" fmla="*/ 0 w 247173"/>
                <a:gd name="connsiteY2" fmla="*/ 0 h 209550"/>
                <a:gd name="connsiteX3" fmla="*/ 247174 w 247173"/>
                <a:gd name="connsiteY3" fmla="*/ 13763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173" h="209550">
                  <a:moveTo>
                    <a:pt x="247174" y="137636"/>
                  </a:moveTo>
                  <a:cubicBezTo>
                    <a:pt x="191028" y="158482"/>
                    <a:pt x="136107" y="182491"/>
                    <a:pt x="82677" y="209550"/>
                  </a:cubicBezTo>
                  <a:cubicBezTo>
                    <a:pt x="69818" y="185071"/>
                    <a:pt x="16002" y="111824"/>
                    <a:pt x="0" y="0"/>
                  </a:cubicBezTo>
                  <a:cubicBezTo>
                    <a:pt x="0" y="381"/>
                    <a:pt x="171164" y="78677"/>
                    <a:pt x="247174" y="137636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30270227-7E26-4E7C-883D-1FFD920F89EE}"/>
                </a:ext>
              </a:extLst>
            </p:cNvPr>
            <p:cNvSpPr/>
            <p:nvPr/>
          </p:nvSpPr>
          <p:spPr>
            <a:xfrm>
              <a:off x="790788" y="2086095"/>
              <a:ext cx="230028" cy="127319"/>
            </a:xfrm>
            <a:custGeom>
              <a:avLst/>
              <a:gdLst>
                <a:gd name="connsiteX0" fmla="*/ 230029 w 230028"/>
                <a:gd name="connsiteY0" fmla="*/ 125063 h 127319"/>
                <a:gd name="connsiteX1" fmla="*/ 0 w 230028"/>
                <a:gd name="connsiteY1" fmla="*/ 0 h 127319"/>
                <a:gd name="connsiteX2" fmla="*/ 230029 w 230028"/>
                <a:gd name="connsiteY2" fmla="*/ 125063 h 12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028" h="127319">
                  <a:moveTo>
                    <a:pt x="230029" y="125063"/>
                  </a:moveTo>
                  <a:cubicBezTo>
                    <a:pt x="230029" y="125063"/>
                    <a:pt x="65723" y="154591"/>
                    <a:pt x="0" y="0"/>
                  </a:cubicBezTo>
                  <a:cubicBezTo>
                    <a:pt x="81646" y="31814"/>
                    <a:pt x="158937" y="73835"/>
                    <a:pt x="230029" y="125063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AE258754-6623-4B7D-9D1B-607A330CDA55}"/>
                </a:ext>
              </a:extLst>
            </p:cNvPr>
            <p:cNvSpPr/>
            <p:nvPr/>
          </p:nvSpPr>
          <p:spPr>
            <a:xfrm>
              <a:off x="852225" y="1997515"/>
              <a:ext cx="161925" cy="218310"/>
            </a:xfrm>
            <a:custGeom>
              <a:avLst/>
              <a:gdLst>
                <a:gd name="connsiteX0" fmla="*/ 161925 w 161925"/>
                <a:gd name="connsiteY0" fmla="*/ 107535 h 218310"/>
                <a:gd name="connsiteX1" fmla="*/ 128302 w 161925"/>
                <a:gd name="connsiteY1" fmla="*/ 218310 h 218310"/>
                <a:gd name="connsiteX2" fmla="*/ 0 w 161925"/>
                <a:gd name="connsiteY2" fmla="*/ 169638 h 218310"/>
                <a:gd name="connsiteX3" fmla="*/ 1905 w 161925"/>
                <a:gd name="connsiteY3" fmla="*/ 5903 h 218310"/>
                <a:gd name="connsiteX4" fmla="*/ 161925 w 161925"/>
                <a:gd name="connsiteY4" fmla="*/ 107535 h 21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18310">
                  <a:moveTo>
                    <a:pt x="161925" y="107535"/>
                  </a:moveTo>
                  <a:cubicBezTo>
                    <a:pt x="161925" y="107535"/>
                    <a:pt x="111347" y="154493"/>
                    <a:pt x="128302" y="218310"/>
                  </a:cubicBezTo>
                  <a:lnTo>
                    <a:pt x="0" y="169638"/>
                  </a:lnTo>
                  <a:cubicBezTo>
                    <a:pt x="6749" y="115302"/>
                    <a:pt x="7389" y="60381"/>
                    <a:pt x="1905" y="5903"/>
                  </a:cubicBezTo>
                  <a:cubicBezTo>
                    <a:pt x="-1619" y="-29721"/>
                    <a:pt x="161925" y="107535"/>
                    <a:pt x="161925" y="107535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F9186FF5-20EB-4F07-8E89-F16BEAA8884E}"/>
                </a:ext>
              </a:extLst>
            </p:cNvPr>
            <p:cNvSpPr/>
            <p:nvPr/>
          </p:nvSpPr>
          <p:spPr>
            <a:xfrm>
              <a:off x="833831" y="1860162"/>
              <a:ext cx="146123" cy="231323"/>
            </a:xfrm>
            <a:custGeom>
              <a:avLst/>
              <a:gdLst>
                <a:gd name="connsiteX0" fmla="*/ 486 w 146123"/>
                <a:gd name="connsiteY0" fmla="*/ 0 h 231323"/>
                <a:gd name="connsiteX1" fmla="*/ 136122 w 146123"/>
                <a:gd name="connsiteY1" fmla="*/ 228600 h 231323"/>
                <a:gd name="connsiteX2" fmla="*/ 146123 w 146123"/>
                <a:gd name="connsiteY2" fmla="*/ 71057 h 23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123" h="231323">
                  <a:moveTo>
                    <a:pt x="486" y="0"/>
                  </a:moveTo>
                  <a:cubicBezTo>
                    <a:pt x="486" y="0"/>
                    <a:pt x="-15516" y="260604"/>
                    <a:pt x="136122" y="228600"/>
                  </a:cubicBezTo>
                  <a:lnTo>
                    <a:pt x="146123" y="71057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172829F1-2531-48AA-B795-7D8480DEB760}"/>
                </a:ext>
              </a:extLst>
            </p:cNvPr>
            <p:cNvSpPr/>
            <p:nvPr/>
          </p:nvSpPr>
          <p:spPr>
            <a:xfrm>
              <a:off x="965096" y="1892547"/>
              <a:ext cx="161353" cy="254741"/>
            </a:xfrm>
            <a:custGeom>
              <a:avLst/>
              <a:gdLst>
                <a:gd name="connsiteX0" fmla="*/ 161354 w 161353"/>
                <a:gd name="connsiteY0" fmla="*/ 0 h 254741"/>
                <a:gd name="connsiteX1" fmla="*/ 134779 w 161353"/>
                <a:gd name="connsiteY1" fmla="*/ 143256 h 254741"/>
                <a:gd name="connsiteX2" fmla="*/ 89726 w 161353"/>
                <a:gd name="connsiteY2" fmla="*/ 252603 h 254741"/>
                <a:gd name="connsiteX3" fmla="*/ 17621 w 161353"/>
                <a:gd name="connsiteY3" fmla="*/ 226886 h 254741"/>
                <a:gd name="connsiteX4" fmla="*/ 0 w 161353"/>
                <a:gd name="connsiteY4" fmla="*/ 61151 h 25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53" h="254741">
                  <a:moveTo>
                    <a:pt x="161354" y="0"/>
                  </a:moveTo>
                  <a:cubicBezTo>
                    <a:pt x="145447" y="37338"/>
                    <a:pt x="144304" y="92678"/>
                    <a:pt x="134779" y="143256"/>
                  </a:cubicBezTo>
                  <a:cubicBezTo>
                    <a:pt x="123730" y="199072"/>
                    <a:pt x="103918" y="248031"/>
                    <a:pt x="89726" y="252603"/>
                  </a:cubicBezTo>
                  <a:cubicBezTo>
                    <a:pt x="77724" y="256413"/>
                    <a:pt x="52102" y="258699"/>
                    <a:pt x="17621" y="226886"/>
                  </a:cubicBezTo>
                  <a:lnTo>
                    <a:pt x="0" y="61151"/>
                  </a:ln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9C6B389C-3B66-4622-834B-0789DD76EAA6}"/>
                </a:ext>
              </a:extLst>
            </p:cNvPr>
            <p:cNvSpPr/>
            <p:nvPr/>
          </p:nvSpPr>
          <p:spPr>
            <a:xfrm>
              <a:off x="976050" y="2059806"/>
              <a:ext cx="74009" cy="87153"/>
            </a:xfrm>
            <a:custGeom>
              <a:avLst/>
              <a:gdLst>
                <a:gd name="connsiteX0" fmla="*/ 0 w 74009"/>
                <a:gd name="connsiteY0" fmla="*/ 19050 h 87153"/>
                <a:gd name="connsiteX1" fmla="*/ 8763 w 74009"/>
                <a:gd name="connsiteY1" fmla="*/ 0 h 87153"/>
                <a:gd name="connsiteX2" fmla="*/ 74009 w 74009"/>
                <a:gd name="connsiteY2" fmla="*/ 86487 h 87153"/>
                <a:gd name="connsiteX3" fmla="*/ 4096 w 74009"/>
                <a:gd name="connsiteY3" fmla="*/ 57150 h 8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09" h="87153">
                  <a:moveTo>
                    <a:pt x="0" y="19050"/>
                  </a:moveTo>
                  <a:lnTo>
                    <a:pt x="8763" y="0"/>
                  </a:lnTo>
                  <a:cubicBezTo>
                    <a:pt x="33242" y="96107"/>
                    <a:pt x="74009" y="86487"/>
                    <a:pt x="74009" y="86487"/>
                  </a:cubicBezTo>
                  <a:cubicBezTo>
                    <a:pt x="74009" y="86487"/>
                    <a:pt x="40672" y="94202"/>
                    <a:pt x="4096" y="57150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3" name="Freeform: Shape 1092">
              <a:extLst>
                <a:ext uri="{FF2B5EF4-FFF2-40B4-BE49-F238E27FC236}">
                  <a16:creationId xmlns:a16="http://schemas.microsoft.com/office/drawing/2014/main" id="{5F6379D7-A52D-47CF-A6F3-143485D42537}"/>
                </a:ext>
              </a:extLst>
            </p:cNvPr>
            <p:cNvSpPr/>
            <p:nvPr/>
          </p:nvSpPr>
          <p:spPr>
            <a:xfrm>
              <a:off x="820510" y="1766194"/>
              <a:ext cx="309177" cy="345641"/>
            </a:xfrm>
            <a:custGeom>
              <a:avLst/>
              <a:gdLst>
                <a:gd name="connsiteX0" fmla="*/ 12093 w 309177"/>
                <a:gd name="connsiteY0" fmla="*/ 51582 h 345641"/>
                <a:gd name="connsiteX1" fmla="*/ 309178 w 309177"/>
                <a:gd name="connsiteY1" fmla="*/ 83205 h 345641"/>
                <a:gd name="connsiteX2" fmla="*/ 229930 w 309177"/>
                <a:gd name="connsiteY2" fmla="*/ 196553 h 345641"/>
                <a:gd name="connsiteX3" fmla="*/ 171256 w 309177"/>
                <a:gd name="connsiteY3" fmla="*/ 246845 h 345641"/>
                <a:gd name="connsiteX4" fmla="*/ 52765 w 309177"/>
                <a:gd name="connsiteY4" fmla="*/ 328283 h 345641"/>
                <a:gd name="connsiteX5" fmla="*/ 12093 w 309177"/>
                <a:gd name="connsiteY5" fmla="*/ 51582 h 345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177" h="345641">
                  <a:moveTo>
                    <a:pt x="12093" y="51582"/>
                  </a:moveTo>
                  <a:cubicBezTo>
                    <a:pt x="60289" y="-28618"/>
                    <a:pt x="260314" y="-13188"/>
                    <a:pt x="309178" y="83205"/>
                  </a:cubicBezTo>
                  <a:cubicBezTo>
                    <a:pt x="309178" y="83205"/>
                    <a:pt x="272697" y="168073"/>
                    <a:pt x="229930" y="196553"/>
                  </a:cubicBezTo>
                  <a:cubicBezTo>
                    <a:pt x="205165" y="265037"/>
                    <a:pt x="196687" y="258275"/>
                    <a:pt x="171256" y="246845"/>
                  </a:cubicBezTo>
                  <a:cubicBezTo>
                    <a:pt x="166303" y="250655"/>
                    <a:pt x="173923" y="394387"/>
                    <a:pt x="52765" y="328283"/>
                  </a:cubicBezTo>
                  <a:cubicBezTo>
                    <a:pt x="-13053" y="292374"/>
                    <a:pt x="-5147" y="79967"/>
                    <a:pt x="12093" y="51582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52E9B3A6-A5B3-4271-9BAD-ABD57AC4B02C}"/>
                </a:ext>
              </a:extLst>
            </p:cNvPr>
            <p:cNvSpPr/>
            <p:nvPr/>
          </p:nvSpPr>
          <p:spPr>
            <a:xfrm>
              <a:off x="1048249" y="1829206"/>
              <a:ext cx="88990" cy="159448"/>
            </a:xfrm>
            <a:custGeom>
              <a:avLst/>
              <a:gdLst>
                <a:gd name="connsiteX0" fmla="*/ 19050 w 88990"/>
                <a:gd name="connsiteY0" fmla="*/ 84963 h 159448"/>
                <a:gd name="connsiteX1" fmla="*/ 0 w 88990"/>
                <a:gd name="connsiteY1" fmla="*/ 159449 h 159448"/>
                <a:gd name="connsiteX2" fmla="*/ 78010 w 88990"/>
                <a:gd name="connsiteY2" fmla="*/ 119348 h 159448"/>
                <a:gd name="connsiteX3" fmla="*/ 68485 w 88990"/>
                <a:gd name="connsiteY3" fmla="*/ 0 h 15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90" h="159448">
                  <a:moveTo>
                    <a:pt x="19050" y="84963"/>
                  </a:moveTo>
                  <a:lnTo>
                    <a:pt x="0" y="159449"/>
                  </a:lnTo>
                  <a:cubicBezTo>
                    <a:pt x="28732" y="152234"/>
                    <a:pt x="55421" y="138514"/>
                    <a:pt x="78010" y="119348"/>
                  </a:cubicBezTo>
                  <a:cubicBezTo>
                    <a:pt x="81820" y="106109"/>
                    <a:pt x="105537" y="39624"/>
                    <a:pt x="68485" y="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5" name="Freeform: Shape 1094">
              <a:extLst>
                <a:ext uri="{FF2B5EF4-FFF2-40B4-BE49-F238E27FC236}">
                  <a16:creationId xmlns:a16="http://schemas.microsoft.com/office/drawing/2014/main" id="{D60B981E-F842-4E89-B219-58A266E04B87}"/>
                </a:ext>
              </a:extLst>
            </p:cNvPr>
            <p:cNvSpPr/>
            <p:nvPr/>
          </p:nvSpPr>
          <p:spPr>
            <a:xfrm>
              <a:off x="980145" y="2821330"/>
              <a:ext cx="204596" cy="296703"/>
            </a:xfrm>
            <a:custGeom>
              <a:avLst/>
              <a:gdLst>
                <a:gd name="connsiteX0" fmla="*/ 204597 w 204596"/>
                <a:gd name="connsiteY0" fmla="*/ 179927 h 296703"/>
                <a:gd name="connsiteX1" fmla="*/ 2381 w 204596"/>
                <a:gd name="connsiteY1" fmla="*/ 296704 h 296703"/>
                <a:gd name="connsiteX2" fmla="*/ 0 w 204596"/>
                <a:gd name="connsiteY2" fmla="*/ 103918 h 296703"/>
                <a:gd name="connsiteX3" fmla="*/ 180118 w 204596"/>
                <a:gd name="connsiteY3" fmla="*/ 0 h 296703"/>
                <a:gd name="connsiteX4" fmla="*/ 204597 w 204596"/>
                <a:gd name="connsiteY4" fmla="*/ 179927 h 2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96" h="296703">
                  <a:moveTo>
                    <a:pt x="204597" y="179927"/>
                  </a:moveTo>
                  <a:lnTo>
                    <a:pt x="2381" y="296704"/>
                  </a:lnTo>
                  <a:lnTo>
                    <a:pt x="0" y="103918"/>
                  </a:lnTo>
                  <a:lnTo>
                    <a:pt x="180118" y="0"/>
                  </a:lnTo>
                  <a:lnTo>
                    <a:pt x="204597" y="179927"/>
                  </a:ln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42716055-8B8B-4331-B876-8201EE0AC2D5}"/>
                </a:ext>
              </a:extLst>
            </p:cNvPr>
            <p:cNvSpPr/>
            <p:nvPr/>
          </p:nvSpPr>
          <p:spPr>
            <a:xfrm>
              <a:off x="945474" y="2912580"/>
              <a:ext cx="37052" cy="205454"/>
            </a:xfrm>
            <a:custGeom>
              <a:avLst/>
              <a:gdLst>
                <a:gd name="connsiteX0" fmla="*/ 37052 w 37052"/>
                <a:gd name="connsiteY0" fmla="*/ 205454 h 205454"/>
                <a:gd name="connsiteX1" fmla="*/ 0 w 37052"/>
                <a:gd name="connsiteY1" fmla="*/ 184309 h 205454"/>
                <a:gd name="connsiteX2" fmla="*/ 12382 w 37052"/>
                <a:gd name="connsiteY2" fmla="*/ 0 h 205454"/>
                <a:gd name="connsiteX3" fmla="*/ 34671 w 37052"/>
                <a:gd name="connsiteY3" fmla="*/ 12668 h 205454"/>
                <a:gd name="connsiteX4" fmla="*/ 37052 w 37052"/>
                <a:gd name="connsiteY4" fmla="*/ 205454 h 20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52" h="205454">
                  <a:moveTo>
                    <a:pt x="37052" y="205454"/>
                  </a:moveTo>
                  <a:lnTo>
                    <a:pt x="0" y="184309"/>
                  </a:lnTo>
                  <a:lnTo>
                    <a:pt x="12382" y="0"/>
                  </a:lnTo>
                  <a:lnTo>
                    <a:pt x="34671" y="12668"/>
                  </a:lnTo>
                  <a:lnTo>
                    <a:pt x="37052" y="205454"/>
                  </a:ln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7" name="Freeform: Shape 1096">
              <a:extLst>
                <a:ext uri="{FF2B5EF4-FFF2-40B4-BE49-F238E27FC236}">
                  <a16:creationId xmlns:a16="http://schemas.microsoft.com/office/drawing/2014/main" id="{DA928F23-3F79-49E6-89C2-73E4166A500C}"/>
                </a:ext>
              </a:extLst>
            </p:cNvPr>
            <p:cNvSpPr/>
            <p:nvPr/>
          </p:nvSpPr>
          <p:spPr>
            <a:xfrm>
              <a:off x="957857" y="2810281"/>
              <a:ext cx="202406" cy="114966"/>
            </a:xfrm>
            <a:custGeom>
              <a:avLst/>
              <a:gdLst>
                <a:gd name="connsiteX0" fmla="*/ 0 w 202406"/>
                <a:gd name="connsiteY0" fmla="*/ 102298 h 114966"/>
                <a:gd name="connsiteX1" fmla="*/ 183451 w 202406"/>
                <a:gd name="connsiteY1" fmla="*/ 0 h 114966"/>
                <a:gd name="connsiteX2" fmla="*/ 202406 w 202406"/>
                <a:gd name="connsiteY2" fmla="*/ 11049 h 114966"/>
                <a:gd name="connsiteX3" fmla="*/ 22289 w 202406"/>
                <a:gd name="connsiteY3" fmla="*/ 114967 h 114966"/>
                <a:gd name="connsiteX4" fmla="*/ 0 w 202406"/>
                <a:gd name="connsiteY4" fmla="*/ 102298 h 11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406" h="114966">
                  <a:moveTo>
                    <a:pt x="0" y="102298"/>
                  </a:moveTo>
                  <a:lnTo>
                    <a:pt x="183451" y="0"/>
                  </a:lnTo>
                  <a:lnTo>
                    <a:pt x="202406" y="11049"/>
                  </a:lnTo>
                  <a:lnTo>
                    <a:pt x="22289" y="114967"/>
                  </a:lnTo>
                  <a:lnTo>
                    <a:pt x="0" y="102298"/>
                  </a:ln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F1A53913-9B13-4F46-A437-3A2E8E8B5FD1}"/>
                </a:ext>
              </a:extLst>
            </p:cNvPr>
            <p:cNvSpPr/>
            <p:nvPr/>
          </p:nvSpPr>
          <p:spPr>
            <a:xfrm>
              <a:off x="993036" y="2242084"/>
              <a:ext cx="151722" cy="684949"/>
            </a:xfrm>
            <a:custGeom>
              <a:avLst/>
              <a:gdLst>
                <a:gd name="connsiteX0" fmla="*/ 4751 w 151722"/>
                <a:gd name="connsiteY0" fmla="*/ 684950 h 684949"/>
                <a:gd name="connsiteX1" fmla="*/ 6752 w 151722"/>
                <a:gd name="connsiteY1" fmla="*/ 596462 h 684949"/>
                <a:gd name="connsiteX2" fmla="*/ 6752 w 151722"/>
                <a:gd name="connsiteY2" fmla="*/ 507880 h 684949"/>
                <a:gd name="connsiteX3" fmla="*/ 4751 w 151722"/>
                <a:gd name="connsiteY3" fmla="*/ 419393 h 684949"/>
                <a:gd name="connsiteX4" fmla="*/ 2465 w 151722"/>
                <a:gd name="connsiteY4" fmla="*/ 330810 h 684949"/>
                <a:gd name="connsiteX5" fmla="*/ 465 w 151722"/>
                <a:gd name="connsiteY5" fmla="*/ 242132 h 684949"/>
                <a:gd name="connsiteX6" fmla="*/ 465 w 151722"/>
                <a:gd name="connsiteY6" fmla="*/ 153455 h 684949"/>
                <a:gd name="connsiteX7" fmla="*/ 3037 w 151722"/>
                <a:gd name="connsiteY7" fmla="*/ 108973 h 684949"/>
                <a:gd name="connsiteX8" fmla="*/ 9228 w 151722"/>
                <a:gd name="connsiteY8" fmla="*/ 64682 h 684949"/>
                <a:gd name="connsiteX9" fmla="*/ 24373 w 151722"/>
                <a:gd name="connsiteY9" fmla="*/ 21819 h 684949"/>
                <a:gd name="connsiteX10" fmla="*/ 41232 w 151722"/>
                <a:gd name="connsiteY10" fmla="*/ 4769 h 684949"/>
                <a:gd name="connsiteX11" fmla="*/ 65330 w 151722"/>
                <a:gd name="connsiteY11" fmla="*/ 388 h 684949"/>
                <a:gd name="connsiteX12" fmla="*/ 65330 w 151722"/>
                <a:gd name="connsiteY12" fmla="*/ 388 h 684949"/>
                <a:gd name="connsiteX13" fmla="*/ 84476 w 151722"/>
                <a:gd name="connsiteY13" fmla="*/ 10961 h 684949"/>
                <a:gd name="connsiteX14" fmla="*/ 96668 w 151722"/>
                <a:gd name="connsiteY14" fmla="*/ 27534 h 684949"/>
                <a:gd name="connsiteX15" fmla="*/ 110765 w 151722"/>
                <a:gd name="connsiteY15" fmla="*/ 64586 h 684949"/>
                <a:gd name="connsiteX16" fmla="*/ 124004 w 151722"/>
                <a:gd name="connsiteY16" fmla="*/ 141548 h 684949"/>
                <a:gd name="connsiteX17" fmla="*/ 129910 w 151722"/>
                <a:gd name="connsiteY17" fmla="*/ 219082 h 684949"/>
                <a:gd name="connsiteX18" fmla="*/ 133148 w 151722"/>
                <a:gd name="connsiteY18" fmla="*/ 296711 h 684949"/>
                <a:gd name="connsiteX19" fmla="*/ 138673 w 151722"/>
                <a:gd name="connsiteY19" fmla="*/ 451682 h 684949"/>
                <a:gd name="connsiteX20" fmla="*/ 151722 w 151722"/>
                <a:gd name="connsiteY20" fmla="*/ 605702 h 684949"/>
                <a:gd name="connsiteX21" fmla="*/ 136101 w 151722"/>
                <a:gd name="connsiteY21" fmla="*/ 607511 h 684949"/>
                <a:gd name="connsiteX22" fmla="*/ 131243 w 151722"/>
                <a:gd name="connsiteY22" fmla="*/ 529692 h 684949"/>
                <a:gd name="connsiteX23" fmla="*/ 128862 w 151722"/>
                <a:gd name="connsiteY23" fmla="*/ 452063 h 684949"/>
                <a:gd name="connsiteX24" fmla="*/ 125719 w 151722"/>
                <a:gd name="connsiteY24" fmla="*/ 296901 h 684949"/>
                <a:gd name="connsiteX25" fmla="*/ 116194 w 151722"/>
                <a:gd name="connsiteY25" fmla="*/ 142501 h 684949"/>
                <a:gd name="connsiteX26" fmla="*/ 102764 w 151722"/>
                <a:gd name="connsiteY26" fmla="*/ 66301 h 684949"/>
                <a:gd name="connsiteX27" fmla="*/ 89238 w 151722"/>
                <a:gd name="connsiteY27" fmla="*/ 31154 h 684949"/>
                <a:gd name="connsiteX28" fmla="*/ 63902 w 151722"/>
                <a:gd name="connsiteY28" fmla="*/ 8198 h 684949"/>
                <a:gd name="connsiteX29" fmla="*/ 63902 w 151722"/>
                <a:gd name="connsiteY29" fmla="*/ 8198 h 684949"/>
                <a:gd name="connsiteX30" fmla="*/ 44852 w 151722"/>
                <a:gd name="connsiteY30" fmla="*/ 11342 h 684949"/>
                <a:gd name="connsiteX31" fmla="*/ 30850 w 151722"/>
                <a:gd name="connsiteY31" fmla="*/ 25343 h 684949"/>
                <a:gd name="connsiteX32" fmla="*/ 16277 w 151722"/>
                <a:gd name="connsiteY32" fmla="*/ 65444 h 684949"/>
                <a:gd name="connsiteX33" fmla="*/ 9800 w 151722"/>
                <a:gd name="connsiteY33" fmla="*/ 108878 h 684949"/>
                <a:gd name="connsiteX34" fmla="*/ 6847 w 151722"/>
                <a:gd name="connsiteY34" fmla="*/ 152788 h 684949"/>
                <a:gd name="connsiteX35" fmla="*/ 5609 w 151722"/>
                <a:gd name="connsiteY35" fmla="*/ 241275 h 684949"/>
                <a:gd name="connsiteX36" fmla="*/ 7514 w 151722"/>
                <a:gd name="connsiteY36" fmla="*/ 329762 h 684949"/>
                <a:gd name="connsiteX37" fmla="*/ 10657 w 151722"/>
                <a:gd name="connsiteY37" fmla="*/ 418250 h 684949"/>
                <a:gd name="connsiteX38" fmla="*/ 13895 w 151722"/>
                <a:gd name="connsiteY38" fmla="*/ 506832 h 684949"/>
                <a:gd name="connsiteX39" fmla="*/ 16658 w 151722"/>
                <a:gd name="connsiteY39" fmla="*/ 595510 h 684949"/>
                <a:gd name="connsiteX40" fmla="*/ 18563 w 151722"/>
                <a:gd name="connsiteY40" fmla="*/ 684188 h 68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1722" h="684949">
                  <a:moveTo>
                    <a:pt x="4751" y="684950"/>
                  </a:moveTo>
                  <a:cubicBezTo>
                    <a:pt x="5704" y="655422"/>
                    <a:pt x="6466" y="625990"/>
                    <a:pt x="6752" y="596462"/>
                  </a:cubicBezTo>
                  <a:cubicBezTo>
                    <a:pt x="7037" y="566935"/>
                    <a:pt x="6752" y="537407"/>
                    <a:pt x="6752" y="507880"/>
                  </a:cubicBezTo>
                  <a:lnTo>
                    <a:pt x="4751" y="419393"/>
                  </a:lnTo>
                  <a:lnTo>
                    <a:pt x="2465" y="330810"/>
                  </a:lnTo>
                  <a:cubicBezTo>
                    <a:pt x="1608" y="301283"/>
                    <a:pt x="1037" y="271755"/>
                    <a:pt x="465" y="242132"/>
                  </a:cubicBezTo>
                  <a:cubicBezTo>
                    <a:pt x="-106" y="212510"/>
                    <a:pt x="-202" y="182982"/>
                    <a:pt x="465" y="153455"/>
                  </a:cubicBezTo>
                  <a:cubicBezTo>
                    <a:pt x="941" y="138596"/>
                    <a:pt x="1799" y="123832"/>
                    <a:pt x="3037" y="108973"/>
                  </a:cubicBezTo>
                  <a:cubicBezTo>
                    <a:pt x="4258" y="94103"/>
                    <a:pt x="6325" y="79316"/>
                    <a:pt x="9228" y="64682"/>
                  </a:cubicBezTo>
                  <a:cubicBezTo>
                    <a:pt x="11876" y="49656"/>
                    <a:pt x="16994" y="35173"/>
                    <a:pt x="24373" y="21819"/>
                  </a:cubicBezTo>
                  <a:cubicBezTo>
                    <a:pt x="28447" y="14791"/>
                    <a:pt x="34250" y="8921"/>
                    <a:pt x="41232" y="4769"/>
                  </a:cubicBezTo>
                  <a:cubicBezTo>
                    <a:pt x="48581" y="743"/>
                    <a:pt x="57035" y="-794"/>
                    <a:pt x="65330" y="388"/>
                  </a:cubicBezTo>
                  <a:lnTo>
                    <a:pt x="65330" y="388"/>
                  </a:lnTo>
                  <a:cubicBezTo>
                    <a:pt x="72574" y="2056"/>
                    <a:pt x="79206" y="5718"/>
                    <a:pt x="84476" y="10961"/>
                  </a:cubicBezTo>
                  <a:cubicBezTo>
                    <a:pt x="89332" y="15855"/>
                    <a:pt x="93440" y="21440"/>
                    <a:pt x="96668" y="27534"/>
                  </a:cubicBezTo>
                  <a:cubicBezTo>
                    <a:pt x="102824" y="39280"/>
                    <a:pt x="107557" y="51719"/>
                    <a:pt x="110765" y="64586"/>
                  </a:cubicBezTo>
                  <a:cubicBezTo>
                    <a:pt x="117092" y="89874"/>
                    <a:pt x="121517" y="115600"/>
                    <a:pt x="124004" y="141548"/>
                  </a:cubicBezTo>
                  <a:cubicBezTo>
                    <a:pt x="126767" y="167361"/>
                    <a:pt x="128576" y="193269"/>
                    <a:pt x="129910" y="219082"/>
                  </a:cubicBezTo>
                  <a:cubicBezTo>
                    <a:pt x="131243" y="244894"/>
                    <a:pt x="132386" y="270803"/>
                    <a:pt x="133148" y="296711"/>
                  </a:cubicBezTo>
                  <a:cubicBezTo>
                    <a:pt x="134863" y="348431"/>
                    <a:pt x="136482" y="400057"/>
                    <a:pt x="138673" y="451682"/>
                  </a:cubicBezTo>
                  <a:cubicBezTo>
                    <a:pt x="140864" y="503308"/>
                    <a:pt x="144388" y="554838"/>
                    <a:pt x="151722" y="605702"/>
                  </a:cubicBezTo>
                  <a:lnTo>
                    <a:pt x="136101" y="607511"/>
                  </a:lnTo>
                  <a:cubicBezTo>
                    <a:pt x="133625" y="581508"/>
                    <a:pt x="132291" y="555600"/>
                    <a:pt x="131243" y="529692"/>
                  </a:cubicBezTo>
                  <a:cubicBezTo>
                    <a:pt x="130196" y="503784"/>
                    <a:pt x="129338" y="477876"/>
                    <a:pt x="128862" y="452063"/>
                  </a:cubicBezTo>
                  <a:cubicBezTo>
                    <a:pt x="127529" y="400247"/>
                    <a:pt x="127338" y="348622"/>
                    <a:pt x="125719" y="296901"/>
                  </a:cubicBezTo>
                  <a:cubicBezTo>
                    <a:pt x="124100" y="245180"/>
                    <a:pt x="122004" y="193650"/>
                    <a:pt x="116194" y="142501"/>
                  </a:cubicBezTo>
                  <a:cubicBezTo>
                    <a:pt x="113685" y="116793"/>
                    <a:pt x="109195" y="91317"/>
                    <a:pt x="102764" y="66301"/>
                  </a:cubicBezTo>
                  <a:cubicBezTo>
                    <a:pt x="99656" y="54093"/>
                    <a:pt x="95116" y="42295"/>
                    <a:pt x="89238" y="31154"/>
                  </a:cubicBezTo>
                  <a:cubicBezTo>
                    <a:pt x="84276" y="20366"/>
                    <a:pt x="75124" y="12074"/>
                    <a:pt x="63902" y="8198"/>
                  </a:cubicBezTo>
                  <a:lnTo>
                    <a:pt x="63902" y="8198"/>
                  </a:lnTo>
                  <a:cubicBezTo>
                    <a:pt x="57379" y="7126"/>
                    <a:pt x="50684" y="8231"/>
                    <a:pt x="44852" y="11342"/>
                  </a:cubicBezTo>
                  <a:cubicBezTo>
                    <a:pt x="39069" y="14742"/>
                    <a:pt x="34250" y="19561"/>
                    <a:pt x="30850" y="25343"/>
                  </a:cubicBezTo>
                  <a:cubicBezTo>
                    <a:pt x="23862" y="37837"/>
                    <a:pt x="18941" y="51379"/>
                    <a:pt x="16277" y="65444"/>
                  </a:cubicBezTo>
                  <a:cubicBezTo>
                    <a:pt x="13346" y="79796"/>
                    <a:pt x="11184" y="94295"/>
                    <a:pt x="9800" y="108878"/>
                  </a:cubicBezTo>
                  <a:cubicBezTo>
                    <a:pt x="8371" y="123451"/>
                    <a:pt x="7418" y="138119"/>
                    <a:pt x="6847" y="152788"/>
                  </a:cubicBezTo>
                  <a:cubicBezTo>
                    <a:pt x="5609" y="182220"/>
                    <a:pt x="5418" y="211748"/>
                    <a:pt x="5609" y="241275"/>
                  </a:cubicBezTo>
                  <a:cubicBezTo>
                    <a:pt x="5799" y="270803"/>
                    <a:pt x="6656" y="300235"/>
                    <a:pt x="7514" y="329762"/>
                  </a:cubicBezTo>
                  <a:cubicBezTo>
                    <a:pt x="8371" y="359290"/>
                    <a:pt x="9514" y="388817"/>
                    <a:pt x="10657" y="418250"/>
                  </a:cubicBezTo>
                  <a:lnTo>
                    <a:pt x="13895" y="506832"/>
                  </a:lnTo>
                  <a:cubicBezTo>
                    <a:pt x="15038" y="536360"/>
                    <a:pt x="15959" y="565916"/>
                    <a:pt x="16658" y="595510"/>
                  </a:cubicBezTo>
                  <a:cubicBezTo>
                    <a:pt x="17515" y="625037"/>
                    <a:pt x="18277" y="654660"/>
                    <a:pt x="18563" y="684188"/>
                  </a:cubicBezTo>
                  <a:close/>
                </a:path>
              </a:pathLst>
            </a:custGeom>
            <a:solidFill>
              <a:srgbClr val="4750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099" name="Freeform: Shape 1098">
              <a:extLst>
                <a:ext uri="{FF2B5EF4-FFF2-40B4-BE49-F238E27FC236}">
                  <a16:creationId xmlns:a16="http://schemas.microsoft.com/office/drawing/2014/main" id="{A0F3CEC4-C4A0-4D4D-B76D-BC2643AC0EF7}"/>
                </a:ext>
              </a:extLst>
            </p:cNvPr>
            <p:cNvSpPr/>
            <p:nvPr/>
          </p:nvSpPr>
          <p:spPr>
            <a:xfrm>
              <a:off x="980145" y="2821330"/>
              <a:ext cx="180117" cy="160671"/>
            </a:xfrm>
            <a:custGeom>
              <a:avLst/>
              <a:gdLst>
                <a:gd name="connsiteX0" fmla="*/ 0 w 180117"/>
                <a:gd name="connsiteY0" fmla="*/ 104013 h 160671"/>
                <a:gd name="connsiteX1" fmla="*/ 117634 w 180117"/>
                <a:gd name="connsiteY1" fmla="*/ 159544 h 160671"/>
                <a:gd name="connsiteX2" fmla="*/ 180118 w 180117"/>
                <a:gd name="connsiteY2" fmla="*/ 0 h 16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117" h="160671">
                  <a:moveTo>
                    <a:pt x="0" y="104013"/>
                  </a:moveTo>
                  <a:cubicBezTo>
                    <a:pt x="0" y="104013"/>
                    <a:pt x="96488" y="170021"/>
                    <a:pt x="117634" y="159544"/>
                  </a:cubicBezTo>
                  <a:cubicBezTo>
                    <a:pt x="144590" y="146018"/>
                    <a:pt x="180118" y="0"/>
                    <a:pt x="180118" y="0"/>
                  </a:cubicBezTo>
                  <a:close/>
                </a:path>
              </a:pathLst>
            </a:custGeom>
            <a:solidFill>
              <a:srgbClr val="3F464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D6688E56-44B6-4163-9168-76CE76144CF7}"/>
                </a:ext>
              </a:extLst>
            </p:cNvPr>
            <p:cNvSpPr/>
            <p:nvPr/>
          </p:nvSpPr>
          <p:spPr>
            <a:xfrm>
              <a:off x="909897" y="2578171"/>
              <a:ext cx="195788" cy="228205"/>
            </a:xfrm>
            <a:custGeom>
              <a:avLst/>
              <a:gdLst>
                <a:gd name="connsiteX0" fmla="*/ 2907 w 195788"/>
                <a:gd name="connsiteY0" fmla="*/ 50278 h 228205"/>
                <a:gd name="connsiteX1" fmla="*/ 185596 w 195788"/>
                <a:gd name="connsiteY1" fmla="*/ 228205 h 228205"/>
                <a:gd name="connsiteX2" fmla="*/ 195788 w 195788"/>
                <a:gd name="connsiteY2" fmla="*/ 211251 h 228205"/>
                <a:gd name="connsiteX3" fmla="*/ 157688 w 195788"/>
                <a:gd name="connsiteY3" fmla="*/ 153339 h 228205"/>
                <a:gd name="connsiteX4" fmla="*/ 5288 w 195788"/>
                <a:gd name="connsiteY4" fmla="*/ 8749 h 228205"/>
                <a:gd name="connsiteX5" fmla="*/ 2907 w 195788"/>
                <a:gd name="connsiteY5" fmla="*/ 50278 h 22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788" h="228205">
                  <a:moveTo>
                    <a:pt x="2907" y="50278"/>
                  </a:moveTo>
                  <a:cubicBezTo>
                    <a:pt x="2907" y="50278"/>
                    <a:pt x="48817" y="128002"/>
                    <a:pt x="185596" y="228205"/>
                  </a:cubicBezTo>
                  <a:lnTo>
                    <a:pt x="195788" y="211251"/>
                  </a:lnTo>
                  <a:cubicBezTo>
                    <a:pt x="181918" y="192744"/>
                    <a:pt x="169194" y="173398"/>
                    <a:pt x="157688" y="153339"/>
                  </a:cubicBezTo>
                  <a:cubicBezTo>
                    <a:pt x="117397" y="82663"/>
                    <a:pt x="53580" y="-32685"/>
                    <a:pt x="5288" y="8749"/>
                  </a:cubicBezTo>
                  <a:cubicBezTo>
                    <a:pt x="-817" y="21771"/>
                    <a:pt x="-1670" y="36644"/>
                    <a:pt x="2907" y="50278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1" name="Freeform: Shape 1100">
              <a:extLst>
                <a:ext uri="{FF2B5EF4-FFF2-40B4-BE49-F238E27FC236}">
                  <a16:creationId xmlns:a16="http://schemas.microsoft.com/office/drawing/2014/main" id="{359D468D-062E-4F3A-8946-074C73D330C3}"/>
                </a:ext>
              </a:extLst>
            </p:cNvPr>
            <p:cNvSpPr/>
            <p:nvPr/>
          </p:nvSpPr>
          <p:spPr>
            <a:xfrm>
              <a:off x="1087683" y="2767853"/>
              <a:ext cx="68761" cy="48175"/>
            </a:xfrm>
            <a:custGeom>
              <a:avLst/>
              <a:gdLst>
                <a:gd name="connsiteX0" fmla="*/ 0 w 68761"/>
                <a:gd name="connsiteY0" fmla="*/ 18044 h 48175"/>
                <a:gd name="connsiteX1" fmla="*/ 59150 w 68761"/>
                <a:gd name="connsiteY1" fmla="*/ 42 h 48175"/>
                <a:gd name="connsiteX2" fmla="*/ 64865 w 68761"/>
                <a:gd name="connsiteY2" fmla="*/ 10138 h 48175"/>
                <a:gd name="connsiteX3" fmla="*/ 65913 w 68761"/>
                <a:gd name="connsiteY3" fmla="*/ 24140 h 48175"/>
                <a:gd name="connsiteX4" fmla="*/ 63817 w 68761"/>
                <a:gd name="connsiteY4" fmla="*/ 37189 h 48175"/>
                <a:gd name="connsiteX5" fmla="*/ 57436 w 68761"/>
                <a:gd name="connsiteY5" fmla="*/ 47286 h 48175"/>
                <a:gd name="connsiteX6" fmla="*/ 4572 w 68761"/>
                <a:gd name="connsiteY6" fmla="*/ 3585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61" h="48175">
                  <a:moveTo>
                    <a:pt x="0" y="18044"/>
                  </a:moveTo>
                  <a:cubicBezTo>
                    <a:pt x="0" y="18044"/>
                    <a:pt x="42481" y="-1006"/>
                    <a:pt x="59150" y="42"/>
                  </a:cubicBezTo>
                  <a:cubicBezTo>
                    <a:pt x="67913" y="42"/>
                    <a:pt x="67437" y="6423"/>
                    <a:pt x="64865" y="10138"/>
                  </a:cubicBezTo>
                  <a:cubicBezTo>
                    <a:pt x="69247" y="11757"/>
                    <a:pt x="70390" y="16996"/>
                    <a:pt x="65913" y="24140"/>
                  </a:cubicBezTo>
                  <a:cubicBezTo>
                    <a:pt x="68866" y="28140"/>
                    <a:pt x="68580" y="30236"/>
                    <a:pt x="63817" y="37189"/>
                  </a:cubicBezTo>
                  <a:cubicBezTo>
                    <a:pt x="66008" y="42714"/>
                    <a:pt x="63817" y="46714"/>
                    <a:pt x="57436" y="47286"/>
                  </a:cubicBezTo>
                  <a:cubicBezTo>
                    <a:pt x="39008" y="50143"/>
                    <a:pt x="20175" y="46066"/>
                    <a:pt x="4572" y="35856"/>
                  </a:cubicBezTo>
                  <a:close/>
                </a:path>
              </a:pathLst>
            </a:custGeom>
            <a:solidFill>
              <a:srgbClr val="F2B2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7517106E-A24C-4B2A-A6A8-A227DEEFF9FB}"/>
                </a:ext>
              </a:extLst>
            </p:cNvPr>
            <p:cNvSpPr/>
            <p:nvPr/>
          </p:nvSpPr>
          <p:spPr>
            <a:xfrm>
              <a:off x="908820" y="2243258"/>
              <a:ext cx="180261" cy="391202"/>
            </a:xfrm>
            <a:custGeom>
              <a:avLst/>
              <a:gdLst>
                <a:gd name="connsiteX0" fmla="*/ 154192 w 180261"/>
                <a:gd name="connsiteY0" fmla="*/ 0 h 391202"/>
                <a:gd name="connsiteX1" fmla="*/ 98757 w 180261"/>
                <a:gd name="connsiteY1" fmla="*/ 62674 h 391202"/>
                <a:gd name="connsiteX2" fmla="*/ 5793 w 180261"/>
                <a:gd name="connsiteY2" fmla="*/ 385382 h 391202"/>
                <a:gd name="connsiteX3" fmla="*/ 148668 w 180261"/>
                <a:gd name="connsiteY3" fmla="*/ 178784 h 391202"/>
                <a:gd name="connsiteX4" fmla="*/ 154192 w 180261"/>
                <a:gd name="connsiteY4" fmla="*/ 0 h 39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261" h="391202">
                  <a:moveTo>
                    <a:pt x="154192" y="0"/>
                  </a:moveTo>
                  <a:cubicBezTo>
                    <a:pt x="154192" y="0"/>
                    <a:pt x="122665" y="4000"/>
                    <a:pt x="98757" y="62674"/>
                  </a:cubicBezTo>
                  <a:cubicBezTo>
                    <a:pt x="56561" y="166211"/>
                    <a:pt x="-21925" y="361093"/>
                    <a:pt x="5793" y="385382"/>
                  </a:cubicBezTo>
                  <a:cubicBezTo>
                    <a:pt x="59609" y="432435"/>
                    <a:pt x="148668" y="178784"/>
                    <a:pt x="148668" y="178784"/>
                  </a:cubicBezTo>
                  <a:cubicBezTo>
                    <a:pt x="148668" y="178784"/>
                    <a:pt x="215914" y="40576"/>
                    <a:pt x="154192" y="0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AE5ED1BE-1E48-4876-96E4-2858D5AD3387}"/>
                </a:ext>
              </a:extLst>
            </p:cNvPr>
            <p:cNvSpPr/>
            <p:nvPr/>
          </p:nvSpPr>
          <p:spPr>
            <a:xfrm>
              <a:off x="729162" y="1822387"/>
              <a:ext cx="323087" cy="560309"/>
            </a:xfrm>
            <a:custGeom>
              <a:avLst/>
              <a:gdLst>
                <a:gd name="connsiteX0" fmla="*/ 100298 w 323087"/>
                <a:gd name="connsiteY0" fmla="*/ 3009 h 560309"/>
                <a:gd name="connsiteX1" fmla="*/ 0 w 323087"/>
                <a:gd name="connsiteY1" fmla="*/ 386010 h 560309"/>
                <a:gd name="connsiteX2" fmla="*/ 134398 w 323087"/>
                <a:gd name="connsiteY2" fmla="*/ 540791 h 560309"/>
                <a:gd name="connsiteX3" fmla="*/ 323088 w 323087"/>
                <a:gd name="connsiteY3" fmla="*/ 542886 h 560309"/>
                <a:gd name="connsiteX4" fmla="*/ 264795 w 323087"/>
                <a:gd name="connsiteY4" fmla="*/ 517264 h 560309"/>
                <a:gd name="connsiteX5" fmla="*/ 259652 w 323087"/>
                <a:gd name="connsiteY5" fmla="*/ 218655 h 560309"/>
                <a:gd name="connsiteX6" fmla="*/ 100298 w 323087"/>
                <a:gd name="connsiteY6" fmla="*/ 3009 h 56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087" h="560309">
                  <a:moveTo>
                    <a:pt x="100298" y="3009"/>
                  </a:moveTo>
                  <a:cubicBezTo>
                    <a:pt x="85630" y="35966"/>
                    <a:pt x="67437" y="464019"/>
                    <a:pt x="0" y="386010"/>
                  </a:cubicBezTo>
                  <a:cubicBezTo>
                    <a:pt x="0" y="386010"/>
                    <a:pt x="17717" y="490785"/>
                    <a:pt x="134398" y="540791"/>
                  </a:cubicBezTo>
                  <a:cubicBezTo>
                    <a:pt x="180213" y="560508"/>
                    <a:pt x="279749" y="571557"/>
                    <a:pt x="323088" y="542886"/>
                  </a:cubicBezTo>
                  <a:cubicBezTo>
                    <a:pt x="323088" y="542886"/>
                    <a:pt x="277368" y="550602"/>
                    <a:pt x="264795" y="517264"/>
                  </a:cubicBezTo>
                  <a:cubicBezTo>
                    <a:pt x="244412" y="463162"/>
                    <a:pt x="259652" y="218655"/>
                    <a:pt x="259652" y="218655"/>
                  </a:cubicBezTo>
                  <a:cubicBezTo>
                    <a:pt x="259652" y="218655"/>
                    <a:pt x="114872" y="-29947"/>
                    <a:pt x="100298" y="3009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C1DEBE0F-EADD-4EEA-BA9C-11C3EEFB63FB}"/>
                </a:ext>
              </a:extLst>
            </p:cNvPr>
            <p:cNvSpPr/>
            <p:nvPr/>
          </p:nvSpPr>
          <p:spPr>
            <a:xfrm>
              <a:off x="967953" y="1995142"/>
              <a:ext cx="41742" cy="66653"/>
            </a:xfrm>
            <a:custGeom>
              <a:avLst/>
              <a:gdLst>
                <a:gd name="connsiteX0" fmla="*/ 13907 w 41742"/>
                <a:gd name="connsiteY0" fmla="*/ 60378 h 66653"/>
                <a:gd name="connsiteX1" fmla="*/ 40672 w 41742"/>
                <a:gd name="connsiteY1" fmla="*/ 52758 h 66653"/>
                <a:gd name="connsiteX2" fmla="*/ 27813 w 41742"/>
                <a:gd name="connsiteY2" fmla="*/ 6276 h 66653"/>
                <a:gd name="connsiteX3" fmla="*/ 1048 w 41742"/>
                <a:gd name="connsiteY3" fmla="*/ 13896 h 66653"/>
                <a:gd name="connsiteX4" fmla="*/ 13907 w 41742"/>
                <a:gd name="connsiteY4" fmla="*/ 60378 h 6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42" h="66653">
                  <a:moveTo>
                    <a:pt x="13907" y="60378"/>
                  </a:moveTo>
                  <a:cubicBezTo>
                    <a:pt x="24860" y="71141"/>
                    <a:pt x="36862" y="67712"/>
                    <a:pt x="40672" y="52758"/>
                  </a:cubicBezTo>
                  <a:cubicBezTo>
                    <a:pt x="44067" y="36099"/>
                    <a:pt x="39287" y="18821"/>
                    <a:pt x="27813" y="6276"/>
                  </a:cubicBezTo>
                  <a:cubicBezTo>
                    <a:pt x="16859" y="-4487"/>
                    <a:pt x="4858" y="-1058"/>
                    <a:pt x="1048" y="13896"/>
                  </a:cubicBezTo>
                  <a:cubicBezTo>
                    <a:pt x="-2299" y="30553"/>
                    <a:pt x="2475" y="47810"/>
                    <a:pt x="13907" y="60378"/>
                  </a:cubicBezTo>
                  <a:close/>
                </a:path>
              </a:pathLst>
            </a:custGeom>
            <a:solidFill>
              <a:srgbClr val="FFC3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7C480BA3-54DF-4742-A1F2-054EF5C60FEF}"/>
                </a:ext>
              </a:extLst>
            </p:cNvPr>
            <p:cNvSpPr/>
            <p:nvPr/>
          </p:nvSpPr>
          <p:spPr>
            <a:xfrm>
              <a:off x="978444" y="2011519"/>
              <a:ext cx="21363" cy="34091"/>
            </a:xfrm>
            <a:custGeom>
              <a:avLst/>
              <a:gdLst>
                <a:gd name="connsiteX0" fmla="*/ 7130 w 21363"/>
                <a:gd name="connsiteY0" fmla="*/ 30857 h 34091"/>
                <a:gd name="connsiteX1" fmla="*/ 20846 w 21363"/>
                <a:gd name="connsiteY1" fmla="*/ 26952 h 34091"/>
                <a:gd name="connsiteX2" fmla="*/ 14179 w 21363"/>
                <a:gd name="connsiteY2" fmla="*/ 3234 h 34091"/>
                <a:gd name="connsiteX3" fmla="*/ 558 w 21363"/>
                <a:gd name="connsiteY3" fmla="*/ 7140 h 34091"/>
                <a:gd name="connsiteX4" fmla="*/ 7130 w 21363"/>
                <a:gd name="connsiteY4" fmla="*/ 30857 h 3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3" h="34091">
                  <a:moveTo>
                    <a:pt x="7130" y="30857"/>
                  </a:moveTo>
                  <a:cubicBezTo>
                    <a:pt x="12750" y="36381"/>
                    <a:pt x="18846" y="34667"/>
                    <a:pt x="20846" y="26952"/>
                  </a:cubicBezTo>
                  <a:cubicBezTo>
                    <a:pt x="22530" y="18435"/>
                    <a:pt x="20054" y="9626"/>
                    <a:pt x="14179" y="3234"/>
                  </a:cubicBezTo>
                  <a:cubicBezTo>
                    <a:pt x="8654" y="-2290"/>
                    <a:pt x="2463" y="-576"/>
                    <a:pt x="558" y="7140"/>
                  </a:cubicBezTo>
                  <a:cubicBezTo>
                    <a:pt x="-1199" y="15643"/>
                    <a:pt x="1247" y="24471"/>
                    <a:pt x="7130" y="30857"/>
                  </a:cubicBezTo>
                  <a:close/>
                </a:path>
              </a:pathLst>
            </a:custGeom>
            <a:solidFill>
              <a:srgbClr val="E2A2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28BF699B-7728-4008-B36D-EF525BE61046}"/>
                </a:ext>
              </a:extLst>
            </p:cNvPr>
            <p:cNvSpPr/>
            <p:nvPr/>
          </p:nvSpPr>
          <p:spPr>
            <a:xfrm>
              <a:off x="985098" y="2062569"/>
              <a:ext cx="15239" cy="46577"/>
            </a:xfrm>
            <a:custGeom>
              <a:avLst/>
              <a:gdLst>
                <a:gd name="connsiteX0" fmla="*/ 15240 w 15239"/>
                <a:gd name="connsiteY0" fmla="*/ 28575 h 46577"/>
                <a:gd name="connsiteX1" fmla="*/ 7620 w 15239"/>
                <a:gd name="connsiteY1" fmla="*/ 46577 h 46577"/>
                <a:gd name="connsiteX2" fmla="*/ 0 w 15239"/>
                <a:gd name="connsiteY2" fmla="*/ 28575 h 46577"/>
                <a:gd name="connsiteX3" fmla="*/ 7620 w 15239"/>
                <a:gd name="connsiteY3" fmla="*/ 0 h 46577"/>
                <a:gd name="connsiteX4" fmla="*/ 15240 w 15239"/>
                <a:gd name="connsiteY4" fmla="*/ 28575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39" h="46577">
                  <a:moveTo>
                    <a:pt x="15240" y="28575"/>
                  </a:moveTo>
                  <a:cubicBezTo>
                    <a:pt x="15240" y="41434"/>
                    <a:pt x="11811" y="46577"/>
                    <a:pt x="7620" y="46577"/>
                  </a:cubicBezTo>
                  <a:cubicBezTo>
                    <a:pt x="3429" y="46577"/>
                    <a:pt x="0" y="41434"/>
                    <a:pt x="0" y="28575"/>
                  </a:cubicBezTo>
                  <a:cubicBezTo>
                    <a:pt x="0" y="15716"/>
                    <a:pt x="3429" y="0"/>
                    <a:pt x="7620" y="0"/>
                  </a:cubicBezTo>
                  <a:cubicBezTo>
                    <a:pt x="11811" y="0"/>
                    <a:pt x="15240" y="15716"/>
                    <a:pt x="15240" y="2857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679BA0B0-B428-42BF-8213-26F0D2D8288B}"/>
                </a:ext>
              </a:extLst>
            </p:cNvPr>
            <p:cNvSpPr/>
            <p:nvPr/>
          </p:nvSpPr>
          <p:spPr>
            <a:xfrm>
              <a:off x="987003" y="2052377"/>
              <a:ext cx="11430" cy="11430"/>
            </a:xfrm>
            <a:custGeom>
              <a:avLst/>
              <a:gdLst>
                <a:gd name="connsiteX0" fmla="*/ 11430 w 11430"/>
                <a:gd name="connsiteY0" fmla="*/ 5715 h 11430"/>
                <a:gd name="connsiteX1" fmla="*/ 5715 w 11430"/>
                <a:gd name="connsiteY1" fmla="*/ 11430 h 11430"/>
                <a:gd name="connsiteX2" fmla="*/ 0 w 11430"/>
                <a:gd name="connsiteY2" fmla="*/ 5715 h 11430"/>
                <a:gd name="connsiteX3" fmla="*/ 5715 w 11430"/>
                <a:gd name="connsiteY3" fmla="*/ 0 h 11430"/>
                <a:gd name="connsiteX4" fmla="*/ 11430 w 11430"/>
                <a:gd name="connsiteY4" fmla="*/ 5715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" h="11430">
                  <a:moveTo>
                    <a:pt x="11430" y="5715"/>
                  </a:moveTo>
                  <a:cubicBezTo>
                    <a:pt x="11430" y="8871"/>
                    <a:pt x="8871" y="11430"/>
                    <a:pt x="5715" y="11430"/>
                  </a:cubicBezTo>
                  <a:cubicBezTo>
                    <a:pt x="2559" y="11430"/>
                    <a:pt x="0" y="8871"/>
                    <a:pt x="0" y="5715"/>
                  </a:cubicBezTo>
                  <a:cubicBezTo>
                    <a:pt x="0" y="2559"/>
                    <a:pt x="2559" y="0"/>
                    <a:pt x="5715" y="0"/>
                  </a:cubicBezTo>
                  <a:cubicBezTo>
                    <a:pt x="8871" y="0"/>
                    <a:pt x="11430" y="2559"/>
                    <a:pt x="11430" y="5715"/>
                  </a:cubicBezTo>
                  <a:close/>
                </a:path>
              </a:pathLst>
            </a:custGeom>
            <a:solidFill>
              <a:srgbClr val="2A30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FE57D9B1-AB0F-41BD-B21A-23F07214ED2B}"/>
                </a:ext>
              </a:extLst>
            </p:cNvPr>
            <p:cNvSpPr/>
            <p:nvPr/>
          </p:nvSpPr>
          <p:spPr>
            <a:xfrm>
              <a:off x="836828" y="1769763"/>
              <a:ext cx="285239" cy="141727"/>
            </a:xfrm>
            <a:custGeom>
              <a:avLst/>
              <a:gdLst>
                <a:gd name="connsiteX0" fmla="*/ 41971 w 285239"/>
                <a:gd name="connsiteY0" fmla="*/ 117640 h 141727"/>
                <a:gd name="connsiteX1" fmla="*/ 3871 w 285239"/>
                <a:gd name="connsiteY1" fmla="*/ 39440 h 141727"/>
                <a:gd name="connsiteX2" fmla="*/ 284192 w 285239"/>
                <a:gd name="connsiteY2" fmla="*/ 72587 h 141727"/>
                <a:gd name="connsiteX3" fmla="*/ 285240 w 285239"/>
                <a:gd name="connsiteY3" fmla="*/ 74587 h 141727"/>
                <a:gd name="connsiteX4" fmla="*/ 245616 w 285239"/>
                <a:gd name="connsiteY4" fmla="*/ 117164 h 141727"/>
                <a:gd name="connsiteX5" fmla="*/ 41971 w 285239"/>
                <a:gd name="connsiteY5" fmla="*/ 117640 h 14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239" h="141727">
                  <a:moveTo>
                    <a:pt x="41971" y="117640"/>
                  </a:moveTo>
                  <a:cubicBezTo>
                    <a:pt x="5395" y="96495"/>
                    <a:pt x="-7178" y="66682"/>
                    <a:pt x="3871" y="39440"/>
                  </a:cubicBezTo>
                  <a:cubicBezTo>
                    <a:pt x="69308" y="-26568"/>
                    <a:pt x="240948" y="-5804"/>
                    <a:pt x="284192" y="72587"/>
                  </a:cubicBezTo>
                  <a:lnTo>
                    <a:pt x="285240" y="74587"/>
                  </a:lnTo>
                  <a:cubicBezTo>
                    <a:pt x="277516" y="93040"/>
                    <a:pt x="263467" y="108135"/>
                    <a:pt x="245616" y="117164"/>
                  </a:cubicBezTo>
                  <a:cubicBezTo>
                    <a:pt x="189228" y="149740"/>
                    <a:pt x="98073" y="149930"/>
                    <a:pt x="41971" y="117640"/>
                  </a:cubicBezTo>
                  <a:close/>
                </a:path>
              </a:pathLst>
            </a:custGeom>
            <a:solidFill>
              <a:srgbClr val="6B33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6FD998D-BC6D-4C58-AEA2-73EB2E8F94CD}"/>
              </a:ext>
            </a:extLst>
          </p:cNvPr>
          <p:cNvCxnSpPr>
            <a:cxnSpLocks/>
          </p:cNvCxnSpPr>
          <p:nvPr/>
        </p:nvCxnSpPr>
        <p:spPr>
          <a:xfrm>
            <a:off x="597336" y="6538768"/>
            <a:ext cx="1827296" cy="0"/>
          </a:xfrm>
          <a:prstGeom prst="line">
            <a:avLst/>
          </a:prstGeom>
          <a:ln w="254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8" name="Straight Connector 1007">
            <a:extLst>
              <a:ext uri="{FF2B5EF4-FFF2-40B4-BE49-F238E27FC236}">
                <a16:creationId xmlns:a16="http://schemas.microsoft.com/office/drawing/2014/main" id="{4ADA066C-F0C7-4D1C-BBD6-15DEE17F92D4}"/>
              </a:ext>
            </a:extLst>
          </p:cNvPr>
          <p:cNvCxnSpPr>
            <a:cxnSpLocks/>
          </p:cNvCxnSpPr>
          <p:nvPr/>
        </p:nvCxnSpPr>
        <p:spPr>
          <a:xfrm>
            <a:off x="3396390" y="5895062"/>
            <a:ext cx="1031461" cy="0"/>
          </a:xfrm>
          <a:prstGeom prst="line">
            <a:avLst/>
          </a:prstGeom>
          <a:ln w="254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9" name="Straight Connector 1008">
            <a:extLst>
              <a:ext uri="{FF2B5EF4-FFF2-40B4-BE49-F238E27FC236}">
                <a16:creationId xmlns:a16="http://schemas.microsoft.com/office/drawing/2014/main" id="{3899A910-2D73-42BA-B0B8-6DB703BF1A6F}"/>
              </a:ext>
            </a:extLst>
          </p:cNvPr>
          <p:cNvCxnSpPr>
            <a:cxnSpLocks/>
          </p:cNvCxnSpPr>
          <p:nvPr/>
        </p:nvCxnSpPr>
        <p:spPr>
          <a:xfrm>
            <a:off x="4976193" y="5862827"/>
            <a:ext cx="1827297" cy="0"/>
          </a:xfrm>
          <a:prstGeom prst="line">
            <a:avLst/>
          </a:prstGeom>
          <a:ln w="254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0" name="Straight Connector 1009">
            <a:extLst>
              <a:ext uri="{FF2B5EF4-FFF2-40B4-BE49-F238E27FC236}">
                <a16:creationId xmlns:a16="http://schemas.microsoft.com/office/drawing/2014/main" id="{0C42CBDD-0043-496E-90D5-BB4114F87E40}"/>
              </a:ext>
            </a:extLst>
          </p:cNvPr>
          <p:cNvCxnSpPr>
            <a:cxnSpLocks/>
          </p:cNvCxnSpPr>
          <p:nvPr/>
        </p:nvCxnSpPr>
        <p:spPr>
          <a:xfrm>
            <a:off x="5962890" y="6626228"/>
            <a:ext cx="2010027" cy="0"/>
          </a:xfrm>
          <a:prstGeom prst="line">
            <a:avLst/>
          </a:prstGeom>
          <a:ln w="254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79075180-7C19-4473-B52B-8A205D828DF1}"/>
              </a:ext>
            </a:extLst>
          </p:cNvPr>
          <p:cNvCxnSpPr>
            <a:cxnSpLocks/>
          </p:cNvCxnSpPr>
          <p:nvPr/>
        </p:nvCxnSpPr>
        <p:spPr>
          <a:xfrm>
            <a:off x="9505295" y="6347890"/>
            <a:ext cx="1372875" cy="0"/>
          </a:xfrm>
          <a:prstGeom prst="line">
            <a:avLst/>
          </a:prstGeom>
          <a:ln w="254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5097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63" presetClass="path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96 3.53155E-6 L -3.98009E-6 3.53155E-6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042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repeatCount="3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6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68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30"/>
                                            </p:cond>
                                          </p:stCondLst>
                                        </p:cTn>
                                        <p:tgtEl>
                                          <p:spTgt spid="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6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9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5195E-6 1.66591E-6 L -0.31989 -0.1641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5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994" y="-821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6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2" presetClass="entr" presetSubtype="1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98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6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888 0.08875 L 8.83329E-7 -4.36677E-6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476" y="-42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5573 -0.02202 L -4.65152E-6 7.21743E-7 " pathEditMode="relative" rAng="0" ptsTypes="AA">
                                      <p:cBhvr>
                                        <p:cTn id="77" dur="2000" fill="hold"/>
                                        <p:tgtEl>
                                          <p:spTgt spid="8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787" y="1089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0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8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0"/>
                            </p:stCondLst>
                            <p:childTnLst>
                              <p:par>
                                <p:cTn id="88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6500"/>
                            </p:stCondLst>
                            <p:childTnLst>
                              <p:par>
                                <p:cTn id="92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775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5152E-6 7.21743E-7 L -0.15573 -0.02202 " pathEditMode="relative" rAng="0" ptsTypes="AA">
                                      <p:cBhvr>
                                        <p:cTn id="104" dur="2000" fill="hold"/>
                                        <p:tgtEl>
                                          <p:spTgt spid="10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761" y="-1067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8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8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8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10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000"/>
                            </p:stCondLst>
                            <p:childTnLst>
                              <p:par>
                                <p:cTn id="1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9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1" dur="500"/>
                                        <p:tgtEl>
                                          <p:spTgt spid="10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22" presetClass="entr" presetSubtype="1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4" dur="500"/>
                                        <p:tgtEl>
                                          <p:spTgt spid="98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42"/>
                                            </p:cond>
                                          </p:stCondLst>
                                        </p:cTn>
                                        <p:tgtEl>
                                          <p:spTgt spid="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5" presetID="22" presetClass="entr" presetSubtype="1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7" dur="500"/>
                                        <p:tgtEl>
                                          <p:spTgt spid="91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45"/>
                                            </p:cond>
                                          </p:stCondLst>
                                        </p:cTn>
                                        <p:tgtEl>
                                          <p:spTgt spid="9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7026E-6 -3.84476E-6 L 0.23296 0.12256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9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42" y="6128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10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9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6" dur="500"/>
                                        <p:tgtEl>
                                          <p:spTgt spid="10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2000"/>
                            </p:stCondLst>
                            <p:childTnLst>
                              <p:par>
                                <p:cTn id="168" presetID="22" presetClass="entr" presetSubtype="1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0" dur="500"/>
                                        <p:tgtEl>
                                          <p:spTgt spid="92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68"/>
                                            </p:cond>
                                          </p:stCondLst>
                                        </p:cTn>
                                        <p:tgtEl>
                                          <p:spTgt spid="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5" grpId="0" animBg="1"/>
      <p:bldP spid="465" grpId="1" animBg="1"/>
      <p:bldP spid="690" grpId="0"/>
      <p:bldP spid="690" grpId="1"/>
      <p:bldP spid="691" grpId="0"/>
      <p:bldP spid="691" grpId="1"/>
      <p:bldP spid="888" grpId="0"/>
      <p:bldP spid="888" grpId="1"/>
      <p:bldP spid="984" grpId="0" animBg="1"/>
      <p:bldP spid="985" grpId="0" animBg="1"/>
      <p:bldP spid="931" grpId="0" animBg="1"/>
      <p:bldP spid="931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:a16="http://schemas.microsoft.com/office/drawing/2014/main" id="{69945258-71D2-4454-8293-5E86ECBB0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552563"/>
            <a:ext cx="11306469" cy="616379"/>
          </a:xfrm>
        </p:spPr>
        <p:txBody>
          <a:bodyPr/>
          <a:lstStyle/>
          <a:p>
            <a:r>
              <a:rPr lang="en-IN"/>
              <a:t>How it work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CDAEBA-2709-4C46-B427-3B133C6954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18644" y="1090830"/>
            <a:ext cx="11617325" cy="439738"/>
          </a:xfrm>
        </p:spPr>
        <p:txBody>
          <a:bodyPr/>
          <a:lstStyle/>
          <a:p>
            <a:r>
              <a:rPr lang="en-IN" sz="2000">
                <a:solidFill>
                  <a:schemeClr val="tx2"/>
                </a:solidFill>
              </a:rPr>
              <a:t>Azure Stack &amp; Hub management</a:t>
            </a:r>
            <a:endParaRPr lang="en-US" sz="2000">
              <a:solidFill>
                <a:schemeClr val="tx2"/>
              </a:solidFill>
            </a:endParaRPr>
          </a:p>
        </p:txBody>
      </p:sp>
      <p:pic>
        <p:nvPicPr>
          <p:cNvPr id="53" name="Picture 52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2139D4-DAF8-419C-BD24-A2763CFBD8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864"/>
          <a:stretch/>
        </p:blipFill>
        <p:spPr>
          <a:xfrm>
            <a:off x="0" y="1778482"/>
            <a:ext cx="10389449" cy="5079518"/>
          </a:xfrm>
          <a:prstGeom prst="rect">
            <a:avLst/>
          </a:prstGeom>
          <a:effectLst>
            <a:outerShdw blurRad="165100" dist="38100" sx="101000" sy="101000" algn="ctr" rotWithShape="0">
              <a:prstClr val="black">
                <a:alpha val="20000"/>
              </a:prstClr>
            </a:outerShdw>
          </a:effec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E04A518-B4B4-4340-A230-DA880845526A}"/>
              </a:ext>
            </a:extLst>
          </p:cNvPr>
          <p:cNvGrpSpPr/>
          <p:nvPr/>
        </p:nvGrpSpPr>
        <p:grpSpPr>
          <a:xfrm>
            <a:off x="3969883" y="-515234"/>
            <a:ext cx="8222117" cy="7888468"/>
            <a:chOff x="4225234" y="710389"/>
            <a:chExt cx="7058850" cy="6772405"/>
          </a:xfrm>
          <a:effectLst>
            <a:outerShdw blurRad="165100" dist="50800" dir="5400000" algn="ctr" rotWithShape="0">
              <a:srgbClr val="000000">
                <a:alpha val="99000"/>
              </a:srgbClr>
            </a:outerShdw>
          </a:effectLst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1D825B2-40A5-4A0F-8C88-AC3CDD3D0A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25234" y="710389"/>
              <a:ext cx="7058850" cy="6772405"/>
            </a:xfrm>
            <a:prstGeom prst="rect">
              <a:avLst/>
            </a:prstGeom>
          </p:spPr>
        </p:pic>
        <p:pic>
          <p:nvPicPr>
            <p:cNvPr id="8" name="Picture 7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64509D0E-63D6-4A3D-9363-BB21245C42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18238" y="1878592"/>
              <a:ext cx="5065846" cy="45472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440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64EC0A-AD9D-41CA-8F7D-4CAA6550A25A}"/>
              </a:ext>
            </a:extLst>
          </p:cNvPr>
          <p:cNvCxnSpPr/>
          <p:nvPr/>
        </p:nvCxnSpPr>
        <p:spPr>
          <a:xfrm>
            <a:off x="4371227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36C6FA02-3BCF-44B5-8292-ADE8266C2E8E}"/>
              </a:ext>
            </a:extLst>
          </p:cNvPr>
          <p:cNvCxnSpPr/>
          <p:nvPr/>
        </p:nvCxnSpPr>
        <p:spPr>
          <a:xfrm>
            <a:off x="8409759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lligent edge in action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DD4A7454-A39B-4DCE-A0F7-840B75718729}"/>
              </a:ext>
            </a:extLst>
          </p:cNvPr>
          <p:cNvCxnSpPr>
            <a:cxnSpLocks/>
          </p:cNvCxnSpPr>
          <p:nvPr/>
        </p:nvCxnSpPr>
        <p:spPr>
          <a:xfrm>
            <a:off x="3145939" y="2492658"/>
            <a:ext cx="1698445" cy="340068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D3E8F180-D30E-46EB-98AF-79236816FD28}"/>
              </a:ext>
            </a:extLst>
          </p:cNvPr>
          <p:cNvCxnSpPr>
            <a:cxnSpLocks/>
          </p:cNvCxnSpPr>
          <p:nvPr/>
        </p:nvCxnSpPr>
        <p:spPr>
          <a:xfrm rot="10800000" flipV="1">
            <a:off x="3828663" y="4940427"/>
            <a:ext cx="1498579" cy="739860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pic>
        <p:nvPicPr>
          <p:cNvPr id="45" name="Graphic 44">
            <a:extLst>
              <a:ext uri="{FF2B5EF4-FFF2-40B4-BE49-F238E27FC236}">
                <a16:creationId xmlns:a16="http://schemas.microsoft.com/office/drawing/2014/main" id="{5864BB95-25B3-4DF9-B5AE-AC4CDEC71D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48356" y="3560002"/>
            <a:ext cx="661927" cy="390982"/>
          </a:xfrm>
          <a:prstGeom prst="rect">
            <a:avLst/>
          </a:prstGeom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D4BBB568-1242-4CDD-B9D7-675BBB14ED8D}"/>
              </a:ext>
            </a:extLst>
          </p:cNvPr>
          <p:cNvSpPr/>
          <p:nvPr/>
        </p:nvSpPr>
        <p:spPr>
          <a:xfrm>
            <a:off x="6611595" y="4090387"/>
            <a:ext cx="935449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Cognitiv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Services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5FF8298-6AA1-4FA3-BBC7-00BBC0B49F58}"/>
              </a:ext>
            </a:extLst>
          </p:cNvPr>
          <p:cNvSpPr/>
          <p:nvPr/>
        </p:nvSpPr>
        <p:spPr>
          <a:xfrm>
            <a:off x="5233538" y="4090387"/>
            <a:ext cx="88037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oT Edg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Runtime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EC02AC3A-21FF-456B-8BAD-83E0DC67397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875" y="3538645"/>
            <a:ext cx="433696" cy="433696"/>
          </a:xfrm>
          <a:prstGeom prst="rect">
            <a:avLst/>
          </a:prstGeom>
          <a:noFill/>
        </p:spPr>
      </p:pic>
      <p:pic>
        <p:nvPicPr>
          <p:cNvPr id="86" name="Picture 85" descr="Data Box Edge">
            <a:extLst>
              <a:ext uri="{FF2B5EF4-FFF2-40B4-BE49-F238E27FC236}">
                <a16:creationId xmlns:a16="http://schemas.microsoft.com/office/drawing/2014/main" id="{DCB72E77-2F23-4221-B76D-B1C42A5961F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1657" y="2291558"/>
            <a:ext cx="1433282" cy="8062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5C56D70-70F7-4269-AF4B-6A967510701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669" y="5158604"/>
            <a:ext cx="695258" cy="458406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9A4B3368-B969-402E-9C58-14C9458BD0BF}"/>
              </a:ext>
            </a:extLst>
          </p:cNvPr>
          <p:cNvSpPr/>
          <p:nvPr/>
        </p:nvSpPr>
        <p:spPr>
          <a:xfrm>
            <a:off x="5268205" y="5783337"/>
            <a:ext cx="22801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ntel Xeon Processors, Intel FPGAs, Intel SSDS 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E1CEAB9F-41F0-46EF-9DEF-E482D230626B}"/>
              </a:ext>
            </a:extLst>
          </p:cNvPr>
          <p:cNvSpPr/>
          <p:nvPr/>
        </p:nvSpPr>
        <p:spPr>
          <a:xfrm>
            <a:off x="8561887" y="1675677"/>
            <a:ext cx="3478706" cy="362072"/>
          </a:xfrm>
          <a:prstGeom prst="rect">
            <a:avLst/>
          </a:prstGeom>
          <a:noFill/>
          <a:ln w="6350">
            <a:noFill/>
          </a:ln>
        </p:spPr>
        <p:txBody>
          <a:bodyPr wrap="none" rtlCol="0" anchor="ctr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LOUD</a:t>
            </a:r>
          </a:p>
        </p:txBody>
      </p:sp>
      <p:pic>
        <p:nvPicPr>
          <p:cNvPr id="262" name="Picture 261">
            <a:extLst>
              <a:ext uri="{FF2B5EF4-FFF2-40B4-BE49-F238E27FC236}">
                <a16:creationId xmlns:a16="http://schemas.microsoft.com/office/drawing/2014/main" id="{987609F7-8DAA-4A9A-BF65-178413AD907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863" y="2248210"/>
            <a:ext cx="2699609" cy="892917"/>
          </a:xfrm>
          <a:prstGeom prst="rect">
            <a:avLst/>
          </a:prstGeom>
        </p:spPr>
      </p:pic>
      <p:grpSp>
        <p:nvGrpSpPr>
          <p:cNvPr id="263" name="Group 262">
            <a:extLst>
              <a:ext uri="{FF2B5EF4-FFF2-40B4-BE49-F238E27FC236}">
                <a16:creationId xmlns:a16="http://schemas.microsoft.com/office/drawing/2014/main" id="{E19C608B-3458-41EF-B5FF-87D2BD7923B7}"/>
              </a:ext>
            </a:extLst>
          </p:cNvPr>
          <p:cNvGrpSpPr/>
          <p:nvPr/>
        </p:nvGrpSpPr>
        <p:grpSpPr>
          <a:xfrm>
            <a:off x="9312127" y="3351588"/>
            <a:ext cx="1922203" cy="2849525"/>
            <a:chOff x="9498855" y="3262717"/>
            <a:chExt cx="1960748" cy="2906664"/>
          </a:xfrm>
        </p:grpSpPr>
        <p:pic>
          <p:nvPicPr>
            <p:cNvPr id="264" name="Picture 263">
              <a:extLst>
                <a:ext uri="{FF2B5EF4-FFF2-40B4-BE49-F238E27FC236}">
                  <a16:creationId xmlns:a16="http://schemas.microsoft.com/office/drawing/2014/main" id="{AA64460E-B103-4AEC-A7F9-8B4DBA783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6129" y="3348433"/>
              <a:ext cx="372146" cy="372144"/>
            </a:xfrm>
            <a:prstGeom prst="rect">
              <a:avLst/>
            </a:prstGeom>
            <a:noFill/>
          </p:spPr>
        </p:pic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8B816640-BA72-4076-89EC-5AD214EFE876}"/>
                </a:ext>
              </a:extLst>
            </p:cNvPr>
            <p:cNvSpPr/>
            <p:nvPr/>
          </p:nvSpPr>
          <p:spPr>
            <a:xfrm>
              <a:off x="10191395" y="3262717"/>
              <a:ext cx="1238984" cy="53371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246">
                <a:defRPr/>
              </a:pPr>
              <a:r>
                <a:rPr lang="en-US" sz="140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/>
                </a:rPr>
                <a:t>Data Storage</a:t>
              </a:r>
            </a:p>
            <a:p>
              <a:pPr defTabSz="914246">
                <a:defRPr/>
              </a:pPr>
              <a:r>
                <a:rPr lang="en-US" sz="140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/>
                </a:rPr>
                <a:t>Aggregation</a:t>
              </a: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7C7B84CB-6F31-4AD8-9F53-9DADC9ECB2D7}"/>
                </a:ext>
              </a:extLst>
            </p:cNvPr>
            <p:cNvSpPr/>
            <p:nvPr/>
          </p:nvSpPr>
          <p:spPr>
            <a:xfrm>
              <a:off x="10191395" y="4208330"/>
              <a:ext cx="952833" cy="3139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246">
                <a:defRPr/>
              </a:pPr>
              <a:r>
                <a:rPr lang="en-US" sz="140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/>
                </a:rPr>
                <a:t>Azure ML</a:t>
              </a:r>
            </a:p>
          </p:txBody>
        </p:sp>
        <p:pic>
          <p:nvPicPr>
            <p:cNvPr id="267" name="Picture 266">
              <a:extLst>
                <a:ext uri="{FF2B5EF4-FFF2-40B4-BE49-F238E27FC236}">
                  <a16:creationId xmlns:a16="http://schemas.microsoft.com/office/drawing/2014/main" id="{6E761D12-B7A1-4CED-A5F8-B2D099649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9612" y="4198686"/>
              <a:ext cx="365177" cy="365177"/>
            </a:xfrm>
            <a:prstGeom prst="rect">
              <a:avLst/>
            </a:prstGeom>
            <a:noFill/>
          </p:spPr>
        </p:pic>
        <p:pic>
          <p:nvPicPr>
            <p:cNvPr id="268" name="Picture 267">
              <a:extLst>
                <a:ext uri="{FF2B5EF4-FFF2-40B4-BE49-F238E27FC236}">
                  <a16:creationId xmlns:a16="http://schemas.microsoft.com/office/drawing/2014/main" id="{09F953F5-744B-4BB3-8EF2-2306BF7D9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6128" y="4970645"/>
              <a:ext cx="372146" cy="372146"/>
            </a:xfrm>
            <a:prstGeom prst="rect">
              <a:avLst/>
            </a:prstGeom>
            <a:noFill/>
          </p:spPr>
        </p:pic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09824DD2-A794-43FA-84F8-DBA552194C74}"/>
                </a:ext>
              </a:extLst>
            </p:cNvPr>
            <p:cNvSpPr/>
            <p:nvPr/>
          </p:nvSpPr>
          <p:spPr>
            <a:xfrm>
              <a:off x="10191395" y="4938866"/>
              <a:ext cx="834253" cy="3139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246">
                <a:defRPr/>
              </a:pPr>
              <a:r>
                <a:rPr lang="en-US" sz="140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/>
                </a:rPr>
                <a:t>IoT Hub</a:t>
              </a:r>
            </a:p>
          </p:txBody>
        </p:sp>
        <p:pic>
          <p:nvPicPr>
            <p:cNvPr id="270" name="Picture 269">
              <a:extLst>
                <a:ext uri="{FF2B5EF4-FFF2-40B4-BE49-F238E27FC236}">
                  <a16:creationId xmlns:a16="http://schemas.microsoft.com/office/drawing/2014/main" id="{5AA17AC3-BC81-44CC-8FAB-13913E4DD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98855" y="5777444"/>
              <a:ext cx="466692" cy="307705"/>
            </a:xfrm>
            <a:prstGeom prst="rect">
              <a:avLst/>
            </a:prstGeom>
          </p:spPr>
        </p:pic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691ACFF1-8493-48BF-99CF-4F7DA58DE7FA}"/>
                </a:ext>
              </a:extLst>
            </p:cNvPr>
            <p:cNvSpPr/>
            <p:nvPr/>
          </p:nvSpPr>
          <p:spPr>
            <a:xfrm>
              <a:off x="10191395" y="5635669"/>
              <a:ext cx="1268208" cy="53371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246">
                <a:defRPr/>
              </a:pPr>
              <a:r>
                <a:rPr lang="en-US" sz="140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/>
                </a:rPr>
                <a:t>Intel Xeon Processors </a:t>
              </a:r>
            </a:p>
          </p:txBody>
        </p:sp>
      </p:grpSp>
      <p:sp>
        <p:nvSpPr>
          <p:cNvPr id="272" name="Rectangle 271">
            <a:extLst>
              <a:ext uri="{FF2B5EF4-FFF2-40B4-BE49-F238E27FC236}">
                <a16:creationId xmlns:a16="http://schemas.microsoft.com/office/drawing/2014/main" id="{FC06B508-6B69-42ED-BB6F-7BCC34A57B5A}"/>
              </a:ext>
            </a:extLst>
          </p:cNvPr>
          <p:cNvSpPr/>
          <p:nvPr/>
        </p:nvSpPr>
        <p:spPr>
          <a:xfrm>
            <a:off x="629194" y="1675677"/>
            <a:ext cx="3073497" cy="362072"/>
          </a:xfrm>
          <a:prstGeom prst="rect">
            <a:avLst/>
          </a:prstGeom>
          <a:noFill/>
          <a:ln w="6350">
            <a:noFill/>
          </a:ln>
        </p:spPr>
        <p:txBody>
          <a:bodyPr wrap="none" rtlCol="0" anchor="ctr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GE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89D4550D-F93F-46B4-B438-26D1E60ECD6D}"/>
              </a:ext>
            </a:extLst>
          </p:cNvPr>
          <p:cNvSpPr/>
          <p:nvPr/>
        </p:nvSpPr>
        <p:spPr>
          <a:xfrm>
            <a:off x="4777338" y="1675677"/>
            <a:ext cx="3261920" cy="362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 EDGE</a:t>
            </a:r>
          </a:p>
        </p:txBody>
      </p:sp>
      <p:pic>
        <p:nvPicPr>
          <p:cNvPr id="226" name="Picture 225">
            <a:extLst>
              <a:ext uri="{FF2B5EF4-FFF2-40B4-BE49-F238E27FC236}">
                <a16:creationId xmlns:a16="http://schemas.microsoft.com/office/drawing/2014/main" id="{2EC2A6BD-6CBC-4F8C-A5D4-35C077DA83C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3488" y="5059300"/>
            <a:ext cx="2624908" cy="137007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790D0C8-9B83-4219-921C-1DC64BBDC316}"/>
              </a:ext>
            </a:extLst>
          </p:cNvPr>
          <p:cNvGrpSpPr/>
          <p:nvPr/>
        </p:nvGrpSpPr>
        <p:grpSpPr>
          <a:xfrm>
            <a:off x="870081" y="2193591"/>
            <a:ext cx="2591723" cy="2746271"/>
            <a:chOff x="434223" y="2193590"/>
            <a:chExt cx="2634058" cy="279113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26701F0-ABD1-4D4E-80D6-473FF938F3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" r="76323" b="9073"/>
            <a:stretch/>
          </p:blipFill>
          <p:spPr>
            <a:xfrm>
              <a:off x="434223" y="2193590"/>
              <a:ext cx="1257158" cy="27911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</p:pic>
        <p:pic>
          <p:nvPicPr>
            <p:cNvPr id="2044" name="Picture 2043">
              <a:extLst>
                <a:ext uri="{FF2B5EF4-FFF2-40B4-BE49-F238E27FC236}">
                  <a16:creationId xmlns:a16="http://schemas.microsoft.com/office/drawing/2014/main" id="{E67D0A24-2EE0-467B-B553-CD3BBE05A3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41124" r="35200" b="9073"/>
            <a:stretch/>
          </p:blipFill>
          <p:spPr>
            <a:xfrm>
              <a:off x="1811123" y="2193590"/>
              <a:ext cx="1257158" cy="27911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</p:pic>
      </p:grpSp>
      <p:sp>
        <p:nvSpPr>
          <p:cNvPr id="2046" name="Text Placeholder 4">
            <a:extLst>
              <a:ext uri="{FF2B5EF4-FFF2-40B4-BE49-F238E27FC236}">
                <a16:creationId xmlns:a16="http://schemas.microsoft.com/office/drawing/2014/main" id="{4FCAF137-22EA-49E3-85AA-8472AFCF475A}"/>
              </a:ext>
            </a:extLst>
          </p:cNvPr>
          <p:cNvSpPr txBox="1">
            <a:spLocks/>
          </p:cNvSpPr>
          <p:nvPr/>
        </p:nvSpPr>
        <p:spPr>
          <a:xfrm>
            <a:off x="418645" y="1175675"/>
            <a:ext cx="11354708" cy="2564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0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tx1"/>
                </a:solidFill>
              </a:rPr>
              <a:t>Capability showcase | </a:t>
            </a:r>
            <a:r>
              <a:rPr lang="en-US" sz="2000">
                <a:solidFill>
                  <a:schemeClr val="tx2"/>
                </a:solidFill>
              </a:rPr>
              <a:t>shopper insights</a:t>
            </a:r>
          </a:p>
        </p:txBody>
      </p:sp>
      <p:grpSp>
        <p:nvGrpSpPr>
          <p:cNvPr id="2047" name="Group 2046">
            <a:extLst>
              <a:ext uri="{FF2B5EF4-FFF2-40B4-BE49-F238E27FC236}">
                <a16:creationId xmlns:a16="http://schemas.microsoft.com/office/drawing/2014/main" id="{2F876CE8-C5B8-4E04-882E-AF84B21E48BE}"/>
              </a:ext>
            </a:extLst>
          </p:cNvPr>
          <p:cNvGrpSpPr/>
          <p:nvPr/>
        </p:nvGrpSpPr>
        <p:grpSpPr>
          <a:xfrm>
            <a:off x="8561887" y="1675677"/>
            <a:ext cx="3478706" cy="4525436"/>
            <a:chOff x="8561887" y="1675677"/>
            <a:chExt cx="3478706" cy="4525436"/>
          </a:xfrm>
        </p:grpSpPr>
        <p:sp>
          <p:nvSpPr>
            <p:cNvPr id="2048" name="Rectangle 2047">
              <a:extLst>
                <a:ext uri="{FF2B5EF4-FFF2-40B4-BE49-F238E27FC236}">
                  <a16:creationId xmlns:a16="http://schemas.microsoft.com/office/drawing/2014/main" id="{F570943B-240F-4745-84E9-758E7F86D483}"/>
                </a:ext>
              </a:extLst>
            </p:cNvPr>
            <p:cNvSpPr/>
            <p:nvPr/>
          </p:nvSpPr>
          <p:spPr>
            <a:xfrm>
              <a:off x="8561887" y="1675677"/>
              <a:ext cx="3478706" cy="362072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none" rtlCol="0" anchor="ctr">
              <a:spAutoFit/>
            </a:bodyPr>
            <a:lstStyle/>
            <a:p>
              <a:pPr algn="ctr" defTabSz="914246">
                <a:defRPr/>
              </a:pPr>
              <a:r>
                <a:rPr lang="en-US" sz="1765" b="1">
                  <a:solidFill>
                    <a:srgbClr val="0078D7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OUD</a:t>
              </a:r>
            </a:p>
          </p:txBody>
        </p:sp>
        <p:pic>
          <p:nvPicPr>
            <p:cNvPr id="2049" name="Picture 2048">
              <a:extLst>
                <a:ext uri="{FF2B5EF4-FFF2-40B4-BE49-F238E27FC236}">
                  <a16:creationId xmlns:a16="http://schemas.microsoft.com/office/drawing/2014/main" id="{7DE55B99-E845-4858-99F1-EE9CA51A9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0863" y="2248210"/>
              <a:ext cx="2699609" cy="892917"/>
            </a:xfrm>
            <a:prstGeom prst="rect">
              <a:avLst/>
            </a:prstGeom>
          </p:spPr>
        </p:pic>
        <p:grpSp>
          <p:nvGrpSpPr>
            <p:cNvPr id="2050" name="Group 2049">
              <a:extLst>
                <a:ext uri="{FF2B5EF4-FFF2-40B4-BE49-F238E27FC236}">
                  <a16:creationId xmlns:a16="http://schemas.microsoft.com/office/drawing/2014/main" id="{F755AA9C-3403-4D78-86DD-7FED4411A245}"/>
                </a:ext>
              </a:extLst>
            </p:cNvPr>
            <p:cNvGrpSpPr/>
            <p:nvPr/>
          </p:nvGrpSpPr>
          <p:grpSpPr>
            <a:xfrm>
              <a:off x="9312127" y="3351588"/>
              <a:ext cx="1922203" cy="2849525"/>
              <a:chOff x="9498855" y="3262717"/>
              <a:chExt cx="1960748" cy="2906664"/>
            </a:xfrm>
          </p:grpSpPr>
          <p:pic>
            <p:nvPicPr>
              <p:cNvPr id="2051" name="Picture 2050">
                <a:extLst>
                  <a:ext uri="{FF2B5EF4-FFF2-40B4-BE49-F238E27FC236}">
                    <a16:creationId xmlns:a16="http://schemas.microsoft.com/office/drawing/2014/main" id="{36ACEC7D-C5CD-4AE6-915A-E8AF7B8A65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9" y="3348433"/>
                <a:ext cx="372146" cy="372144"/>
              </a:xfrm>
              <a:prstGeom prst="rect">
                <a:avLst/>
              </a:prstGeom>
              <a:noFill/>
            </p:spPr>
          </p:pic>
          <p:sp>
            <p:nvSpPr>
              <p:cNvPr id="2052" name="Rectangle 2051">
                <a:extLst>
                  <a:ext uri="{FF2B5EF4-FFF2-40B4-BE49-F238E27FC236}">
                    <a16:creationId xmlns:a16="http://schemas.microsoft.com/office/drawing/2014/main" id="{ADBA4218-3BAD-4DF5-A697-738ADBDAFD02}"/>
                  </a:ext>
                </a:extLst>
              </p:cNvPr>
              <p:cNvSpPr/>
              <p:nvPr/>
            </p:nvSpPr>
            <p:spPr>
              <a:xfrm>
                <a:off x="10191395" y="3262717"/>
                <a:ext cx="1238984" cy="53371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Data Storage</a:t>
                </a:r>
              </a:p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ggregation</a:t>
                </a:r>
              </a:p>
            </p:txBody>
          </p:sp>
          <p:sp>
            <p:nvSpPr>
              <p:cNvPr id="2053" name="Rectangle 2052">
                <a:extLst>
                  <a:ext uri="{FF2B5EF4-FFF2-40B4-BE49-F238E27FC236}">
                    <a16:creationId xmlns:a16="http://schemas.microsoft.com/office/drawing/2014/main" id="{2EC011EE-DCC7-47B3-9CBF-D0461AA19F67}"/>
                  </a:ext>
                </a:extLst>
              </p:cNvPr>
              <p:cNvSpPr/>
              <p:nvPr/>
            </p:nvSpPr>
            <p:spPr>
              <a:xfrm>
                <a:off x="10191395" y="4208330"/>
                <a:ext cx="95283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zure ML</a:t>
                </a:r>
              </a:p>
            </p:txBody>
          </p:sp>
          <p:pic>
            <p:nvPicPr>
              <p:cNvPr id="2054" name="Picture 2053">
                <a:extLst>
                  <a:ext uri="{FF2B5EF4-FFF2-40B4-BE49-F238E27FC236}">
                    <a16:creationId xmlns:a16="http://schemas.microsoft.com/office/drawing/2014/main" id="{9693B71F-6F05-4932-ACA3-15F04530DB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9612" y="4198686"/>
                <a:ext cx="365177" cy="365177"/>
              </a:xfrm>
              <a:prstGeom prst="rect">
                <a:avLst/>
              </a:prstGeom>
              <a:noFill/>
            </p:spPr>
          </p:pic>
          <p:pic>
            <p:nvPicPr>
              <p:cNvPr id="2055" name="Picture 2054">
                <a:extLst>
                  <a:ext uri="{FF2B5EF4-FFF2-40B4-BE49-F238E27FC236}">
                    <a16:creationId xmlns:a16="http://schemas.microsoft.com/office/drawing/2014/main" id="{74076501-6463-473E-BD81-C354B599A3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8" y="4970645"/>
                <a:ext cx="372146" cy="372146"/>
              </a:xfrm>
              <a:prstGeom prst="rect">
                <a:avLst/>
              </a:prstGeom>
              <a:noFill/>
            </p:spPr>
          </p:pic>
          <p:sp>
            <p:nvSpPr>
              <p:cNvPr id="2056" name="Rectangle 2055">
                <a:extLst>
                  <a:ext uri="{FF2B5EF4-FFF2-40B4-BE49-F238E27FC236}">
                    <a16:creationId xmlns:a16="http://schemas.microsoft.com/office/drawing/2014/main" id="{A99F024A-D7E7-4833-A109-62EBAB4AEB7B}"/>
                  </a:ext>
                </a:extLst>
              </p:cNvPr>
              <p:cNvSpPr/>
              <p:nvPr/>
            </p:nvSpPr>
            <p:spPr>
              <a:xfrm>
                <a:off x="10191395" y="4938866"/>
                <a:ext cx="83425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oT Hub</a:t>
                </a:r>
              </a:p>
            </p:txBody>
          </p:sp>
          <p:pic>
            <p:nvPicPr>
              <p:cNvPr id="2057" name="Picture 2056">
                <a:extLst>
                  <a:ext uri="{FF2B5EF4-FFF2-40B4-BE49-F238E27FC236}">
                    <a16:creationId xmlns:a16="http://schemas.microsoft.com/office/drawing/2014/main" id="{071B3F68-1A01-4F13-8D22-16617D6C97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98855" y="5777444"/>
                <a:ext cx="466692" cy="307705"/>
              </a:xfrm>
              <a:prstGeom prst="rect">
                <a:avLst/>
              </a:prstGeom>
            </p:spPr>
          </p:pic>
          <p:sp>
            <p:nvSpPr>
              <p:cNvPr id="2058" name="Rectangle 2057">
                <a:extLst>
                  <a:ext uri="{FF2B5EF4-FFF2-40B4-BE49-F238E27FC236}">
                    <a16:creationId xmlns:a16="http://schemas.microsoft.com/office/drawing/2014/main" id="{DA1DCE2E-2A9F-4660-B06A-198D310E4CD4}"/>
                  </a:ext>
                </a:extLst>
              </p:cNvPr>
              <p:cNvSpPr/>
              <p:nvPr/>
            </p:nvSpPr>
            <p:spPr>
              <a:xfrm>
                <a:off x="10191395" y="5635669"/>
                <a:ext cx="1268208" cy="53371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ntel Xeon Processors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5154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1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 tmFilter="0, 0; .2, .5; .8, .5; 1, 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" dur="250" autoRev="1" fill="hold"/>
                                        <p:tgtEl>
                                          <p:spTgt spid="1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/>
      <p:bldP spid="174" grpId="0"/>
      <p:bldP spid="4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MST19_Retail_001">
            <a:extLst>
              <a:ext uri="{FF2B5EF4-FFF2-40B4-BE49-F238E27FC236}">
                <a16:creationId xmlns:a16="http://schemas.microsoft.com/office/drawing/2014/main" id="{C3643563-8430-4BE0-B8AD-DDE5984718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34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256CBA-25A4-462A-BB39-E5920AE833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4" y="539489"/>
            <a:ext cx="4482123" cy="618621"/>
          </a:xfrm>
        </p:spPr>
        <p:txBody>
          <a:bodyPr/>
          <a:lstStyle/>
          <a:p>
            <a:r>
              <a:rPr lang="en-US"/>
              <a:t>Imagine if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178F24-AFA2-4E98-98C2-65DAB2FD53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8643" y="1600200"/>
            <a:ext cx="4482124" cy="4278094"/>
          </a:xfrm>
        </p:spPr>
        <p:txBody>
          <a:bodyPr/>
          <a:lstStyle/>
          <a:p>
            <a:pPr marL="0" indent="0">
              <a:buNone/>
            </a:pPr>
            <a:r>
              <a:rPr lang="en-US" sz="1800"/>
              <a:t>You could </a:t>
            </a:r>
            <a:r>
              <a:rPr lang="en-US" sz="1800">
                <a:solidFill>
                  <a:schemeClr val="tx2"/>
                </a:solidFill>
                <a:latin typeface="+mj-lt"/>
              </a:rPr>
              <a:t>predict every purchase </a:t>
            </a:r>
            <a:r>
              <a:rPr lang="en-US" sz="1800"/>
              <a:t>your customer will make in the next six months.</a:t>
            </a:r>
          </a:p>
          <a:p>
            <a:pPr marL="0" indent="0">
              <a:buNone/>
            </a:pPr>
            <a:r>
              <a:rPr lang="en-US" sz="1800">
                <a:solidFill>
                  <a:schemeClr val="tx2"/>
                </a:solidFill>
                <a:latin typeface="+mj-lt"/>
              </a:rPr>
              <a:t>Empowering store employees with data </a:t>
            </a:r>
            <a:r>
              <a:rPr lang="en-US" sz="1800"/>
              <a:t>to instantly recognize a customer and hand them products before they even know they want them. </a:t>
            </a:r>
          </a:p>
          <a:p>
            <a:pPr marL="0" indent="0">
              <a:buNone/>
            </a:pPr>
            <a:r>
              <a:rPr lang="en-US" sz="1800">
                <a:solidFill>
                  <a:schemeClr val="tx2"/>
                </a:solidFill>
                <a:latin typeface="+mj-lt"/>
              </a:rPr>
              <a:t>Delighting customers with lightning-fast fulfillment </a:t>
            </a:r>
            <a:r>
              <a:rPr lang="en-US" sz="1800"/>
              <a:t>and real-time flexible delivery enabled by an efficient supply chain. </a:t>
            </a:r>
          </a:p>
          <a:p>
            <a:pPr marL="0" indent="0">
              <a:buNone/>
            </a:pPr>
            <a:r>
              <a:rPr lang="en-US" sz="1800">
                <a:solidFill>
                  <a:schemeClr val="tx2"/>
                </a:solidFill>
                <a:latin typeface="+mj-lt"/>
              </a:rPr>
              <a:t>New retail store models that enable real-time personalized </a:t>
            </a:r>
            <a:r>
              <a:rPr lang="en-US" sz="1800"/>
              <a:t>recommendations, click and collect, and in-store digital assistants. 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A7E0E361-BDAC-4AC2-B956-646933B4C102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5995" y="6450768"/>
            <a:ext cx="4482124" cy="10560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2"/>
                </a:solidFill>
                <a:cs typeface="Segoe UI" pitchFamily="34" charset="0"/>
              </a:rPr>
              <a:t>© Copyright Intel and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46336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A7C37E50-1DB7-4BC7-A110-3DD09F860431}"/>
              </a:ext>
            </a:extLst>
          </p:cNvPr>
          <p:cNvCxnSpPr/>
          <p:nvPr/>
        </p:nvCxnSpPr>
        <p:spPr>
          <a:xfrm>
            <a:off x="4371227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125594BA-D3BC-4626-9A1E-AEF30820E01F}"/>
              </a:ext>
            </a:extLst>
          </p:cNvPr>
          <p:cNvCxnSpPr/>
          <p:nvPr/>
        </p:nvCxnSpPr>
        <p:spPr>
          <a:xfrm>
            <a:off x="8409759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lligent edge in action</a:t>
            </a: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DBF731E0-B10E-4AB2-9C3B-877CEB338580}"/>
              </a:ext>
            </a:extLst>
          </p:cNvPr>
          <p:cNvCxnSpPr>
            <a:cxnSpLocks/>
          </p:cNvCxnSpPr>
          <p:nvPr/>
        </p:nvCxnSpPr>
        <p:spPr>
          <a:xfrm>
            <a:off x="3448039" y="2745027"/>
            <a:ext cx="1250386" cy="780226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8C7E354B-BA51-4545-9925-B3A05A9378E9}"/>
              </a:ext>
            </a:extLst>
          </p:cNvPr>
          <p:cNvCxnSpPr>
            <a:cxnSpLocks/>
          </p:cNvCxnSpPr>
          <p:nvPr/>
        </p:nvCxnSpPr>
        <p:spPr>
          <a:xfrm rot="10800000">
            <a:off x="3204559" y="5482896"/>
            <a:ext cx="1493866" cy="365735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FA8AD8-F404-4B52-A5E9-55548D12EA9E}"/>
              </a:ext>
            </a:extLst>
          </p:cNvPr>
          <p:cNvSpPr/>
          <p:nvPr/>
        </p:nvSpPr>
        <p:spPr>
          <a:xfrm>
            <a:off x="5232961" y="4529123"/>
            <a:ext cx="2232194" cy="1198944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46"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 Hub</a:t>
            </a:r>
          </a:p>
        </p:txBody>
      </p:sp>
      <p:pic>
        <p:nvPicPr>
          <p:cNvPr id="43" name="Picture 42" descr="A screen shot of a computer&#10;&#10;Description automatically generated">
            <a:extLst>
              <a:ext uri="{FF2B5EF4-FFF2-40B4-BE49-F238E27FC236}">
                <a16:creationId xmlns:a16="http://schemas.microsoft.com/office/drawing/2014/main" id="{06224FFD-3516-411A-A6D0-53E78FC33D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10276" y="4764879"/>
            <a:ext cx="2077563" cy="84239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58EF490E-4299-4C29-B52A-2F0E6994D0E5}"/>
              </a:ext>
            </a:extLst>
          </p:cNvPr>
          <p:cNvSpPr/>
          <p:nvPr/>
        </p:nvSpPr>
        <p:spPr>
          <a:xfrm>
            <a:off x="4727751" y="5785550"/>
            <a:ext cx="32426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Data is kept on-premises </a:t>
            </a:r>
            <a:b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</a:b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at a Regional Locations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Powered by Intel Xeon Processor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2F02C67-9709-459B-9B41-A86000AB5594}"/>
              </a:ext>
            </a:extLst>
          </p:cNvPr>
          <p:cNvSpPr/>
          <p:nvPr/>
        </p:nvSpPr>
        <p:spPr>
          <a:xfrm>
            <a:off x="4984304" y="2183970"/>
            <a:ext cx="2847991" cy="2814542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46">
              <a:defRPr/>
            </a:pPr>
            <a:endParaRPr lang="en-US" sz="2353" b="1">
              <a:solidFill>
                <a:srgbClr val="0078D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D9E51888-5522-4F24-A7AB-184F7EA21F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2885" y="3318142"/>
            <a:ext cx="610826" cy="36079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18A49A06-1F9E-4257-90B0-093D418EA230}"/>
              </a:ext>
            </a:extLst>
          </p:cNvPr>
          <p:cNvSpPr/>
          <p:nvPr/>
        </p:nvSpPr>
        <p:spPr>
          <a:xfrm>
            <a:off x="5940574" y="3822588"/>
            <a:ext cx="935449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Cognitiv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Servi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DD02540-6E0A-4EB3-AB88-BC9EE33701EA}"/>
              </a:ext>
            </a:extLst>
          </p:cNvPr>
          <p:cNvSpPr/>
          <p:nvPr/>
        </p:nvSpPr>
        <p:spPr>
          <a:xfrm>
            <a:off x="4807272" y="3822588"/>
            <a:ext cx="88037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oT Edg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Runtim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40E46B93-624D-4FC3-B9B7-94F24DD537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997" y="3318173"/>
            <a:ext cx="404921" cy="404921"/>
          </a:xfrm>
          <a:prstGeom prst="rect">
            <a:avLst/>
          </a:prstGeom>
          <a:noFill/>
        </p:spPr>
      </p:pic>
      <p:pic>
        <p:nvPicPr>
          <p:cNvPr id="40" name="Picture 39" descr="Data Box Edge">
            <a:extLst>
              <a:ext uri="{FF2B5EF4-FFF2-40B4-BE49-F238E27FC236}">
                <a16:creationId xmlns:a16="http://schemas.microsoft.com/office/drawing/2014/main" id="{C06EFF31-0F9D-4DA0-8383-D53FC881B9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1657" y="2283160"/>
            <a:ext cx="1433282" cy="80622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2B492B5-D563-46DD-9494-40382E7C905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018" y="3338056"/>
            <a:ext cx="546829" cy="360542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5158B8AD-4FBF-4207-BD4E-0A38A5CB1A1E}"/>
              </a:ext>
            </a:extLst>
          </p:cNvPr>
          <p:cNvSpPr/>
          <p:nvPr/>
        </p:nvSpPr>
        <p:spPr>
          <a:xfrm>
            <a:off x="6933777" y="3822588"/>
            <a:ext cx="13740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ntel Technologies 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1A0F8DA-DC6A-407B-9C17-FF245D4841A9}"/>
              </a:ext>
            </a:extLst>
          </p:cNvPr>
          <p:cNvSpPr/>
          <p:nvPr/>
        </p:nvSpPr>
        <p:spPr>
          <a:xfrm>
            <a:off x="913593" y="5208357"/>
            <a:ext cx="25046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46"/>
            <a:r>
              <a:rPr lang="en-US" sz="1600">
                <a:latin typeface="+mj-lt"/>
              </a:rPr>
              <a:t>Welcome back, Jeri</a:t>
            </a:r>
          </a:p>
          <a:p>
            <a:pPr algn="ctr" defTabSz="914246"/>
            <a:r>
              <a:rPr lang="en-US" sz="1600">
                <a:latin typeface="+mj-lt"/>
              </a:rPr>
              <a:t>You look happy.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F23C7FC-F79F-4075-A8CE-F902A1BF1C8D}"/>
              </a:ext>
            </a:extLst>
          </p:cNvPr>
          <p:cNvSpPr/>
          <p:nvPr/>
        </p:nvSpPr>
        <p:spPr>
          <a:xfrm>
            <a:off x="475519" y="1675677"/>
            <a:ext cx="3380847" cy="362072"/>
          </a:xfrm>
          <a:prstGeom prst="rect">
            <a:avLst/>
          </a:prstGeom>
          <a:noFill/>
          <a:ln w="6350">
            <a:noFill/>
          </a:ln>
        </p:spPr>
        <p:txBody>
          <a:bodyPr wrap="none" rtlCol="0" anchor="ctr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G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44101A3-F1AA-4F5B-A3D9-47041839BE5F}"/>
              </a:ext>
            </a:extLst>
          </p:cNvPr>
          <p:cNvSpPr/>
          <p:nvPr/>
        </p:nvSpPr>
        <p:spPr>
          <a:xfrm>
            <a:off x="4777338" y="1675677"/>
            <a:ext cx="3261920" cy="362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 EDG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FF15D61-B753-480C-8CF3-C303AFF6EF27}"/>
              </a:ext>
            </a:extLst>
          </p:cNvPr>
          <p:cNvGrpSpPr/>
          <p:nvPr/>
        </p:nvGrpSpPr>
        <p:grpSpPr>
          <a:xfrm>
            <a:off x="8561887" y="1675677"/>
            <a:ext cx="3478706" cy="4525436"/>
            <a:chOff x="8561887" y="1675677"/>
            <a:chExt cx="3478706" cy="452543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C7BA39C-965A-41F0-A61B-50509F8AE8D2}"/>
                </a:ext>
              </a:extLst>
            </p:cNvPr>
            <p:cNvSpPr/>
            <p:nvPr/>
          </p:nvSpPr>
          <p:spPr>
            <a:xfrm>
              <a:off x="8561887" y="1675677"/>
              <a:ext cx="3478706" cy="362072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none" rtlCol="0" anchor="ctr">
              <a:spAutoFit/>
            </a:bodyPr>
            <a:lstStyle/>
            <a:p>
              <a:pPr algn="ctr" defTabSz="914246">
                <a:defRPr/>
              </a:pPr>
              <a:r>
                <a:rPr lang="en-US" sz="1765" b="1">
                  <a:solidFill>
                    <a:srgbClr val="0078D7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OUD</a:t>
              </a: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EBDC6CE0-08B2-4C22-A454-395462AB7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0863" y="2248210"/>
              <a:ext cx="2699609" cy="892917"/>
            </a:xfrm>
            <a:prstGeom prst="rect">
              <a:avLst/>
            </a:prstGeom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3CB43B9-7EB7-4777-B9C4-F59FA69DFC82}"/>
                </a:ext>
              </a:extLst>
            </p:cNvPr>
            <p:cNvGrpSpPr/>
            <p:nvPr/>
          </p:nvGrpSpPr>
          <p:grpSpPr>
            <a:xfrm>
              <a:off x="9312127" y="3351588"/>
              <a:ext cx="1922203" cy="2849525"/>
              <a:chOff x="9498855" y="3262717"/>
              <a:chExt cx="1960748" cy="2906664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C15A68DC-0268-41FA-AB55-DB32BA7D9B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9" y="3348433"/>
                <a:ext cx="372146" cy="372144"/>
              </a:xfrm>
              <a:prstGeom prst="rect">
                <a:avLst/>
              </a:prstGeom>
              <a:noFill/>
            </p:spPr>
          </p:pic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214B0A7-1882-47D6-AAB0-1A22A4D5CA19}"/>
                  </a:ext>
                </a:extLst>
              </p:cNvPr>
              <p:cNvSpPr/>
              <p:nvPr/>
            </p:nvSpPr>
            <p:spPr>
              <a:xfrm>
                <a:off x="10191395" y="3262717"/>
                <a:ext cx="1238984" cy="53371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Data Storage</a:t>
                </a:r>
              </a:p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ggregation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282C290C-A9B8-4A53-BC99-6B5B3A28F139}"/>
                  </a:ext>
                </a:extLst>
              </p:cNvPr>
              <p:cNvSpPr/>
              <p:nvPr/>
            </p:nvSpPr>
            <p:spPr>
              <a:xfrm>
                <a:off x="10191395" y="4208330"/>
                <a:ext cx="95283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zure ML</a:t>
                </a:r>
              </a:p>
            </p:txBody>
          </p:sp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6DF408C0-9555-4044-AE2D-F7201C2739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9612" y="4198686"/>
                <a:ext cx="365177" cy="365177"/>
              </a:xfrm>
              <a:prstGeom prst="rect">
                <a:avLst/>
              </a:prstGeom>
              <a:noFill/>
            </p:spPr>
          </p:pic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4B5B4CDD-533B-43C9-8213-4E590F1467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8" y="4970645"/>
                <a:ext cx="372146" cy="372146"/>
              </a:xfrm>
              <a:prstGeom prst="rect">
                <a:avLst/>
              </a:prstGeom>
              <a:noFill/>
            </p:spPr>
          </p:pic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81347B91-619B-4311-BCE0-17578AB991F4}"/>
                  </a:ext>
                </a:extLst>
              </p:cNvPr>
              <p:cNvSpPr/>
              <p:nvPr/>
            </p:nvSpPr>
            <p:spPr>
              <a:xfrm>
                <a:off x="10191395" y="4938866"/>
                <a:ext cx="83425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oT Hub</a:t>
                </a:r>
              </a:p>
            </p:txBody>
          </p:sp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F11AE1E4-CA5D-43B4-9F23-AA92505B17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98855" y="5777444"/>
                <a:ext cx="466692" cy="307705"/>
              </a:xfrm>
              <a:prstGeom prst="rect">
                <a:avLst/>
              </a:prstGeom>
            </p:spPr>
          </p:pic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A68F44E3-BF22-41D2-B9D9-6C5A74504AB3}"/>
                  </a:ext>
                </a:extLst>
              </p:cNvPr>
              <p:cNvSpPr/>
              <p:nvPr/>
            </p:nvSpPr>
            <p:spPr>
              <a:xfrm>
                <a:off x="10191395" y="5635669"/>
                <a:ext cx="1268208" cy="53371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ntel Xeon Processors </a:t>
                </a:r>
              </a:p>
            </p:txBody>
          </p:sp>
        </p:grp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26301953-E83C-4A06-877E-AF1C4880E16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4654" r="21687" b="11497"/>
          <a:stretch/>
        </p:blipFill>
        <p:spPr>
          <a:xfrm>
            <a:off x="883845" y="2215570"/>
            <a:ext cx="2564194" cy="2923918"/>
          </a:xfrm>
          <a:prstGeom prst="rect">
            <a:avLst/>
          </a:prstGeom>
        </p:spPr>
      </p:pic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38E61A69-814E-442F-8FAB-C1F97F713A68}"/>
              </a:ext>
            </a:extLst>
          </p:cNvPr>
          <p:cNvSpPr txBox="1">
            <a:spLocks/>
          </p:cNvSpPr>
          <p:nvPr/>
        </p:nvSpPr>
        <p:spPr>
          <a:xfrm>
            <a:off x="418645" y="1175675"/>
            <a:ext cx="11354708" cy="2564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0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tx1"/>
                </a:solidFill>
              </a:rPr>
              <a:t>Capability showcase | </a:t>
            </a:r>
            <a:r>
              <a:rPr lang="en-US" sz="2000">
                <a:solidFill>
                  <a:schemeClr val="tx2"/>
                </a:solidFill>
              </a:rPr>
              <a:t>smart experiences</a:t>
            </a:r>
          </a:p>
        </p:txBody>
      </p:sp>
    </p:spTree>
    <p:extLst>
      <p:ext uri="{BB962C8B-B14F-4D97-AF65-F5344CB8AC3E}">
        <p14:creationId xmlns:p14="http://schemas.microsoft.com/office/powerpoint/2010/main" val="41108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3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3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4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4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4" grpId="0"/>
      <p:bldP spid="34" grpId="0"/>
      <p:bldP spid="37" grpId="0"/>
      <p:bldP spid="38" grpId="0"/>
      <p:bldP spid="46" grpId="0"/>
      <p:bldP spid="63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" name="Picture 409">
            <a:extLst>
              <a:ext uri="{FF2B5EF4-FFF2-40B4-BE49-F238E27FC236}">
                <a16:creationId xmlns:a16="http://schemas.microsoft.com/office/drawing/2014/main" id="{B3FAF6FB-89B4-4C68-B46F-F8B643D5B2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891" t="21551" r="57168" b="30507"/>
          <a:stretch/>
        </p:blipFill>
        <p:spPr>
          <a:xfrm>
            <a:off x="418644" y="2405878"/>
            <a:ext cx="1722894" cy="2218815"/>
          </a:xfrm>
          <a:prstGeom prst="rect">
            <a:avLst/>
          </a:prstGeom>
        </p:spPr>
      </p:pic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D39340CB-2AD3-49FF-B32F-81317D6EEE28}"/>
              </a:ext>
            </a:extLst>
          </p:cNvPr>
          <p:cNvCxnSpPr/>
          <p:nvPr/>
        </p:nvCxnSpPr>
        <p:spPr>
          <a:xfrm>
            <a:off x="4371227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BC41EFE2-1C4F-4E5F-A2E1-82499DCFB21B}"/>
              </a:ext>
            </a:extLst>
          </p:cNvPr>
          <p:cNvCxnSpPr/>
          <p:nvPr/>
        </p:nvCxnSpPr>
        <p:spPr>
          <a:xfrm>
            <a:off x="8409759" y="1736856"/>
            <a:ext cx="0" cy="4657713"/>
          </a:xfrm>
          <a:prstGeom prst="line">
            <a:avLst/>
          </a:prstGeom>
          <a:ln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lligent edge in actio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0E0510D-FCC3-49CD-9049-C2168D037B2C}"/>
              </a:ext>
            </a:extLst>
          </p:cNvPr>
          <p:cNvSpPr/>
          <p:nvPr/>
        </p:nvSpPr>
        <p:spPr>
          <a:xfrm>
            <a:off x="3434791" y="4847920"/>
            <a:ext cx="9180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Clerk </a:t>
            </a:r>
            <a:b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</a:b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Notifi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96C8B3-CDFF-4976-AEB5-BA12D5FFAE58}"/>
              </a:ext>
            </a:extLst>
          </p:cNvPr>
          <p:cNvGrpSpPr/>
          <p:nvPr/>
        </p:nvGrpSpPr>
        <p:grpSpPr>
          <a:xfrm>
            <a:off x="2505080" y="2405894"/>
            <a:ext cx="368787" cy="575705"/>
            <a:chOff x="1502512" y="2056898"/>
            <a:chExt cx="514891" cy="803782"/>
          </a:xfrm>
        </p:grpSpPr>
        <p:grpSp>
          <p:nvGrpSpPr>
            <p:cNvPr id="92" name="Group 91" descr="migrate, camera">
              <a:extLst>
                <a:ext uri="{FF2B5EF4-FFF2-40B4-BE49-F238E27FC236}">
                  <a16:creationId xmlns:a16="http://schemas.microsoft.com/office/drawing/2014/main" id="{67D126B2-929D-47B4-A5ED-8FDC6FBBCABB}"/>
                </a:ext>
              </a:extLst>
            </p:cNvPr>
            <p:cNvGrpSpPr/>
            <p:nvPr/>
          </p:nvGrpSpPr>
          <p:grpSpPr>
            <a:xfrm>
              <a:off x="1640183" y="2056898"/>
              <a:ext cx="239603" cy="239605"/>
              <a:chOff x="8253072" y="4930084"/>
              <a:chExt cx="328297" cy="328297"/>
            </a:xfrm>
          </p:grpSpPr>
          <p:sp>
            <p:nvSpPr>
              <p:cNvPr id="153" name="Freeform 339">
                <a:extLst>
                  <a:ext uri="{FF2B5EF4-FFF2-40B4-BE49-F238E27FC236}">
                    <a16:creationId xmlns:a16="http://schemas.microsoft.com/office/drawing/2014/main" id="{E4268C72-14C6-4FD0-A2E0-DBE1F236F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072" y="4930084"/>
                <a:ext cx="328240" cy="164747"/>
              </a:xfrm>
              <a:custGeom>
                <a:avLst/>
                <a:gdLst>
                  <a:gd name="T0" fmla="*/ 565 w 565"/>
                  <a:gd name="T1" fmla="*/ 0 h 282"/>
                  <a:gd name="T2" fmla="*/ 282 w 565"/>
                  <a:gd name="T3" fmla="*/ 282 h 282"/>
                  <a:gd name="T4" fmla="*/ 0 w 565"/>
                  <a:gd name="T5" fmla="*/ 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65" h="282">
                    <a:moveTo>
                      <a:pt x="565" y="0"/>
                    </a:moveTo>
                    <a:cubicBezTo>
                      <a:pt x="565" y="156"/>
                      <a:pt x="438" y="282"/>
                      <a:pt x="282" y="282"/>
                    </a:cubicBezTo>
                    <a:cubicBezTo>
                      <a:pt x="126" y="282"/>
                      <a:pt x="0" y="156"/>
                      <a:pt x="0" y="0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54" name="Oval 340">
                <a:extLst>
                  <a:ext uri="{FF2B5EF4-FFF2-40B4-BE49-F238E27FC236}">
                    <a16:creationId xmlns:a16="http://schemas.microsoft.com/office/drawing/2014/main" id="{01A2D9DF-D736-4FA0-8385-F89530374F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53084" y="5189152"/>
                <a:ext cx="69169" cy="6916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55" name="Oval 341">
                <a:extLst>
                  <a:ext uri="{FF2B5EF4-FFF2-40B4-BE49-F238E27FC236}">
                    <a16:creationId xmlns:a16="http://schemas.microsoft.com/office/drawing/2014/main" id="{75719EA6-5C93-4752-B63C-5756BC547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56208" y="5119984"/>
                <a:ext cx="35213" cy="3521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56" name="Oval 342">
                <a:extLst>
                  <a:ext uri="{FF2B5EF4-FFF2-40B4-BE49-F238E27FC236}">
                    <a16:creationId xmlns:a16="http://schemas.microsoft.com/office/drawing/2014/main" id="{F2436AD3-D870-4116-A6EF-911F0A00B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9858" y="4982907"/>
                <a:ext cx="69169" cy="6916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57" name="Oval 343">
                <a:extLst>
                  <a:ext uri="{FF2B5EF4-FFF2-40B4-BE49-F238E27FC236}">
                    <a16:creationId xmlns:a16="http://schemas.microsoft.com/office/drawing/2014/main" id="{6D49E333-9BC1-40F4-B5CA-35E2248ADD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25361" y="5189185"/>
                <a:ext cx="69169" cy="6916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58" name="Oval 344">
                <a:extLst>
                  <a:ext uri="{FF2B5EF4-FFF2-40B4-BE49-F238E27FC236}">
                    <a16:creationId xmlns:a16="http://schemas.microsoft.com/office/drawing/2014/main" id="{DCF6B293-6C79-4E7B-BB1E-A27140C89B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12200" y="5189212"/>
                <a:ext cx="69169" cy="6916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727" fontAlgn="base"/>
                <a:endParaRPr lang="en-US" sz="1634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pic>
          <p:nvPicPr>
            <p:cNvPr id="99" name="sensor" descr="Wireless">
              <a:extLst>
                <a:ext uri="{FF2B5EF4-FFF2-40B4-BE49-F238E27FC236}">
                  <a16:creationId xmlns:a16="http://schemas.microsoft.com/office/drawing/2014/main" id="{00C9F7F2-28CD-4FFA-9280-B9BC905C7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3361168">
              <a:off x="1502512" y="2345789"/>
              <a:ext cx="514891" cy="514891"/>
            </a:xfrm>
            <a:prstGeom prst="rect">
              <a:avLst/>
            </a:prstGeom>
          </p:spPr>
        </p:pic>
      </p:grpSp>
      <p:grpSp>
        <p:nvGrpSpPr>
          <p:cNvPr id="181" name="CLERK - INVENTORY">
            <a:extLst>
              <a:ext uri="{FF2B5EF4-FFF2-40B4-BE49-F238E27FC236}">
                <a16:creationId xmlns:a16="http://schemas.microsoft.com/office/drawing/2014/main" id="{05DE6C7C-02CD-4870-BEBF-458E419A1F50}"/>
              </a:ext>
            </a:extLst>
          </p:cNvPr>
          <p:cNvGrpSpPr/>
          <p:nvPr/>
        </p:nvGrpSpPr>
        <p:grpSpPr>
          <a:xfrm>
            <a:off x="2668946" y="3625108"/>
            <a:ext cx="680660" cy="2189412"/>
            <a:chOff x="7061656" y="2881326"/>
            <a:chExt cx="900471" cy="2896457"/>
          </a:xfrm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35D13CD-AA7C-4D54-B2AE-E8470855EC8D}"/>
                </a:ext>
              </a:extLst>
            </p:cNvPr>
            <p:cNvSpPr/>
            <p:nvPr/>
          </p:nvSpPr>
          <p:spPr>
            <a:xfrm>
              <a:off x="7631934" y="5705977"/>
              <a:ext cx="8559" cy="45898"/>
            </a:xfrm>
            <a:custGeom>
              <a:avLst/>
              <a:gdLst>
                <a:gd name="connsiteX0" fmla="*/ 4138 w 5387"/>
                <a:gd name="connsiteY0" fmla="*/ 28890 h 28889"/>
                <a:gd name="connsiteX1" fmla="*/ 2108 w 5387"/>
                <a:gd name="connsiteY1" fmla="*/ 27406 h 28889"/>
                <a:gd name="connsiteX2" fmla="*/ 0 w 5387"/>
                <a:gd name="connsiteY2" fmla="*/ 6168 h 28889"/>
                <a:gd name="connsiteX3" fmla="*/ 3358 w 5387"/>
                <a:gd name="connsiteY3" fmla="*/ 0 h 28889"/>
                <a:gd name="connsiteX4" fmla="*/ 5388 w 5387"/>
                <a:gd name="connsiteY4" fmla="*/ 3435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7" h="28889">
                  <a:moveTo>
                    <a:pt x="4138" y="28890"/>
                  </a:moveTo>
                  <a:lnTo>
                    <a:pt x="2108" y="27406"/>
                  </a:lnTo>
                  <a:cubicBezTo>
                    <a:pt x="690" y="20418"/>
                    <a:pt x="-15" y="13297"/>
                    <a:pt x="0" y="6168"/>
                  </a:cubicBezTo>
                  <a:cubicBezTo>
                    <a:pt x="0" y="5778"/>
                    <a:pt x="3358" y="0"/>
                    <a:pt x="3358" y="0"/>
                  </a:cubicBezTo>
                  <a:lnTo>
                    <a:pt x="5388" y="3435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736EA20F-BC4B-438D-9E24-E9A360065312}"/>
                </a:ext>
              </a:extLst>
            </p:cNvPr>
            <p:cNvSpPr/>
            <p:nvPr/>
          </p:nvSpPr>
          <p:spPr>
            <a:xfrm>
              <a:off x="7633920" y="5675088"/>
              <a:ext cx="21709" cy="77035"/>
            </a:xfrm>
            <a:custGeom>
              <a:avLst/>
              <a:gdLst>
                <a:gd name="connsiteX0" fmla="*/ 13664 w 13664"/>
                <a:gd name="connsiteY0" fmla="*/ 0 h 48487"/>
                <a:gd name="connsiteX1" fmla="*/ 5856 w 13664"/>
                <a:gd name="connsiteY1" fmla="*/ 46848 h 48487"/>
                <a:gd name="connsiteX2" fmla="*/ 3201 w 13664"/>
                <a:gd name="connsiteY2" fmla="*/ 48488 h 48487"/>
                <a:gd name="connsiteX3" fmla="*/ 2577 w 13664"/>
                <a:gd name="connsiteY3" fmla="*/ 23346 h 48487"/>
                <a:gd name="connsiteX4" fmla="*/ 0 w 13664"/>
                <a:gd name="connsiteY4" fmla="*/ 20067 h 48487"/>
                <a:gd name="connsiteX5" fmla="*/ 2577 w 13664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64" h="48487">
                  <a:moveTo>
                    <a:pt x="13664" y="0"/>
                  </a:moveTo>
                  <a:cubicBezTo>
                    <a:pt x="10257" y="15468"/>
                    <a:pt x="7651" y="31107"/>
                    <a:pt x="5856" y="46848"/>
                  </a:cubicBezTo>
                  <a:lnTo>
                    <a:pt x="3201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577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EC983B5-D039-421A-84D2-E20CA3AD05B8}"/>
                </a:ext>
              </a:extLst>
            </p:cNvPr>
            <p:cNvSpPr/>
            <p:nvPr/>
          </p:nvSpPr>
          <p:spPr>
            <a:xfrm>
              <a:off x="7543776" y="5628691"/>
              <a:ext cx="102423" cy="149092"/>
            </a:xfrm>
            <a:custGeom>
              <a:avLst/>
              <a:gdLst>
                <a:gd name="connsiteX0" fmla="*/ 64468 w 64467"/>
                <a:gd name="connsiteY0" fmla="*/ 7419 h 93841"/>
                <a:gd name="connsiteX1" fmla="*/ 43855 w 64467"/>
                <a:gd name="connsiteY1" fmla="*/ 85967 h 93841"/>
                <a:gd name="connsiteX2" fmla="*/ 5439 w 64467"/>
                <a:gd name="connsiteY2" fmla="*/ 93229 h 93841"/>
                <a:gd name="connsiteX3" fmla="*/ 15668 w 64467"/>
                <a:gd name="connsiteY3" fmla="*/ 67072 h 93841"/>
                <a:gd name="connsiteX4" fmla="*/ 45182 w 64467"/>
                <a:gd name="connsiteY4" fmla="*/ 3515 h 93841"/>
                <a:gd name="connsiteX5" fmla="*/ 64468 w 64467"/>
                <a:gd name="connsiteY5" fmla="*/ 7419 h 9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67" h="93841">
                  <a:moveTo>
                    <a:pt x="64468" y="7419"/>
                  </a:moveTo>
                  <a:cubicBezTo>
                    <a:pt x="64468" y="7419"/>
                    <a:pt x="61110" y="66525"/>
                    <a:pt x="43855" y="85967"/>
                  </a:cubicBezTo>
                  <a:cubicBezTo>
                    <a:pt x="39248" y="91121"/>
                    <a:pt x="12232" y="95493"/>
                    <a:pt x="5439" y="93229"/>
                  </a:cubicBezTo>
                  <a:cubicBezTo>
                    <a:pt x="-6429" y="89169"/>
                    <a:pt x="3019" y="82922"/>
                    <a:pt x="15668" y="67072"/>
                  </a:cubicBezTo>
                  <a:cubicBezTo>
                    <a:pt x="32845" y="31077"/>
                    <a:pt x="42605" y="23581"/>
                    <a:pt x="45182" y="3515"/>
                  </a:cubicBezTo>
                  <a:cubicBezTo>
                    <a:pt x="48149" y="-6245"/>
                    <a:pt x="64468" y="7419"/>
                    <a:pt x="64468" y="7419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FA3F92FB-7C6C-408D-B02C-0A6B3C4F87E4}"/>
                </a:ext>
              </a:extLst>
            </p:cNvPr>
            <p:cNvSpPr/>
            <p:nvPr/>
          </p:nvSpPr>
          <p:spPr>
            <a:xfrm>
              <a:off x="7569470" y="5617232"/>
              <a:ext cx="76730" cy="128736"/>
            </a:xfrm>
            <a:custGeom>
              <a:avLst/>
              <a:gdLst>
                <a:gd name="connsiteX0" fmla="*/ 48296 w 48295"/>
                <a:gd name="connsiteY0" fmla="*/ 14631 h 81029"/>
                <a:gd name="connsiteX1" fmla="*/ 2151 w 48295"/>
                <a:gd name="connsiteY1" fmla="*/ 79985 h 81029"/>
                <a:gd name="connsiteX2" fmla="*/ 28385 w 48295"/>
                <a:gd name="connsiteY2" fmla="*/ 1904 h 81029"/>
                <a:gd name="connsiteX3" fmla="*/ 48296 w 48295"/>
                <a:gd name="connsiteY3" fmla="*/ 14631 h 8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95" h="81029">
                  <a:moveTo>
                    <a:pt x="48296" y="14631"/>
                  </a:moveTo>
                  <a:cubicBezTo>
                    <a:pt x="48296" y="14631"/>
                    <a:pt x="31977" y="90760"/>
                    <a:pt x="2151" y="79985"/>
                  </a:cubicBezTo>
                  <a:cubicBezTo>
                    <a:pt x="-8937" y="76159"/>
                    <a:pt x="26355" y="39383"/>
                    <a:pt x="28385" y="1904"/>
                  </a:cubicBezTo>
                  <a:cubicBezTo>
                    <a:pt x="28385" y="-6294"/>
                    <a:pt x="48296" y="14631"/>
                    <a:pt x="48296" y="146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8E89BD9B-96F0-4752-8405-F54BAA469CB6}"/>
                </a:ext>
              </a:extLst>
            </p:cNvPr>
            <p:cNvSpPr/>
            <p:nvPr/>
          </p:nvSpPr>
          <p:spPr>
            <a:xfrm>
              <a:off x="7639129" y="5640479"/>
              <a:ext cx="16498" cy="56195"/>
            </a:xfrm>
            <a:custGeom>
              <a:avLst/>
              <a:gdLst>
                <a:gd name="connsiteX0" fmla="*/ 4451 w 10384"/>
                <a:gd name="connsiteY0" fmla="*/ 0 h 35370"/>
                <a:gd name="connsiteX1" fmla="*/ 10385 w 10384"/>
                <a:gd name="connsiteY1" fmla="*/ 21784 h 35370"/>
                <a:gd name="connsiteX2" fmla="*/ 0 w 10384"/>
                <a:gd name="connsiteY2" fmla="*/ 35370 h 3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84" h="35370">
                  <a:moveTo>
                    <a:pt x="4451" y="0"/>
                  </a:moveTo>
                  <a:cubicBezTo>
                    <a:pt x="7812" y="6809"/>
                    <a:pt x="9826" y="14211"/>
                    <a:pt x="10385" y="21784"/>
                  </a:cubicBezTo>
                  <a:cubicBezTo>
                    <a:pt x="9057" y="27875"/>
                    <a:pt x="7652" y="26157"/>
                    <a:pt x="0" y="35370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9A4E9F69-B049-42BD-80C1-4120F0734716}"/>
                </a:ext>
              </a:extLst>
            </p:cNvPr>
            <p:cNvSpPr/>
            <p:nvPr/>
          </p:nvSpPr>
          <p:spPr>
            <a:xfrm>
              <a:off x="7494113" y="5626461"/>
              <a:ext cx="8560" cy="45898"/>
            </a:xfrm>
            <a:custGeom>
              <a:avLst/>
              <a:gdLst>
                <a:gd name="connsiteX0" fmla="*/ 4217 w 5388"/>
                <a:gd name="connsiteY0" fmla="*/ 28890 h 28889"/>
                <a:gd name="connsiteX1" fmla="*/ 2109 w 5388"/>
                <a:gd name="connsiteY1" fmla="*/ 27406 h 28889"/>
                <a:gd name="connsiteX2" fmla="*/ 0 w 5388"/>
                <a:gd name="connsiteY2" fmla="*/ 6168 h 28889"/>
                <a:gd name="connsiteX3" fmla="*/ 3358 w 5388"/>
                <a:gd name="connsiteY3" fmla="*/ 0 h 28889"/>
                <a:gd name="connsiteX4" fmla="*/ 5388 w 5388"/>
                <a:gd name="connsiteY4" fmla="*/ 3514 h 2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" h="28889">
                  <a:moveTo>
                    <a:pt x="4217" y="28890"/>
                  </a:moveTo>
                  <a:lnTo>
                    <a:pt x="2109" y="27406"/>
                  </a:lnTo>
                  <a:cubicBezTo>
                    <a:pt x="686" y="20418"/>
                    <a:pt x="-21" y="13297"/>
                    <a:pt x="0" y="6168"/>
                  </a:cubicBezTo>
                  <a:cubicBezTo>
                    <a:pt x="0" y="6168"/>
                    <a:pt x="3358" y="0"/>
                    <a:pt x="3358" y="0"/>
                  </a:cubicBezTo>
                  <a:lnTo>
                    <a:pt x="5388" y="3514"/>
                  </a:lnTo>
                  <a:close/>
                </a:path>
              </a:pathLst>
            </a:custGeom>
            <a:solidFill>
              <a:srgbClr val="21262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1AC9E209-1976-4966-ABC5-93C66088C8F7}"/>
                </a:ext>
              </a:extLst>
            </p:cNvPr>
            <p:cNvSpPr/>
            <p:nvPr/>
          </p:nvSpPr>
          <p:spPr>
            <a:xfrm>
              <a:off x="7495975" y="5595324"/>
              <a:ext cx="21833" cy="77035"/>
            </a:xfrm>
            <a:custGeom>
              <a:avLst/>
              <a:gdLst>
                <a:gd name="connsiteX0" fmla="*/ 13742 w 13742"/>
                <a:gd name="connsiteY0" fmla="*/ 0 h 48487"/>
                <a:gd name="connsiteX1" fmla="*/ 5934 w 13742"/>
                <a:gd name="connsiteY1" fmla="*/ 46848 h 48487"/>
                <a:gd name="connsiteX2" fmla="*/ 3279 w 13742"/>
                <a:gd name="connsiteY2" fmla="*/ 48488 h 48487"/>
                <a:gd name="connsiteX3" fmla="*/ 2577 w 13742"/>
                <a:gd name="connsiteY3" fmla="*/ 23346 h 48487"/>
                <a:gd name="connsiteX4" fmla="*/ 0 w 13742"/>
                <a:gd name="connsiteY4" fmla="*/ 20067 h 48487"/>
                <a:gd name="connsiteX5" fmla="*/ 2655 w 13742"/>
                <a:gd name="connsiteY5" fmla="*/ 12259 h 4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42" h="48487">
                  <a:moveTo>
                    <a:pt x="13742" y="0"/>
                  </a:moveTo>
                  <a:cubicBezTo>
                    <a:pt x="10309" y="15468"/>
                    <a:pt x="7703" y="31107"/>
                    <a:pt x="5934" y="46848"/>
                  </a:cubicBezTo>
                  <a:lnTo>
                    <a:pt x="3279" y="48488"/>
                  </a:lnTo>
                  <a:lnTo>
                    <a:pt x="2577" y="23346"/>
                  </a:lnTo>
                  <a:lnTo>
                    <a:pt x="0" y="20067"/>
                  </a:lnTo>
                  <a:lnTo>
                    <a:pt x="2655" y="12259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059ED34D-1A7C-4FEE-A728-4C9542505384}"/>
                </a:ext>
              </a:extLst>
            </p:cNvPr>
            <p:cNvSpPr/>
            <p:nvPr/>
          </p:nvSpPr>
          <p:spPr>
            <a:xfrm>
              <a:off x="7405993" y="5548923"/>
              <a:ext cx="102385" cy="149141"/>
            </a:xfrm>
            <a:custGeom>
              <a:avLst/>
              <a:gdLst>
                <a:gd name="connsiteX0" fmla="*/ 64443 w 64443"/>
                <a:gd name="connsiteY0" fmla="*/ 7421 h 93872"/>
                <a:gd name="connsiteX1" fmla="*/ 43830 w 64443"/>
                <a:gd name="connsiteY1" fmla="*/ 85970 h 93872"/>
                <a:gd name="connsiteX2" fmla="*/ 5493 w 64443"/>
                <a:gd name="connsiteY2" fmla="*/ 93231 h 93872"/>
                <a:gd name="connsiteX3" fmla="*/ 15643 w 64443"/>
                <a:gd name="connsiteY3" fmla="*/ 67074 h 93872"/>
                <a:gd name="connsiteX4" fmla="*/ 45158 w 64443"/>
                <a:gd name="connsiteY4" fmla="*/ 3595 h 93872"/>
                <a:gd name="connsiteX5" fmla="*/ 64443 w 64443"/>
                <a:gd name="connsiteY5" fmla="*/ 7421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43" h="93872">
                  <a:moveTo>
                    <a:pt x="64443" y="7421"/>
                  </a:moveTo>
                  <a:cubicBezTo>
                    <a:pt x="64443" y="7421"/>
                    <a:pt x="61086" y="66606"/>
                    <a:pt x="43830" y="85970"/>
                  </a:cubicBezTo>
                  <a:cubicBezTo>
                    <a:pt x="39302" y="91123"/>
                    <a:pt x="12208" y="95573"/>
                    <a:pt x="5493" y="93231"/>
                  </a:cubicBezTo>
                  <a:cubicBezTo>
                    <a:pt x="-6453" y="89171"/>
                    <a:pt x="2994" y="83003"/>
                    <a:pt x="15643" y="67074"/>
                  </a:cubicBezTo>
                  <a:cubicBezTo>
                    <a:pt x="32899" y="31079"/>
                    <a:pt x="42581" y="23584"/>
                    <a:pt x="45158" y="3595"/>
                  </a:cubicBezTo>
                  <a:cubicBezTo>
                    <a:pt x="48203" y="-6321"/>
                    <a:pt x="64443" y="7421"/>
                    <a:pt x="64443" y="7421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AF072706-C531-415C-AB67-26605FD4F009}"/>
                </a:ext>
              </a:extLst>
            </p:cNvPr>
            <p:cNvSpPr/>
            <p:nvPr/>
          </p:nvSpPr>
          <p:spPr>
            <a:xfrm>
              <a:off x="7431734" y="5537468"/>
              <a:ext cx="76644" cy="128757"/>
            </a:xfrm>
            <a:custGeom>
              <a:avLst/>
              <a:gdLst>
                <a:gd name="connsiteX0" fmla="*/ 48242 w 48241"/>
                <a:gd name="connsiteY0" fmla="*/ 14631 h 81042"/>
                <a:gd name="connsiteX1" fmla="*/ 2174 w 48241"/>
                <a:gd name="connsiteY1" fmla="*/ 79984 h 81042"/>
                <a:gd name="connsiteX2" fmla="*/ 28331 w 48241"/>
                <a:gd name="connsiteY2" fmla="*/ 1904 h 81042"/>
                <a:gd name="connsiteX3" fmla="*/ 48242 w 48241"/>
                <a:gd name="connsiteY3" fmla="*/ 14631 h 8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241" h="81042">
                  <a:moveTo>
                    <a:pt x="48242" y="14631"/>
                  </a:moveTo>
                  <a:cubicBezTo>
                    <a:pt x="48242" y="14631"/>
                    <a:pt x="31923" y="90838"/>
                    <a:pt x="2174" y="79984"/>
                  </a:cubicBezTo>
                  <a:cubicBezTo>
                    <a:pt x="-8991" y="76159"/>
                    <a:pt x="26379" y="39461"/>
                    <a:pt x="28331" y="1904"/>
                  </a:cubicBezTo>
                  <a:cubicBezTo>
                    <a:pt x="28331" y="-6294"/>
                    <a:pt x="48242" y="14631"/>
                    <a:pt x="48242" y="14631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479F0AA-E827-4E37-BC49-019C2183327D}"/>
                </a:ext>
              </a:extLst>
            </p:cNvPr>
            <p:cNvSpPr/>
            <p:nvPr/>
          </p:nvSpPr>
          <p:spPr>
            <a:xfrm>
              <a:off x="7501308" y="5560713"/>
              <a:ext cx="16755" cy="56319"/>
            </a:xfrm>
            <a:custGeom>
              <a:avLst/>
              <a:gdLst>
                <a:gd name="connsiteX0" fmla="*/ 4451 w 10546"/>
                <a:gd name="connsiteY0" fmla="*/ 0 h 35448"/>
                <a:gd name="connsiteX1" fmla="*/ 10385 w 10546"/>
                <a:gd name="connsiteY1" fmla="*/ 21862 h 35448"/>
                <a:gd name="connsiteX2" fmla="*/ 0 w 10546"/>
                <a:gd name="connsiteY2" fmla="*/ 35448 h 3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46" h="35448">
                  <a:moveTo>
                    <a:pt x="4451" y="0"/>
                  </a:moveTo>
                  <a:cubicBezTo>
                    <a:pt x="4451" y="0"/>
                    <a:pt x="11712" y="15616"/>
                    <a:pt x="10385" y="21862"/>
                  </a:cubicBezTo>
                  <a:cubicBezTo>
                    <a:pt x="9057" y="28109"/>
                    <a:pt x="7730" y="26157"/>
                    <a:pt x="0" y="35448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782D592-1CB1-4F39-ADEE-50EC27588C76}"/>
                </a:ext>
              </a:extLst>
            </p:cNvPr>
            <p:cNvSpPr/>
            <p:nvPr/>
          </p:nvSpPr>
          <p:spPr>
            <a:xfrm>
              <a:off x="7352941" y="4193397"/>
              <a:ext cx="490005" cy="1461657"/>
            </a:xfrm>
            <a:custGeom>
              <a:avLst/>
              <a:gdLst>
                <a:gd name="connsiteX0" fmla="*/ 206914 w 308417"/>
                <a:gd name="connsiteY0" fmla="*/ 531897 h 919994"/>
                <a:gd name="connsiteX1" fmla="*/ 308418 w 308417"/>
                <a:gd name="connsiteY1" fmla="*/ 68180 h 919994"/>
                <a:gd name="connsiteX2" fmla="*/ 172949 w 308417"/>
                <a:gd name="connsiteY2" fmla="*/ 24533 h 919994"/>
                <a:gd name="connsiteX3" fmla="*/ 3281 w 308417"/>
                <a:gd name="connsiteY3" fmla="*/ 4154 h 919994"/>
                <a:gd name="connsiteX4" fmla="*/ 37168 w 308417"/>
                <a:gd name="connsiteY4" fmla="*/ 443198 h 919994"/>
                <a:gd name="connsiteX5" fmla="*/ 67775 w 308417"/>
                <a:gd name="connsiteY5" fmla="*/ 852807 h 919994"/>
                <a:gd name="connsiteX6" fmla="*/ 74412 w 308417"/>
                <a:gd name="connsiteY6" fmla="*/ 863035 h 919994"/>
                <a:gd name="connsiteX7" fmla="*/ 106971 w 308417"/>
                <a:gd name="connsiteY7" fmla="*/ 863035 h 919994"/>
                <a:gd name="connsiteX8" fmla="*/ 113452 w 308417"/>
                <a:gd name="connsiteY8" fmla="*/ 855227 h 919994"/>
                <a:gd name="connsiteX9" fmla="*/ 113452 w 308417"/>
                <a:gd name="connsiteY9" fmla="*/ 855227 h 919994"/>
                <a:gd name="connsiteX10" fmla="*/ 136017 w 308417"/>
                <a:gd name="connsiteY10" fmla="*/ 571172 h 919994"/>
                <a:gd name="connsiteX11" fmla="*/ 104785 w 308417"/>
                <a:gd name="connsiteY11" fmla="*/ 479349 h 919994"/>
                <a:gd name="connsiteX12" fmla="*/ 136017 w 308417"/>
                <a:gd name="connsiteY12" fmla="*/ 170152 h 919994"/>
                <a:gd name="connsiteX13" fmla="*/ 146089 w 308417"/>
                <a:gd name="connsiteY13" fmla="*/ 174212 h 919994"/>
                <a:gd name="connsiteX14" fmla="*/ 141014 w 308417"/>
                <a:gd name="connsiteY14" fmla="*/ 503945 h 919994"/>
                <a:gd name="connsiteX15" fmla="*/ 154054 w 308417"/>
                <a:gd name="connsiteY15" fmla="*/ 905120 h 919994"/>
                <a:gd name="connsiteX16" fmla="*/ 154054 w 308417"/>
                <a:gd name="connsiteY16" fmla="*/ 905120 h 919994"/>
                <a:gd name="connsiteX17" fmla="*/ 160612 w 308417"/>
                <a:gd name="connsiteY17" fmla="*/ 916129 h 919994"/>
                <a:gd name="connsiteX18" fmla="*/ 193094 w 308417"/>
                <a:gd name="connsiteY18" fmla="*/ 916129 h 919994"/>
                <a:gd name="connsiteX19" fmla="*/ 199574 w 308417"/>
                <a:gd name="connsiteY19" fmla="*/ 907853 h 919994"/>
                <a:gd name="connsiteX20" fmla="*/ 199574 w 308417"/>
                <a:gd name="connsiteY20" fmla="*/ 907853 h 919994"/>
                <a:gd name="connsiteX21" fmla="*/ 236428 w 308417"/>
                <a:gd name="connsiteY21" fmla="*/ 628170 h 919994"/>
                <a:gd name="connsiteX22" fmla="*/ 206914 w 308417"/>
                <a:gd name="connsiteY22" fmla="*/ 531897 h 919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8417" h="919994">
                  <a:moveTo>
                    <a:pt x="206914" y="531897"/>
                  </a:moveTo>
                  <a:cubicBezTo>
                    <a:pt x="209568" y="524089"/>
                    <a:pt x="307715" y="276029"/>
                    <a:pt x="308418" y="68180"/>
                  </a:cubicBezTo>
                  <a:lnTo>
                    <a:pt x="172949" y="24533"/>
                  </a:lnTo>
                  <a:cubicBezTo>
                    <a:pt x="172949" y="24533"/>
                    <a:pt x="11323" y="-12087"/>
                    <a:pt x="3281" y="4154"/>
                  </a:cubicBezTo>
                  <a:cubicBezTo>
                    <a:pt x="-9212" y="18052"/>
                    <a:pt x="16555" y="271344"/>
                    <a:pt x="37168" y="443198"/>
                  </a:cubicBezTo>
                  <a:cubicBezTo>
                    <a:pt x="37168" y="443198"/>
                    <a:pt x="69727" y="680171"/>
                    <a:pt x="67775" y="852807"/>
                  </a:cubicBezTo>
                  <a:cubicBezTo>
                    <a:pt x="67704" y="857249"/>
                    <a:pt x="70327" y="861294"/>
                    <a:pt x="74412" y="863035"/>
                  </a:cubicBezTo>
                  <a:cubicBezTo>
                    <a:pt x="84645" y="868227"/>
                    <a:pt x="96738" y="868227"/>
                    <a:pt x="106971" y="863035"/>
                  </a:cubicBezTo>
                  <a:cubicBezTo>
                    <a:pt x="110171" y="861505"/>
                    <a:pt x="112540" y="858655"/>
                    <a:pt x="113452" y="855227"/>
                  </a:cubicBezTo>
                  <a:lnTo>
                    <a:pt x="113452" y="855227"/>
                  </a:lnTo>
                  <a:cubicBezTo>
                    <a:pt x="131254" y="666898"/>
                    <a:pt x="136017" y="571172"/>
                    <a:pt x="136017" y="571172"/>
                  </a:cubicBezTo>
                  <a:cubicBezTo>
                    <a:pt x="136017" y="556336"/>
                    <a:pt x="104317" y="487001"/>
                    <a:pt x="104785" y="479349"/>
                  </a:cubicBezTo>
                  <a:cubicBezTo>
                    <a:pt x="105253" y="471698"/>
                    <a:pt x="134455" y="223715"/>
                    <a:pt x="136017" y="170152"/>
                  </a:cubicBezTo>
                  <a:lnTo>
                    <a:pt x="146089" y="174212"/>
                  </a:lnTo>
                  <a:cubicBezTo>
                    <a:pt x="146089" y="174212"/>
                    <a:pt x="141014" y="497933"/>
                    <a:pt x="141014" y="503945"/>
                  </a:cubicBezTo>
                  <a:cubicBezTo>
                    <a:pt x="141014" y="509957"/>
                    <a:pt x="164829" y="854368"/>
                    <a:pt x="154054" y="905120"/>
                  </a:cubicBezTo>
                  <a:lnTo>
                    <a:pt x="154054" y="905120"/>
                  </a:lnTo>
                  <a:cubicBezTo>
                    <a:pt x="153556" y="909836"/>
                    <a:pt x="156227" y="914318"/>
                    <a:pt x="160612" y="916129"/>
                  </a:cubicBezTo>
                  <a:cubicBezTo>
                    <a:pt x="170827" y="921283"/>
                    <a:pt x="182879" y="921283"/>
                    <a:pt x="193094" y="916129"/>
                  </a:cubicBezTo>
                  <a:cubicBezTo>
                    <a:pt x="196448" y="914560"/>
                    <a:pt x="198854" y="911484"/>
                    <a:pt x="199574" y="907853"/>
                  </a:cubicBezTo>
                  <a:lnTo>
                    <a:pt x="199574" y="907853"/>
                  </a:lnTo>
                  <a:cubicBezTo>
                    <a:pt x="220500" y="763092"/>
                    <a:pt x="236428" y="628170"/>
                    <a:pt x="236428" y="628170"/>
                  </a:cubicBezTo>
                  <a:cubicBezTo>
                    <a:pt x="237755" y="612008"/>
                    <a:pt x="204337" y="539862"/>
                    <a:pt x="206914" y="531897"/>
                  </a:cubicBez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7453D9B2-75A6-4B41-A29A-4DA430B1133F}"/>
                </a:ext>
              </a:extLst>
            </p:cNvPr>
            <p:cNvSpPr/>
            <p:nvPr/>
          </p:nvSpPr>
          <p:spPr>
            <a:xfrm>
              <a:off x="7711767" y="2881326"/>
              <a:ext cx="250360" cy="537491"/>
            </a:xfrm>
            <a:custGeom>
              <a:avLst/>
              <a:gdLst>
                <a:gd name="connsiteX0" fmla="*/ 11514 w 157581"/>
                <a:gd name="connsiteY0" fmla="*/ 48180 h 338307"/>
                <a:gd name="connsiteX1" fmla="*/ 72728 w 157581"/>
                <a:gd name="connsiteY1" fmla="*/ 942 h 338307"/>
                <a:gd name="connsiteX2" fmla="*/ 133553 w 157581"/>
                <a:gd name="connsiteY2" fmla="*/ 177637 h 338307"/>
                <a:gd name="connsiteX3" fmla="*/ 104819 w 157581"/>
                <a:gd name="connsiteY3" fmla="*/ 307875 h 338307"/>
                <a:gd name="connsiteX4" fmla="*/ 17213 w 157581"/>
                <a:gd name="connsiteY4" fmla="*/ 321539 h 338307"/>
                <a:gd name="connsiteX5" fmla="*/ 15261 w 157581"/>
                <a:gd name="connsiteY5" fmla="*/ 172328 h 338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581" h="338307">
                  <a:moveTo>
                    <a:pt x="11514" y="48180"/>
                  </a:moveTo>
                  <a:cubicBezTo>
                    <a:pt x="11514" y="48180"/>
                    <a:pt x="24475" y="-7881"/>
                    <a:pt x="72728" y="942"/>
                  </a:cubicBezTo>
                  <a:cubicBezTo>
                    <a:pt x="120982" y="9765"/>
                    <a:pt x="196641" y="82848"/>
                    <a:pt x="133553" y="177637"/>
                  </a:cubicBezTo>
                  <a:cubicBezTo>
                    <a:pt x="70464" y="272426"/>
                    <a:pt x="73978" y="315449"/>
                    <a:pt x="104819" y="307875"/>
                  </a:cubicBezTo>
                  <a:cubicBezTo>
                    <a:pt x="104819" y="307875"/>
                    <a:pt x="62890" y="366044"/>
                    <a:pt x="17213" y="321539"/>
                  </a:cubicBezTo>
                  <a:cubicBezTo>
                    <a:pt x="-20343" y="284919"/>
                    <a:pt x="15261" y="172328"/>
                    <a:pt x="15261" y="172328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48CCF93-4A6D-40CB-9BC6-9CFE2684F225}"/>
                </a:ext>
              </a:extLst>
            </p:cNvPr>
            <p:cNvSpPr/>
            <p:nvPr/>
          </p:nvSpPr>
          <p:spPr>
            <a:xfrm>
              <a:off x="7684292" y="3045080"/>
              <a:ext cx="125828" cy="311988"/>
            </a:xfrm>
            <a:custGeom>
              <a:avLst/>
              <a:gdLst>
                <a:gd name="connsiteX0" fmla="*/ 152 w 79198"/>
                <a:gd name="connsiteY0" fmla="*/ 196371 h 196371"/>
                <a:gd name="connsiteX1" fmla="*/ 78232 w 79198"/>
                <a:gd name="connsiteY1" fmla="*/ 0 h 196371"/>
                <a:gd name="connsiteX2" fmla="*/ 152 w 79198"/>
                <a:gd name="connsiteY2" fmla="*/ 196371 h 196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198" h="196371">
                  <a:moveTo>
                    <a:pt x="152" y="196371"/>
                  </a:moveTo>
                  <a:cubicBezTo>
                    <a:pt x="152" y="196371"/>
                    <a:pt x="89397" y="139139"/>
                    <a:pt x="78232" y="0"/>
                  </a:cubicBezTo>
                  <a:cubicBezTo>
                    <a:pt x="77919" y="0"/>
                    <a:pt x="-3987" y="89167"/>
                    <a:pt x="152" y="196371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04C28164-B5DB-474E-8154-6734FD6723E7}"/>
                </a:ext>
              </a:extLst>
            </p:cNvPr>
            <p:cNvSpPr/>
            <p:nvPr/>
          </p:nvSpPr>
          <p:spPr>
            <a:xfrm rot="19985901">
              <a:off x="7123199" y="3487546"/>
              <a:ext cx="392826" cy="393241"/>
            </a:xfrm>
            <a:custGeom>
              <a:avLst/>
              <a:gdLst>
                <a:gd name="connsiteX0" fmla="*/ 16212 w 247251"/>
                <a:gd name="connsiteY0" fmla="*/ 247514 h 247513"/>
                <a:gd name="connsiteX1" fmla="*/ 212974 w 247251"/>
                <a:gd name="connsiteY1" fmla="*/ 132736 h 247513"/>
                <a:gd name="connsiteX2" fmla="*/ 247251 w 247251"/>
                <a:gd name="connsiteY2" fmla="*/ 0 h 247513"/>
                <a:gd name="connsiteX3" fmla="*/ 21834 w 247251"/>
                <a:gd name="connsiteY3" fmla="*/ 188563 h 247513"/>
                <a:gd name="connsiteX4" fmla="*/ 16212 w 247251"/>
                <a:gd name="connsiteY4" fmla="*/ 247514 h 2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251" h="247513">
                  <a:moveTo>
                    <a:pt x="16212" y="247514"/>
                  </a:moveTo>
                  <a:cubicBezTo>
                    <a:pt x="73991" y="240877"/>
                    <a:pt x="212974" y="132736"/>
                    <a:pt x="212974" y="132736"/>
                  </a:cubicBezTo>
                  <a:lnTo>
                    <a:pt x="247251" y="0"/>
                  </a:lnTo>
                  <a:cubicBezTo>
                    <a:pt x="247251" y="0"/>
                    <a:pt x="40807" y="179584"/>
                    <a:pt x="21834" y="188563"/>
                  </a:cubicBezTo>
                  <a:cubicBezTo>
                    <a:pt x="-23765" y="234240"/>
                    <a:pt x="16212" y="247514"/>
                    <a:pt x="16212" y="247514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EAFF9F9-CC3D-4FE9-825A-F0C16A5BFE8F}"/>
                </a:ext>
              </a:extLst>
            </p:cNvPr>
            <p:cNvSpPr/>
            <p:nvPr/>
          </p:nvSpPr>
          <p:spPr>
            <a:xfrm>
              <a:off x="7351453" y="3926092"/>
              <a:ext cx="491864" cy="418593"/>
            </a:xfrm>
            <a:custGeom>
              <a:avLst/>
              <a:gdLst>
                <a:gd name="connsiteX0" fmla="*/ 169668 w 309587"/>
                <a:gd name="connsiteY0" fmla="*/ 15147 h 263470"/>
                <a:gd name="connsiteX1" fmla="*/ 309588 w 309587"/>
                <a:gd name="connsiteY1" fmla="*/ 236426 h 263470"/>
                <a:gd name="connsiteX2" fmla="*/ 117589 w 309587"/>
                <a:gd name="connsiteY2" fmla="*/ 254307 h 263470"/>
                <a:gd name="connsiteX3" fmla="*/ 0 w 309587"/>
                <a:gd name="connsiteY3" fmla="*/ 175368 h 263470"/>
                <a:gd name="connsiteX4" fmla="*/ 72849 w 309587"/>
                <a:gd name="connsiteY4" fmla="*/ 0 h 26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587" h="263470">
                  <a:moveTo>
                    <a:pt x="169668" y="15147"/>
                  </a:moveTo>
                  <a:cubicBezTo>
                    <a:pt x="169668" y="15147"/>
                    <a:pt x="308182" y="180677"/>
                    <a:pt x="309588" y="236426"/>
                  </a:cubicBezTo>
                  <a:cubicBezTo>
                    <a:pt x="309588" y="236426"/>
                    <a:pt x="233225" y="282572"/>
                    <a:pt x="117589" y="254307"/>
                  </a:cubicBezTo>
                  <a:cubicBezTo>
                    <a:pt x="-625" y="225339"/>
                    <a:pt x="0" y="175368"/>
                    <a:pt x="0" y="175368"/>
                  </a:cubicBezTo>
                  <a:cubicBezTo>
                    <a:pt x="21299" y="115716"/>
                    <a:pt x="45613" y="57185"/>
                    <a:pt x="72849" y="0"/>
                  </a:cubicBezTo>
                  <a:close/>
                </a:path>
              </a:pathLst>
            </a:custGeom>
            <a:solidFill>
              <a:schemeClr val="tx1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E5767CB1-50EA-4878-BA22-AC632D67A0BA}"/>
                </a:ext>
              </a:extLst>
            </p:cNvPr>
            <p:cNvSpPr/>
            <p:nvPr/>
          </p:nvSpPr>
          <p:spPr>
            <a:xfrm rot="21581400">
              <a:off x="7464312" y="3884564"/>
              <a:ext cx="167965" cy="97007"/>
            </a:xfrm>
            <a:custGeom>
              <a:avLst/>
              <a:gdLst>
                <a:gd name="connsiteX0" fmla="*/ 105720 w 105720"/>
                <a:gd name="connsiteY0" fmla="*/ 30529 h 61058"/>
                <a:gd name="connsiteX1" fmla="*/ 52860 w 105720"/>
                <a:gd name="connsiteY1" fmla="*/ 61059 h 61058"/>
                <a:gd name="connsiteX2" fmla="*/ 0 w 105720"/>
                <a:gd name="connsiteY2" fmla="*/ 30529 h 61058"/>
                <a:gd name="connsiteX3" fmla="*/ 52860 w 105720"/>
                <a:gd name="connsiteY3" fmla="*/ 0 h 61058"/>
                <a:gd name="connsiteX4" fmla="*/ 105720 w 105720"/>
                <a:gd name="connsiteY4" fmla="*/ 30529 h 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20" h="61058">
                  <a:moveTo>
                    <a:pt x="105720" y="30529"/>
                  </a:moveTo>
                  <a:cubicBezTo>
                    <a:pt x="105720" y="47390"/>
                    <a:pt x="82054" y="61059"/>
                    <a:pt x="52860" y="61059"/>
                  </a:cubicBezTo>
                  <a:cubicBezTo>
                    <a:pt x="23666" y="61059"/>
                    <a:pt x="0" y="47390"/>
                    <a:pt x="0" y="30529"/>
                  </a:cubicBezTo>
                  <a:cubicBezTo>
                    <a:pt x="0" y="13668"/>
                    <a:pt x="23666" y="0"/>
                    <a:pt x="52860" y="0"/>
                  </a:cubicBezTo>
                  <a:cubicBezTo>
                    <a:pt x="82054" y="0"/>
                    <a:pt x="105720" y="13668"/>
                    <a:pt x="105720" y="3052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B64952D-870F-49CC-8C1C-A72429A1D647}"/>
                </a:ext>
              </a:extLst>
            </p:cNvPr>
            <p:cNvSpPr/>
            <p:nvPr/>
          </p:nvSpPr>
          <p:spPr>
            <a:xfrm>
              <a:off x="7343266" y="3369227"/>
              <a:ext cx="469411" cy="581821"/>
            </a:xfrm>
            <a:custGeom>
              <a:avLst/>
              <a:gdLst>
                <a:gd name="connsiteX0" fmla="*/ 295455 w 295455"/>
                <a:gd name="connsiteY0" fmla="*/ 124928 h 366209"/>
                <a:gd name="connsiteX1" fmla="*/ 66837 w 295455"/>
                <a:gd name="connsiteY1" fmla="*/ 0 h 366209"/>
                <a:gd name="connsiteX2" fmla="*/ 0 w 295455"/>
                <a:gd name="connsiteY2" fmla="*/ 197386 h 366209"/>
                <a:gd name="connsiteX3" fmla="*/ 76284 w 295455"/>
                <a:gd name="connsiteY3" fmla="*/ 354484 h 366209"/>
                <a:gd name="connsiteX4" fmla="*/ 178491 w 295455"/>
                <a:gd name="connsiteY4" fmla="*/ 365493 h 366209"/>
                <a:gd name="connsiteX5" fmla="*/ 295455 w 295455"/>
                <a:gd name="connsiteY5" fmla="*/ 124928 h 36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455" h="366209">
                  <a:moveTo>
                    <a:pt x="295455" y="124928"/>
                  </a:moveTo>
                  <a:cubicBezTo>
                    <a:pt x="295455" y="124928"/>
                    <a:pt x="195591" y="31232"/>
                    <a:pt x="66837" y="0"/>
                  </a:cubicBezTo>
                  <a:cubicBezTo>
                    <a:pt x="66837" y="0"/>
                    <a:pt x="47160" y="128676"/>
                    <a:pt x="0" y="197386"/>
                  </a:cubicBezTo>
                  <a:cubicBezTo>
                    <a:pt x="0" y="197386"/>
                    <a:pt x="70272" y="298891"/>
                    <a:pt x="76284" y="354484"/>
                  </a:cubicBezTo>
                  <a:cubicBezTo>
                    <a:pt x="76284" y="354484"/>
                    <a:pt x="134454" y="369631"/>
                    <a:pt x="178491" y="365493"/>
                  </a:cubicBezTo>
                  <a:cubicBezTo>
                    <a:pt x="178491" y="365337"/>
                    <a:pt x="294987" y="229477"/>
                    <a:pt x="295455" y="124928"/>
                  </a:cubicBezTo>
                  <a:close/>
                </a:path>
              </a:pathLst>
            </a:custGeom>
            <a:solidFill>
              <a:schemeClr val="tx1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7C6A94D3-0CCF-447F-93BC-CBA9D3CE55B4}"/>
                </a:ext>
              </a:extLst>
            </p:cNvPr>
            <p:cNvSpPr/>
            <p:nvPr/>
          </p:nvSpPr>
          <p:spPr>
            <a:xfrm>
              <a:off x="7476328" y="3384112"/>
              <a:ext cx="244302" cy="291644"/>
            </a:xfrm>
            <a:custGeom>
              <a:avLst/>
              <a:gdLst>
                <a:gd name="connsiteX0" fmla="*/ 153769 w 153768"/>
                <a:gd name="connsiteY0" fmla="*/ 70428 h 183566"/>
                <a:gd name="connsiteX1" fmla="*/ 9242 w 153768"/>
                <a:gd name="connsiteY1" fmla="*/ 183566 h 183566"/>
                <a:gd name="connsiteX2" fmla="*/ 18144 w 153768"/>
                <a:gd name="connsiteY2" fmla="*/ 0 h 183566"/>
                <a:gd name="connsiteX3" fmla="*/ 153769 w 153768"/>
                <a:gd name="connsiteY3" fmla="*/ 70428 h 18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768" h="183566">
                  <a:moveTo>
                    <a:pt x="153769" y="70428"/>
                  </a:moveTo>
                  <a:cubicBezTo>
                    <a:pt x="153769" y="70428"/>
                    <a:pt x="88025" y="161470"/>
                    <a:pt x="9242" y="183566"/>
                  </a:cubicBezTo>
                  <a:cubicBezTo>
                    <a:pt x="9242" y="183566"/>
                    <a:pt x="-16602" y="83311"/>
                    <a:pt x="18144" y="0"/>
                  </a:cubicBezTo>
                  <a:cubicBezTo>
                    <a:pt x="18144" y="0"/>
                    <a:pt x="130657" y="46614"/>
                    <a:pt x="153769" y="70428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E30D291B-5726-443F-A83D-045C2A96CA03}"/>
                </a:ext>
              </a:extLst>
            </p:cNvPr>
            <p:cNvSpPr/>
            <p:nvPr/>
          </p:nvSpPr>
          <p:spPr>
            <a:xfrm>
              <a:off x="7555890" y="3356449"/>
              <a:ext cx="114126" cy="146627"/>
            </a:xfrm>
            <a:custGeom>
              <a:avLst/>
              <a:gdLst>
                <a:gd name="connsiteX0" fmla="*/ 71834 w 71833"/>
                <a:gd name="connsiteY0" fmla="*/ 39665 h 92290"/>
                <a:gd name="connsiteX1" fmla="*/ 0 w 71833"/>
                <a:gd name="connsiteY1" fmla="*/ 0 h 92290"/>
                <a:gd name="connsiteX2" fmla="*/ 55359 w 71833"/>
                <a:gd name="connsiteY2" fmla="*/ 92291 h 92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833" h="92290">
                  <a:moveTo>
                    <a:pt x="71834" y="39665"/>
                  </a:moveTo>
                  <a:cubicBezTo>
                    <a:pt x="71834" y="39665"/>
                    <a:pt x="52626" y="10228"/>
                    <a:pt x="0" y="0"/>
                  </a:cubicBezTo>
                  <a:lnTo>
                    <a:pt x="55359" y="92291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BBC4E41-6AA5-40FA-9A8A-54736AE8A9F6}"/>
                </a:ext>
              </a:extLst>
            </p:cNvPr>
            <p:cNvSpPr/>
            <p:nvPr/>
          </p:nvSpPr>
          <p:spPr>
            <a:xfrm>
              <a:off x="7492899" y="3433609"/>
              <a:ext cx="194363" cy="154690"/>
            </a:xfrm>
            <a:custGeom>
              <a:avLst/>
              <a:gdLst>
                <a:gd name="connsiteX0" fmla="*/ 122335 w 122335"/>
                <a:gd name="connsiteY0" fmla="*/ 27094 h 97365"/>
                <a:gd name="connsiteX1" fmla="*/ 62838 w 122335"/>
                <a:gd name="connsiteY1" fmla="*/ 97366 h 97365"/>
                <a:gd name="connsiteX2" fmla="*/ 53078 w 122335"/>
                <a:gd name="connsiteY2" fmla="*/ 66134 h 97365"/>
                <a:gd name="connsiteX3" fmla="*/ 27702 w 122335"/>
                <a:gd name="connsiteY3" fmla="*/ 78549 h 97365"/>
                <a:gd name="connsiteX4" fmla="*/ 15287 w 122335"/>
                <a:gd name="connsiteY4" fmla="*/ 50518 h 97365"/>
                <a:gd name="connsiteX5" fmla="*/ 1623 w 122335"/>
                <a:gd name="connsiteY5" fmla="*/ 68086 h 97365"/>
                <a:gd name="connsiteX6" fmla="*/ 12086 w 122335"/>
                <a:gd name="connsiteY6" fmla="*/ 0 h 9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35" h="97365">
                  <a:moveTo>
                    <a:pt x="122335" y="27094"/>
                  </a:moveTo>
                  <a:cubicBezTo>
                    <a:pt x="122335" y="27094"/>
                    <a:pt x="118275" y="67149"/>
                    <a:pt x="62838" y="97366"/>
                  </a:cubicBezTo>
                  <a:lnTo>
                    <a:pt x="53078" y="66134"/>
                  </a:lnTo>
                  <a:lnTo>
                    <a:pt x="27702" y="78549"/>
                  </a:lnTo>
                  <a:lnTo>
                    <a:pt x="15287" y="50518"/>
                  </a:lnTo>
                  <a:lnTo>
                    <a:pt x="1623" y="68086"/>
                  </a:lnTo>
                  <a:cubicBezTo>
                    <a:pt x="-2462" y="44858"/>
                    <a:pt x="1214" y="20930"/>
                    <a:pt x="12086" y="0"/>
                  </a:cubicBezTo>
                  <a:close/>
                </a:path>
              </a:pathLst>
            </a:custGeom>
            <a:solidFill>
              <a:srgbClr val="9CA1AF">
                <a:alpha val="40000"/>
              </a:srgb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BD650D85-BB7B-4440-B727-9144F70E0C4B}"/>
                </a:ext>
              </a:extLst>
            </p:cNvPr>
            <p:cNvSpPr/>
            <p:nvPr/>
          </p:nvSpPr>
          <p:spPr>
            <a:xfrm>
              <a:off x="7542095" y="3302983"/>
              <a:ext cx="158687" cy="217461"/>
            </a:xfrm>
            <a:custGeom>
              <a:avLst/>
              <a:gdLst>
                <a:gd name="connsiteX0" fmla="*/ 99880 w 99880"/>
                <a:gd name="connsiteY0" fmla="*/ 8745 h 136874"/>
                <a:gd name="connsiteX1" fmla="*/ 67477 w 99880"/>
                <a:gd name="connsiteY1" fmla="*/ 104081 h 136874"/>
                <a:gd name="connsiteX2" fmla="*/ 2202 w 99880"/>
                <a:gd name="connsiteY2" fmla="*/ 136874 h 136874"/>
                <a:gd name="connsiteX3" fmla="*/ 16 w 99880"/>
                <a:gd name="connsiteY3" fmla="*/ 97834 h 136874"/>
                <a:gd name="connsiteX4" fmla="*/ 797 w 99880"/>
                <a:gd name="connsiteY4" fmla="*/ 0 h 13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80" h="136874">
                  <a:moveTo>
                    <a:pt x="99880" y="8745"/>
                  </a:moveTo>
                  <a:cubicBezTo>
                    <a:pt x="86652" y="39646"/>
                    <a:pt x="75819" y="71519"/>
                    <a:pt x="67477" y="104081"/>
                  </a:cubicBezTo>
                  <a:lnTo>
                    <a:pt x="2202" y="136874"/>
                  </a:lnTo>
                  <a:cubicBezTo>
                    <a:pt x="2202" y="136874"/>
                    <a:pt x="-218" y="107516"/>
                    <a:pt x="16" y="97834"/>
                  </a:cubicBezTo>
                  <a:lnTo>
                    <a:pt x="797" y="0"/>
                  </a:ln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D8EE6974-63E0-466E-BF12-B3B0F0D646EE}"/>
                </a:ext>
              </a:extLst>
            </p:cNvPr>
            <p:cNvSpPr/>
            <p:nvPr/>
          </p:nvSpPr>
          <p:spPr>
            <a:xfrm>
              <a:off x="7497212" y="3404580"/>
              <a:ext cx="52102" cy="121693"/>
            </a:xfrm>
            <a:custGeom>
              <a:avLst/>
              <a:gdLst>
                <a:gd name="connsiteX0" fmla="*/ 28500 w 32794"/>
                <a:gd name="connsiteY0" fmla="*/ 38572 h 76596"/>
                <a:gd name="connsiteX1" fmla="*/ 1 w 32794"/>
                <a:gd name="connsiteY1" fmla="*/ 76597 h 76596"/>
                <a:gd name="connsiteX2" fmla="*/ 32795 w 32794"/>
                <a:gd name="connsiteY2" fmla="*/ 0 h 7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94" h="76596">
                  <a:moveTo>
                    <a:pt x="28500" y="38572"/>
                  </a:moveTo>
                  <a:lnTo>
                    <a:pt x="1" y="76597"/>
                  </a:lnTo>
                  <a:cubicBezTo>
                    <a:pt x="1" y="76597"/>
                    <a:pt x="-702" y="6324"/>
                    <a:pt x="32795" y="0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F1EC191F-7145-4562-B0DA-5F65B49A00A4}"/>
                </a:ext>
              </a:extLst>
            </p:cNvPr>
            <p:cNvSpPr/>
            <p:nvPr/>
          </p:nvSpPr>
          <p:spPr>
            <a:xfrm>
              <a:off x="7564575" y="3419095"/>
              <a:ext cx="122687" cy="144395"/>
            </a:xfrm>
            <a:custGeom>
              <a:avLst/>
              <a:gdLst>
                <a:gd name="connsiteX0" fmla="*/ 77221 w 77221"/>
                <a:gd name="connsiteY0" fmla="*/ 36229 h 90885"/>
                <a:gd name="connsiteX1" fmla="*/ 66368 w 77221"/>
                <a:gd name="connsiteY1" fmla="*/ 0 h 90885"/>
                <a:gd name="connsiteX2" fmla="*/ 0 w 77221"/>
                <a:gd name="connsiteY2" fmla="*/ 36229 h 90885"/>
                <a:gd name="connsiteX3" fmla="*/ 21862 w 77221"/>
                <a:gd name="connsiteY3" fmla="*/ 90885 h 90885"/>
                <a:gd name="connsiteX4" fmla="*/ 77221 w 77221"/>
                <a:gd name="connsiteY4" fmla="*/ 36229 h 9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21" h="90885">
                  <a:moveTo>
                    <a:pt x="77221" y="36229"/>
                  </a:moveTo>
                  <a:lnTo>
                    <a:pt x="66368" y="0"/>
                  </a:lnTo>
                  <a:cubicBezTo>
                    <a:pt x="66368" y="0"/>
                    <a:pt x="49893" y="27328"/>
                    <a:pt x="0" y="36229"/>
                  </a:cubicBezTo>
                  <a:lnTo>
                    <a:pt x="21862" y="90885"/>
                  </a:lnTo>
                  <a:cubicBezTo>
                    <a:pt x="21862" y="90885"/>
                    <a:pt x="64260" y="69960"/>
                    <a:pt x="77221" y="36229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0AF85A01-B97C-42F4-A003-8EC24387B855}"/>
                </a:ext>
              </a:extLst>
            </p:cNvPr>
            <p:cNvSpPr/>
            <p:nvPr/>
          </p:nvSpPr>
          <p:spPr>
            <a:xfrm>
              <a:off x="7545595" y="3477027"/>
              <a:ext cx="39943" cy="51729"/>
            </a:xfrm>
            <a:custGeom>
              <a:avLst/>
              <a:gdLst>
                <a:gd name="connsiteX0" fmla="*/ 11946 w 25141"/>
                <a:gd name="connsiteY0" fmla="*/ 0 h 32559"/>
                <a:gd name="connsiteX1" fmla="*/ 0 w 25141"/>
                <a:gd name="connsiteY1" fmla="*/ 27328 h 32559"/>
                <a:gd name="connsiteX2" fmla="*/ 25142 w 25141"/>
                <a:gd name="connsiteY2" fmla="*/ 32559 h 32559"/>
                <a:gd name="connsiteX3" fmla="*/ 11946 w 25141"/>
                <a:gd name="connsiteY3" fmla="*/ 0 h 3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41" h="32559">
                  <a:moveTo>
                    <a:pt x="11946" y="0"/>
                  </a:moveTo>
                  <a:lnTo>
                    <a:pt x="0" y="27328"/>
                  </a:lnTo>
                  <a:lnTo>
                    <a:pt x="25142" y="32559"/>
                  </a:lnTo>
                  <a:lnTo>
                    <a:pt x="11946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B3049A28-DB12-45E5-A673-1E00508D5B28}"/>
                </a:ext>
              </a:extLst>
            </p:cNvPr>
            <p:cNvSpPr/>
            <p:nvPr/>
          </p:nvSpPr>
          <p:spPr>
            <a:xfrm>
              <a:off x="7518179" y="3465862"/>
              <a:ext cx="27414" cy="54582"/>
            </a:xfrm>
            <a:custGeom>
              <a:avLst/>
              <a:gdLst>
                <a:gd name="connsiteX0" fmla="*/ 15304 w 17255"/>
                <a:gd name="connsiteY0" fmla="*/ 0 h 34355"/>
                <a:gd name="connsiteX1" fmla="*/ 17256 w 17255"/>
                <a:gd name="connsiteY1" fmla="*/ 34355 h 34355"/>
                <a:gd name="connsiteX2" fmla="*/ 0 w 17255"/>
                <a:gd name="connsiteY2" fmla="*/ 20223 h 34355"/>
                <a:gd name="connsiteX3" fmla="*/ 15304 w 17255"/>
                <a:gd name="connsiteY3" fmla="*/ 0 h 3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4355">
                  <a:moveTo>
                    <a:pt x="15304" y="0"/>
                  </a:moveTo>
                  <a:lnTo>
                    <a:pt x="17256" y="34355"/>
                  </a:lnTo>
                  <a:lnTo>
                    <a:pt x="0" y="20223"/>
                  </a:lnTo>
                  <a:lnTo>
                    <a:pt x="15304" y="0"/>
                  </a:ln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4230383B-1756-4664-90E0-069E32204BDF}"/>
                </a:ext>
              </a:extLst>
            </p:cNvPr>
            <p:cNvSpPr/>
            <p:nvPr/>
          </p:nvSpPr>
          <p:spPr>
            <a:xfrm>
              <a:off x="7540012" y="3517537"/>
              <a:ext cx="45526" cy="27718"/>
            </a:xfrm>
            <a:custGeom>
              <a:avLst/>
              <a:gdLst>
                <a:gd name="connsiteX0" fmla="*/ 3514 w 28655"/>
                <a:gd name="connsiteY0" fmla="*/ 1830 h 17446"/>
                <a:gd name="connsiteX1" fmla="*/ 0 w 28655"/>
                <a:gd name="connsiteY1" fmla="*/ 17446 h 17446"/>
                <a:gd name="connsiteX2" fmla="*/ 28655 w 28655"/>
                <a:gd name="connsiteY2" fmla="*/ 7062 h 17446"/>
                <a:gd name="connsiteX3" fmla="*/ 3514 w 28655"/>
                <a:gd name="connsiteY3" fmla="*/ 1830 h 1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55" h="17446">
                  <a:moveTo>
                    <a:pt x="3514" y="1830"/>
                  </a:moveTo>
                  <a:lnTo>
                    <a:pt x="0" y="17446"/>
                  </a:lnTo>
                  <a:lnTo>
                    <a:pt x="28655" y="7062"/>
                  </a:lnTo>
                  <a:cubicBezTo>
                    <a:pt x="28655" y="7062"/>
                    <a:pt x="23892" y="-4338"/>
                    <a:pt x="3514" y="1830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95CFE910-8B7A-460E-A730-6EC94F6C20E5}"/>
                </a:ext>
              </a:extLst>
            </p:cNvPr>
            <p:cNvSpPr/>
            <p:nvPr/>
          </p:nvSpPr>
          <p:spPr>
            <a:xfrm>
              <a:off x="7518551" y="3497523"/>
              <a:ext cx="27414" cy="48227"/>
            </a:xfrm>
            <a:custGeom>
              <a:avLst/>
              <a:gdLst>
                <a:gd name="connsiteX0" fmla="*/ 0 w 17255"/>
                <a:gd name="connsiteY0" fmla="*/ 295 h 30355"/>
                <a:gd name="connsiteX1" fmla="*/ 13742 w 17255"/>
                <a:gd name="connsiteY1" fmla="*/ 30355 h 30355"/>
                <a:gd name="connsiteX2" fmla="*/ 17256 w 17255"/>
                <a:gd name="connsiteY2" fmla="*/ 14739 h 30355"/>
                <a:gd name="connsiteX3" fmla="*/ 0 w 17255"/>
                <a:gd name="connsiteY3" fmla="*/ 295 h 3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55" h="30355">
                  <a:moveTo>
                    <a:pt x="0" y="295"/>
                  </a:moveTo>
                  <a:lnTo>
                    <a:pt x="13742" y="30355"/>
                  </a:lnTo>
                  <a:lnTo>
                    <a:pt x="17256" y="14739"/>
                  </a:lnTo>
                  <a:cubicBezTo>
                    <a:pt x="17256" y="14739"/>
                    <a:pt x="8901" y="-2438"/>
                    <a:pt x="0" y="295"/>
                  </a:cubicBezTo>
                  <a:close/>
                </a:path>
              </a:pathLst>
            </a:custGeom>
            <a:solidFill>
              <a:srgbClr val="D7DAE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BDB88691-A622-4E32-A926-E5ACE406310A}"/>
                </a:ext>
              </a:extLst>
            </p:cNvPr>
            <p:cNvSpPr/>
            <p:nvPr/>
          </p:nvSpPr>
          <p:spPr>
            <a:xfrm>
              <a:off x="7393756" y="3761972"/>
              <a:ext cx="233836" cy="112046"/>
            </a:xfrm>
            <a:custGeom>
              <a:avLst/>
              <a:gdLst>
                <a:gd name="connsiteX0" fmla="*/ 31701 w 147180"/>
                <a:gd name="connsiteY0" fmla="*/ 62464 h 70524"/>
                <a:gd name="connsiteX1" fmla="*/ 0 w 147180"/>
                <a:gd name="connsiteY1" fmla="*/ 0 h 70524"/>
                <a:gd name="connsiteX2" fmla="*/ 147181 w 147180"/>
                <a:gd name="connsiteY2" fmla="*/ 46301 h 70524"/>
                <a:gd name="connsiteX3" fmla="*/ 31701 w 147180"/>
                <a:gd name="connsiteY3" fmla="*/ 62464 h 70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180" h="70524">
                  <a:moveTo>
                    <a:pt x="31701" y="62464"/>
                  </a:moveTo>
                  <a:cubicBezTo>
                    <a:pt x="23276" y="40623"/>
                    <a:pt x="12654" y="19694"/>
                    <a:pt x="0" y="0"/>
                  </a:cubicBezTo>
                  <a:cubicBezTo>
                    <a:pt x="24361" y="20457"/>
                    <a:pt x="73786" y="39040"/>
                    <a:pt x="147181" y="46301"/>
                  </a:cubicBezTo>
                  <a:cubicBezTo>
                    <a:pt x="146791" y="46380"/>
                    <a:pt x="111733" y="87450"/>
                    <a:pt x="31701" y="6246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C821A9B2-B196-4663-99D5-57C12332DF51}"/>
                </a:ext>
              </a:extLst>
            </p:cNvPr>
            <p:cNvSpPr/>
            <p:nvPr/>
          </p:nvSpPr>
          <p:spPr>
            <a:xfrm>
              <a:off x="7410489" y="3105369"/>
              <a:ext cx="28544" cy="124051"/>
            </a:xfrm>
            <a:custGeom>
              <a:avLst/>
              <a:gdLst>
                <a:gd name="connsiteX0" fmla="*/ 398 w 17966"/>
                <a:gd name="connsiteY0" fmla="*/ 0 h 78080"/>
                <a:gd name="connsiteX1" fmla="*/ 13126 w 17966"/>
                <a:gd name="connsiteY1" fmla="*/ 78080 h 78080"/>
                <a:gd name="connsiteX2" fmla="*/ 17967 w 17966"/>
                <a:gd name="connsiteY2" fmla="*/ 8745 h 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6" h="78080">
                  <a:moveTo>
                    <a:pt x="398" y="0"/>
                  </a:moveTo>
                  <a:cubicBezTo>
                    <a:pt x="398" y="0"/>
                    <a:pt x="-3506" y="55671"/>
                    <a:pt x="13126" y="78080"/>
                  </a:cubicBezTo>
                  <a:lnTo>
                    <a:pt x="17967" y="8745"/>
                  </a:ln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412F7113-8816-494E-8D22-7ABA0719BB2B}"/>
                </a:ext>
              </a:extLst>
            </p:cNvPr>
            <p:cNvSpPr/>
            <p:nvPr/>
          </p:nvSpPr>
          <p:spPr>
            <a:xfrm>
              <a:off x="7681183" y="3232603"/>
              <a:ext cx="69591" cy="89405"/>
            </a:xfrm>
            <a:custGeom>
              <a:avLst/>
              <a:gdLst>
                <a:gd name="connsiteX0" fmla="*/ 0 w 43802"/>
                <a:gd name="connsiteY0" fmla="*/ 40786 h 56273"/>
                <a:gd name="connsiteX1" fmla="*/ 21862 w 43802"/>
                <a:gd name="connsiteY1" fmla="*/ 53278 h 56273"/>
                <a:gd name="connsiteX2" fmla="*/ 43803 w 43802"/>
                <a:gd name="connsiteY2" fmla="*/ 15488 h 56273"/>
                <a:gd name="connsiteX3" fmla="*/ 21862 w 43802"/>
                <a:gd name="connsiteY3" fmla="*/ 2995 h 56273"/>
                <a:gd name="connsiteX4" fmla="*/ 0 w 43802"/>
                <a:gd name="connsiteY4" fmla="*/ 40786 h 5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02" h="56273">
                  <a:moveTo>
                    <a:pt x="0" y="40786"/>
                  </a:moveTo>
                  <a:cubicBezTo>
                    <a:pt x="0" y="54684"/>
                    <a:pt x="9838" y="60228"/>
                    <a:pt x="21862" y="53278"/>
                  </a:cubicBezTo>
                  <a:cubicBezTo>
                    <a:pt x="34778" y="44896"/>
                    <a:pt x="42927" y="30860"/>
                    <a:pt x="43803" y="15488"/>
                  </a:cubicBezTo>
                  <a:cubicBezTo>
                    <a:pt x="43803" y="1589"/>
                    <a:pt x="33965" y="-3954"/>
                    <a:pt x="21862" y="2995"/>
                  </a:cubicBezTo>
                  <a:cubicBezTo>
                    <a:pt x="8977" y="11395"/>
                    <a:pt x="859" y="25427"/>
                    <a:pt x="0" y="40786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C059E563-0015-46A2-B578-8587D77F6B09}"/>
                </a:ext>
              </a:extLst>
            </p:cNvPr>
            <p:cNvSpPr/>
            <p:nvPr/>
          </p:nvSpPr>
          <p:spPr>
            <a:xfrm>
              <a:off x="7422489" y="3083376"/>
              <a:ext cx="275813" cy="354308"/>
            </a:xfrm>
            <a:custGeom>
              <a:avLst/>
              <a:gdLst>
                <a:gd name="connsiteX0" fmla="*/ 2606 w 173601"/>
                <a:gd name="connsiteY0" fmla="*/ 2131 h 223008"/>
                <a:gd name="connsiteX1" fmla="*/ 29153 w 173601"/>
                <a:gd name="connsiteY1" fmla="*/ 491 h 223008"/>
                <a:gd name="connsiteX2" fmla="*/ 29153 w 173601"/>
                <a:gd name="connsiteY2" fmla="*/ 491 h 223008"/>
                <a:gd name="connsiteX3" fmla="*/ 166496 w 173601"/>
                <a:gd name="connsiteY3" fmla="*/ 13296 h 223008"/>
                <a:gd name="connsiteX4" fmla="*/ 173601 w 173601"/>
                <a:gd name="connsiteY4" fmla="*/ 119485 h 223008"/>
                <a:gd name="connsiteX5" fmla="*/ 171024 w 173601"/>
                <a:gd name="connsiteY5" fmla="*/ 146189 h 223008"/>
                <a:gd name="connsiteX6" fmla="*/ 56403 w 173601"/>
                <a:gd name="connsiteY6" fmla="*/ 220989 h 223008"/>
                <a:gd name="connsiteX7" fmla="*/ 654 w 173601"/>
                <a:gd name="connsiteY7" fmla="*/ 86145 h 223008"/>
                <a:gd name="connsiteX8" fmla="*/ 2606 w 173601"/>
                <a:gd name="connsiteY8" fmla="*/ 2131 h 22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601" h="223008">
                  <a:moveTo>
                    <a:pt x="2606" y="2131"/>
                  </a:moveTo>
                  <a:cubicBezTo>
                    <a:pt x="11291" y="34"/>
                    <a:pt x="20276" y="-521"/>
                    <a:pt x="29153" y="491"/>
                  </a:cubicBezTo>
                  <a:lnTo>
                    <a:pt x="29153" y="491"/>
                  </a:lnTo>
                  <a:lnTo>
                    <a:pt x="166496" y="13296"/>
                  </a:lnTo>
                  <a:lnTo>
                    <a:pt x="173601" y="119485"/>
                  </a:lnTo>
                  <a:lnTo>
                    <a:pt x="171024" y="146189"/>
                  </a:lnTo>
                  <a:cubicBezTo>
                    <a:pt x="148615" y="191007"/>
                    <a:pt x="83887" y="232779"/>
                    <a:pt x="56403" y="220989"/>
                  </a:cubicBezTo>
                  <a:cubicBezTo>
                    <a:pt x="14005" y="202875"/>
                    <a:pt x="5807" y="157198"/>
                    <a:pt x="654" y="86145"/>
                  </a:cubicBezTo>
                  <a:cubicBezTo>
                    <a:pt x="-653" y="58129"/>
                    <a:pt x="-1" y="30056"/>
                    <a:pt x="2606" y="2131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134BEAB6-7352-4E65-ADDD-61B528F59A52}"/>
                </a:ext>
              </a:extLst>
            </p:cNvPr>
            <p:cNvSpPr/>
            <p:nvPr/>
          </p:nvSpPr>
          <p:spPr>
            <a:xfrm>
              <a:off x="7386667" y="2917472"/>
              <a:ext cx="422827" cy="352155"/>
            </a:xfrm>
            <a:custGeom>
              <a:avLst/>
              <a:gdLst>
                <a:gd name="connsiteX0" fmla="*/ 195367 w 266134"/>
                <a:gd name="connsiteY0" fmla="*/ 212274 h 221653"/>
                <a:gd name="connsiteX1" fmla="*/ 178580 w 266134"/>
                <a:gd name="connsiteY1" fmla="*/ 210479 h 221653"/>
                <a:gd name="connsiteX2" fmla="*/ 129858 w 266134"/>
                <a:gd name="connsiteY2" fmla="*/ 138879 h 221653"/>
                <a:gd name="connsiteX3" fmla="*/ 4305 w 266134"/>
                <a:gd name="connsiteY3" fmla="*/ 117017 h 221653"/>
                <a:gd name="connsiteX4" fmla="*/ 233002 w 266134"/>
                <a:gd name="connsiteY4" fmla="*/ 25897 h 221653"/>
                <a:gd name="connsiteX5" fmla="*/ 222461 w 266134"/>
                <a:gd name="connsiteY5" fmla="*/ 199625 h 221653"/>
                <a:gd name="connsiteX6" fmla="*/ 195367 w 266134"/>
                <a:gd name="connsiteY6" fmla="*/ 212274 h 2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134" h="221653">
                  <a:moveTo>
                    <a:pt x="195367" y="212274"/>
                  </a:moveTo>
                  <a:cubicBezTo>
                    <a:pt x="195367" y="212274"/>
                    <a:pt x="179751" y="234527"/>
                    <a:pt x="178580" y="210479"/>
                  </a:cubicBezTo>
                  <a:cubicBezTo>
                    <a:pt x="177559" y="179196"/>
                    <a:pt x="158583" y="151309"/>
                    <a:pt x="129858" y="138879"/>
                  </a:cubicBezTo>
                  <a:cubicBezTo>
                    <a:pt x="75202" y="147077"/>
                    <a:pt x="29213" y="139426"/>
                    <a:pt x="4305" y="117017"/>
                  </a:cubicBezTo>
                  <a:cubicBezTo>
                    <a:pt x="-27864" y="88205"/>
                    <a:pt x="127360" y="-58585"/>
                    <a:pt x="233002" y="25897"/>
                  </a:cubicBezTo>
                  <a:cubicBezTo>
                    <a:pt x="313268" y="90001"/>
                    <a:pt x="222461" y="199625"/>
                    <a:pt x="222461" y="199625"/>
                  </a:cubicBezTo>
                  <a:cubicBezTo>
                    <a:pt x="222461" y="199625"/>
                    <a:pt x="209890" y="192832"/>
                    <a:pt x="195367" y="212274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D854B0DE-13D7-4B09-9FA0-045E230F9A88}"/>
                </a:ext>
              </a:extLst>
            </p:cNvPr>
            <p:cNvSpPr/>
            <p:nvPr/>
          </p:nvSpPr>
          <p:spPr>
            <a:xfrm>
              <a:off x="7699295" y="3255916"/>
              <a:ext cx="33369" cy="42776"/>
            </a:xfrm>
            <a:custGeom>
              <a:avLst/>
              <a:gdLst>
                <a:gd name="connsiteX0" fmla="*/ 0 w 21003"/>
                <a:gd name="connsiteY0" fmla="*/ 19474 h 26924"/>
                <a:gd name="connsiteX1" fmla="*/ 10463 w 21003"/>
                <a:gd name="connsiteY1" fmla="*/ 25486 h 26924"/>
                <a:gd name="connsiteX2" fmla="*/ 21004 w 21003"/>
                <a:gd name="connsiteY2" fmla="*/ 7450 h 26924"/>
                <a:gd name="connsiteX3" fmla="*/ 10463 w 21003"/>
                <a:gd name="connsiteY3" fmla="*/ 1438 h 26924"/>
                <a:gd name="connsiteX4" fmla="*/ 0 w 21003"/>
                <a:gd name="connsiteY4" fmla="*/ 19474 h 2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03" h="26924">
                  <a:moveTo>
                    <a:pt x="0" y="19474"/>
                  </a:moveTo>
                  <a:cubicBezTo>
                    <a:pt x="0" y="26111"/>
                    <a:pt x="4685" y="28844"/>
                    <a:pt x="10463" y="25486"/>
                  </a:cubicBezTo>
                  <a:cubicBezTo>
                    <a:pt x="16667" y="21514"/>
                    <a:pt x="20587" y="14805"/>
                    <a:pt x="21004" y="7450"/>
                  </a:cubicBezTo>
                  <a:cubicBezTo>
                    <a:pt x="21004" y="813"/>
                    <a:pt x="16319" y="-1920"/>
                    <a:pt x="10463" y="1438"/>
                  </a:cubicBezTo>
                  <a:cubicBezTo>
                    <a:pt x="4344" y="5481"/>
                    <a:pt x="472" y="12156"/>
                    <a:pt x="0" y="19474"/>
                  </a:cubicBezTo>
                  <a:close/>
                </a:path>
              </a:pathLst>
            </a:custGeom>
            <a:solidFill>
              <a:srgbClr val="E2A25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EB1E2BB0-809A-44F1-A2E0-D96657704D0A}"/>
                </a:ext>
              </a:extLst>
            </p:cNvPr>
            <p:cNvSpPr/>
            <p:nvPr/>
          </p:nvSpPr>
          <p:spPr>
            <a:xfrm>
              <a:off x="7610349" y="3678114"/>
              <a:ext cx="33741" cy="29648"/>
            </a:xfrm>
            <a:custGeom>
              <a:avLst/>
              <a:gdLst>
                <a:gd name="connsiteX0" fmla="*/ 0 w 21237"/>
                <a:gd name="connsiteY0" fmla="*/ 10541 h 18661"/>
                <a:gd name="connsiteX1" fmla="*/ 17724 w 21237"/>
                <a:gd name="connsiteY1" fmla="*/ 18661 h 18661"/>
                <a:gd name="connsiteX2" fmla="*/ 21238 w 21237"/>
                <a:gd name="connsiteY2" fmla="*/ 8120 h 18661"/>
                <a:gd name="connsiteX3" fmla="*/ 3514 w 21237"/>
                <a:gd name="connsiteY3" fmla="*/ 0 h 18661"/>
                <a:gd name="connsiteX4" fmla="*/ 0 w 21237"/>
                <a:gd name="connsiteY4" fmla="*/ 10541 h 1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37" h="18661">
                  <a:moveTo>
                    <a:pt x="0" y="10541"/>
                  </a:moveTo>
                  <a:lnTo>
                    <a:pt x="17724" y="18661"/>
                  </a:lnTo>
                  <a:lnTo>
                    <a:pt x="21238" y="8120"/>
                  </a:lnTo>
                  <a:lnTo>
                    <a:pt x="3514" y="0"/>
                  </a:lnTo>
                  <a:lnTo>
                    <a:pt x="0" y="10541"/>
                  </a:lnTo>
                  <a:close/>
                </a:path>
              </a:pathLst>
            </a:custGeom>
            <a:solidFill>
              <a:srgbClr val="2A3038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8B829F95-66B8-4744-88E3-254B43407274}"/>
                </a:ext>
              </a:extLst>
            </p:cNvPr>
            <p:cNvSpPr/>
            <p:nvPr/>
          </p:nvSpPr>
          <p:spPr>
            <a:xfrm>
              <a:off x="7579461" y="3675260"/>
              <a:ext cx="87084" cy="70336"/>
            </a:xfrm>
            <a:custGeom>
              <a:avLst/>
              <a:gdLst>
                <a:gd name="connsiteX0" fmla="*/ 0 w 54812"/>
                <a:gd name="connsiteY0" fmla="*/ 22253 h 44271"/>
                <a:gd name="connsiteX1" fmla="*/ 48175 w 54812"/>
                <a:gd name="connsiteY1" fmla="*/ 44271 h 44271"/>
                <a:gd name="connsiteX2" fmla="*/ 54812 w 54812"/>
                <a:gd name="connsiteY2" fmla="*/ 22019 h 44271"/>
                <a:gd name="connsiteX3" fmla="*/ 6637 w 54812"/>
                <a:gd name="connsiteY3" fmla="*/ 0 h 44271"/>
                <a:gd name="connsiteX4" fmla="*/ 0 w 54812"/>
                <a:gd name="connsiteY4" fmla="*/ 22253 h 44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2" h="44271">
                  <a:moveTo>
                    <a:pt x="0" y="22253"/>
                  </a:moveTo>
                  <a:lnTo>
                    <a:pt x="48175" y="44271"/>
                  </a:lnTo>
                  <a:lnTo>
                    <a:pt x="54812" y="22019"/>
                  </a:lnTo>
                  <a:lnTo>
                    <a:pt x="6637" y="0"/>
                  </a:lnTo>
                  <a:lnTo>
                    <a:pt x="0" y="22253"/>
                  </a:lnTo>
                  <a:close/>
                </a:path>
              </a:pathLst>
            </a:custGeom>
            <a:solidFill>
              <a:srgbClr val="FFF3D7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9F62EB75-3740-4BCC-9DD6-6ED9FA7C9CD1}"/>
                </a:ext>
              </a:extLst>
            </p:cNvPr>
            <p:cNvSpPr/>
            <p:nvPr/>
          </p:nvSpPr>
          <p:spPr>
            <a:xfrm>
              <a:off x="7592982" y="3136975"/>
              <a:ext cx="84257" cy="210418"/>
            </a:xfrm>
            <a:custGeom>
              <a:avLst/>
              <a:gdLst>
                <a:gd name="connsiteX0" fmla="*/ 0 w 53033"/>
                <a:gd name="connsiteY0" fmla="*/ 720 h 132441"/>
                <a:gd name="connsiteX1" fmla="*/ 31232 w 53033"/>
                <a:gd name="connsiteY1" fmla="*/ 132441 h 132441"/>
                <a:gd name="connsiteX2" fmla="*/ 52392 w 53033"/>
                <a:gd name="connsiteY2" fmla="*/ 68806 h 132441"/>
                <a:gd name="connsiteX3" fmla="*/ 0 w 53033"/>
                <a:gd name="connsiteY3" fmla="*/ 720 h 13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033" h="132441">
                  <a:moveTo>
                    <a:pt x="0" y="720"/>
                  </a:moveTo>
                  <a:cubicBezTo>
                    <a:pt x="0" y="720"/>
                    <a:pt x="66993" y="37184"/>
                    <a:pt x="31232" y="132441"/>
                  </a:cubicBezTo>
                  <a:cubicBezTo>
                    <a:pt x="47628" y="115571"/>
                    <a:pt x="55421" y="92136"/>
                    <a:pt x="52392" y="68806"/>
                  </a:cubicBezTo>
                  <a:cubicBezTo>
                    <a:pt x="48410" y="27111"/>
                    <a:pt x="22877" y="-5292"/>
                    <a:pt x="0" y="720"/>
                  </a:cubicBezTo>
                  <a:close/>
                </a:path>
              </a:pathLst>
            </a:custGeom>
            <a:solidFill>
              <a:srgbClr val="87553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3254181-16B3-4C37-9D52-05C12DD9578A}"/>
                </a:ext>
              </a:extLst>
            </p:cNvPr>
            <p:cNvSpPr/>
            <p:nvPr/>
          </p:nvSpPr>
          <p:spPr>
            <a:xfrm>
              <a:off x="7397464" y="2921465"/>
              <a:ext cx="356821" cy="197103"/>
            </a:xfrm>
            <a:custGeom>
              <a:avLst/>
              <a:gdLst>
                <a:gd name="connsiteX0" fmla="*/ 320 w 224589"/>
                <a:gd name="connsiteY0" fmla="*/ 94671 h 124060"/>
                <a:gd name="connsiteX1" fmla="*/ 111428 w 224589"/>
                <a:gd name="connsiteY1" fmla="*/ 5894 h 124060"/>
                <a:gd name="connsiteX2" fmla="*/ 224566 w 224589"/>
                <a:gd name="connsiteY2" fmla="*/ 42045 h 124060"/>
                <a:gd name="connsiteX3" fmla="*/ 320 w 224589"/>
                <a:gd name="connsiteY3" fmla="*/ 94671 h 12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589" h="124060">
                  <a:moveTo>
                    <a:pt x="320" y="94671"/>
                  </a:moveTo>
                  <a:cubicBezTo>
                    <a:pt x="23561" y="51050"/>
                    <a:pt x="63753" y="18936"/>
                    <a:pt x="111428" y="5894"/>
                  </a:cubicBezTo>
                  <a:cubicBezTo>
                    <a:pt x="193959" y="-16671"/>
                    <a:pt x="225581" y="32129"/>
                    <a:pt x="224566" y="42045"/>
                  </a:cubicBezTo>
                  <a:cubicBezTo>
                    <a:pt x="217617" y="116456"/>
                    <a:pt x="-9674" y="154247"/>
                    <a:pt x="320" y="94671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FDC8218-EA30-4E8E-AE26-BB348A510274}"/>
                </a:ext>
              </a:extLst>
            </p:cNvPr>
            <p:cNvSpPr/>
            <p:nvPr/>
          </p:nvSpPr>
          <p:spPr>
            <a:xfrm>
              <a:off x="7741844" y="2884929"/>
              <a:ext cx="145733" cy="116592"/>
            </a:xfrm>
            <a:custGeom>
              <a:avLst/>
              <a:gdLst>
                <a:gd name="connsiteX0" fmla="*/ 0 w 91727"/>
                <a:gd name="connsiteY0" fmla="*/ 35762 h 73385"/>
                <a:gd name="connsiteX1" fmla="*/ 42554 w 91727"/>
                <a:gd name="connsiteY1" fmla="*/ 79 h 73385"/>
                <a:gd name="connsiteX2" fmla="*/ 88699 w 91727"/>
                <a:gd name="connsiteY2" fmla="*/ 67072 h 73385"/>
                <a:gd name="connsiteX3" fmla="*/ 26235 w 91727"/>
                <a:gd name="connsiteY3" fmla="*/ 69024 h 73385"/>
                <a:gd name="connsiteX4" fmla="*/ 0 w 91727"/>
                <a:gd name="connsiteY4" fmla="*/ 35762 h 7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27" h="73385">
                  <a:moveTo>
                    <a:pt x="0" y="35762"/>
                  </a:moveTo>
                  <a:cubicBezTo>
                    <a:pt x="0" y="35762"/>
                    <a:pt x="11790" y="-1951"/>
                    <a:pt x="42554" y="79"/>
                  </a:cubicBezTo>
                  <a:cubicBezTo>
                    <a:pt x="73317" y="2109"/>
                    <a:pt x="101114" y="54111"/>
                    <a:pt x="88699" y="67072"/>
                  </a:cubicBezTo>
                  <a:cubicBezTo>
                    <a:pt x="76284" y="80033"/>
                    <a:pt x="26235" y="69024"/>
                    <a:pt x="26235" y="69024"/>
                  </a:cubicBezTo>
                  <a:cubicBezTo>
                    <a:pt x="26235" y="69024"/>
                    <a:pt x="14757" y="45209"/>
                    <a:pt x="0" y="35762"/>
                  </a:cubicBezTo>
                  <a:close/>
                </a:path>
              </a:pathLst>
            </a:custGeom>
            <a:solidFill>
              <a:srgbClr val="99643F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121EA7B6-7B7A-4A73-ACE9-4EDCF1E1FA36}"/>
                </a:ext>
              </a:extLst>
            </p:cNvPr>
            <p:cNvSpPr/>
            <p:nvPr/>
          </p:nvSpPr>
          <p:spPr>
            <a:xfrm>
              <a:off x="7701775" y="3567709"/>
              <a:ext cx="136879" cy="547065"/>
            </a:xfrm>
            <a:custGeom>
              <a:avLst/>
              <a:gdLst>
                <a:gd name="connsiteX0" fmla="*/ 7808 w 86154"/>
                <a:gd name="connsiteY0" fmla="*/ 284212 h 344333"/>
                <a:gd name="connsiteX1" fmla="*/ 0 w 86154"/>
                <a:gd name="connsiteY1" fmla="*/ 146400 h 344333"/>
                <a:gd name="connsiteX2" fmla="*/ 69491 w 86154"/>
                <a:gd name="connsiteY2" fmla="*/ 0 h 344333"/>
                <a:gd name="connsiteX3" fmla="*/ 55905 w 86154"/>
                <a:gd name="connsiteY3" fmla="*/ 344333 h 344333"/>
                <a:gd name="connsiteX4" fmla="*/ 7808 w 86154"/>
                <a:gd name="connsiteY4" fmla="*/ 284212 h 34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54" h="344333">
                  <a:moveTo>
                    <a:pt x="7808" y="284212"/>
                  </a:moveTo>
                  <a:cubicBezTo>
                    <a:pt x="10150" y="259538"/>
                    <a:pt x="0" y="146400"/>
                    <a:pt x="0" y="146400"/>
                  </a:cubicBezTo>
                  <a:cubicBezTo>
                    <a:pt x="0" y="146400"/>
                    <a:pt x="7183" y="156"/>
                    <a:pt x="69491" y="0"/>
                  </a:cubicBezTo>
                  <a:cubicBezTo>
                    <a:pt x="104159" y="112670"/>
                    <a:pt x="77299" y="320128"/>
                    <a:pt x="55905" y="344333"/>
                  </a:cubicBezTo>
                  <a:cubicBezTo>
                    <a:pt x="56452" y="344333"/>
                    <a:pt x="4685" y="345192"/>
                    <a:pt x="7808" y="284212"/>
                  </a:cubicBezTo>
                  <a:close/>
                </a:path>
              </a:pathLst>
            </a:custGeom>
            <a:solidFill>
              <a:srgbClr val="E8ECF2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4F0A3C-1D8A-469D-BE19-DF24D5A757B1}"/>
                </a:ext>
              </a:extLst>
            </p:cNvPr>
            <p:cNvSpPr/>
            <p:nvPr/>
          </p:nvSpPr>
          <p:spPr>
            <a:xfrm>
              <a:off x="7383707" y="4019035"/>
              <a:ext cx="417464" cy="102301"/>
            </a:xfrm>
            <a:custGeom>
              <a:avLst/>
              <a:gdLst>
                <a:gd name="connsiteX0" fmla="*/ 256649 w 262759"/>
                <a:gd name="connsiteY0" fmla="*/ 60650 h 64390"/>
                <a:gd name="connsiteX1" fmla="*/ 0 w 262759"/>
                <a:gd name="connsiteY1" fmla="*/ 20986 h 64390"/>
                <a:gd name="connsiteX2" fmla="*/ 2342 w 262759"/>
                <a:gd name="connsiteY2" fmla="*/ 8883 h 64390"/>
                <a:gd name="connsiteX3" fmla="*/ 175836 w 262759"/>
                <a:gd name="connsiteY3" fmla="*/ 451 h 64390"/>
                <a:gd name="connsiteX4" fmla="*/ 215423 w 262759"/>
                <a:gd name="connsiteY4" fmla="*/ 1309 h 64390"/>
                <a:gd name="connsiteX5" fmla="*/ 256649 w 262759"/>
                <a:gd name="connsiteY5" fmla="*/ 60650 h 6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759" h="64390">
                  <a:moveTo>
                    <a:pt x="256649" y="60650"/>
                  </a:moveTo>
                  <a:cubicBezTo>
                    <a:pt x="244156" y="75017"/>
                    <a:pt x="44193" y="45034"/>
                    <a:pt x="0" y="20986"/>
                  </a:cubicBezTo>
                  <a:lnTo>
                    <a:pt x="2342" y="8883"/>
                  </a:lnTo>
                  <a:cubicBezTo>
                    <a:pt x="72614" y="13724"/>
                    <a:pt x="142887" y="1856"/>
                    <a:pt x="175836" y="451"/>
                  </a:cubicBezTo>
                  <a:cubicBezTo>
                    <a:pt x="189033" y="-362"/>
                    <a:pt x="202274" y="-75"/>
                    <a:pt x="215423" y="1309"/>
                  </a:cubicBezTo>
                  <a:cubicBezTo>
                    <a:pt x="257742" y="6931"/>
                    <a:pt x="272265" y="42848"/>
                    <a:pt x="256649" y="6065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302A128F-25DD-4510-A2C7-80BE0C64E8B1}"/>
                </a:ext>
              </a:extLst>
            </p:cNvPr>
            <p:cNvSpPr/>
            <p:nvPr/>
          </p:nvSpPr>
          <p:spPr>
            <a:xfrm>
              <a:off x="7344971" y="3980070"/>
              <a:ext cx="52630" cy="65076"/>
            </a:xfrm>
            <a:custGeom>
              <a:avLst/>
              <a:gdLst>
                <a:gd name="connsiteX0" fmla="*/ 33126 w 33126"/>
                <a:gd name="connsiteY0" fmla="*/ 37390 h 40960"/>
                <a:gd name="connsiteX1" fmla="*/ 98 w 33126"/>
                <a:gd name="connsiteY1" fmla="*/ 458 h 40960"/>
                <a:gd name="connsiteX2" fmla="*/ 9234 w 33126"/>
                <a:gd name="connsiteY2" fmla="*/ 19900 h 40960"/>
                <a:gd name="connsiteX3" fmla="*/ 1426 w 33126"/>
                <a:gd name="connsiteY3" fmla="*/ 22399 h 40960"/>
                <a:gd name="connsiteX4" fmla="*/ 8765 w 33126"/>
                <a:gd name="connsiteY4" fmla="*/ 36531 h 40960"/>
                <a:gd name="connsiteX5" fmla="*/ 22820 w 33126"/>
                <a:gd name="connsiteY5" fmla="*/ 40826 h 40960"/>
                <a:gd name="connsiteX6" fmla="*/ 33126 w 33126"/>
                <a:gd name="connsiteY6" fmla="*/ 37390 h 4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26" h="40960">
                  <a:moveTo>
                    <a:pt x="33126" y="37390"/>
                  </a:moveTo>
                  <a:cubicBezTo>
                    <a:pt x="27817" y="23102"/>
                    <a:pt x="1894" y="-3836"/>
                    <a:pt x="98" y="458"/>
                  </a:cubicBezTo>
                  <a:cubicBezTo>
                    <a:pt x="-1229" y="9672"/>
                    <a:pt x="11342" y="15528"/>
                    <a:pt x="9234" y="19900"/>
                  </a:cubicBezTo>
                  <a:cubicBezTo>
                    <a:pt x="7126" y="24273"/>
                    <a:pt x="1426" y="22399"/>
                    <a:pt x="1426" y="22399"/>
                  </a:cubicBezTo>
                  <a:cubicBezTo>
                    <a:pt x="-760" y="26693"/>
                    <a:pt x="4315" y="34267"/>
                    <a:pt x="8765" y="36531"/>
                  </a:cubicBezTo>
                  <a:cubicBezTo>
                    <a:pt x="13215" y="38641"/>
                    <a:pt x="17951" y="40088"/>
                    <a:pt x="22820" y="40826"/>
                  </a:cubicBezTo>
                  <a:cubicBezTo>
                    <a:pt x="27036" y="41528"/>
                    <a:pt x="29378" y="39342"/>
                    <a:pt x="33126" y="3739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A81A4C45-2E68-4EBC-9ECF-85B44C68457C}"/>
                </a:ext>
              </a:extLst>
            </p:cNvPr>
            <p:cNvSpPr/>
            <p:nvPr/>
          </p:nvSpPr>
          <p:spPr>
            <a:xfrm>
              <a:off x="7271699" y="3980159"/>
              <a:ext cx="52464" cy="38721"/>
            </a:xfrm>
            <a:custGeom>
              <a:avLst/>
              <a:gdLst>
                <a:gd name="connsiteX0" fmla="*/ 33022 w 33022"/>
                <a:gd name="connsiteY0" fmla="*/ 20390 h 24372"/>
                <a:gd name="connsiteX1" fmla="*/ 15688 w 33022"/>
                <a:gd name="connsiteY1" fmla="*/ 10162 h 24372"/>
                <a:gd name="connsiteX2" fmla="*/ 72 w 33022"/>
                <a:gd name="connsiteY2" fmla="*/ 324 h 24372"/>
                <a:gd name="connsiteX3" fmla="*/ 11941 w 33022"/>
                <a:gd name="connsiteY3" fmla="*/ 15940 h 24372"/>
                <a:gd name="connsiteX4" fmla="*/ 26151 w 33022"/>
                <a:gd name="connsiteY4" fmla="*/ 24373 h 2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22" h="24372">
                  <a:moveTo>
                    <a:pt x="33022" y="20390"/>
                  </a:moveTo>
                  <a:cubicBezTo>
                    <a:pt x="27076" y="17273"/>
                    <a:pt x="21291" y="13860"/>
                    <a:pt x="15688" y="10162"/>
                  </a:cubicBezTo>
                  <a:cubicBezTo>
                    <a:pt x="7256" y="2979"/>
                    <a:pt x="775" y="-1238"/>
                    <a:pt x="72" y="324"/>
                  </a:cubicBezTo>
                  <a:cubicBezTo>
                    <a:pt x="-630" y="1885"/>
                    <a:pt x="3820" y="8132"/>
                    <a:pt x="11941" y="15940"/>
                  </a:cubicBezTo>
                  <a:cubicBezTo>
                    <a:pt x="16235" y="18751"/>
                    <a:pt x="21388" y="21015"/>
                    <a:pt x="26151" y="24373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FB12C725-A95F-4276-B877-28DEC05867C7}"/>
                </a:ext>
              </a:extLst>
            </p:cNvPr>
            <p:cNvSpPr/>
            <p:nvPr/>
          </p:nvSpPr>
          <p:spPr>
            <a:xfrm>
              <a:off x="7292369" y="3989928"/>
              <a:ext cx="44448" cy="38380"/>
            </a:xfrm>
            <a:custGeom>
              <a:avLst/>
              <a:gdLst>
                <a:gd name="connsiteX0" fmla="*/ 27976 w 27976"/>
                <a:gd name="connsiteY0" fmla="*/ 18224 h 24157"/>
                <a:gd name="connsiteX1" fmla="*/ 14234 w 27976"/>
                <a:gd name="connsiteY1" fmla="*/ 10416 h 24157"/>
                <a:gd name="connsiteX2" fmla="*/ 102 w 27976"/>
                <a:gd name="connsiteY2" fmla="*/ 265 h 24157"/>
                <a:gd name="connsiteX3" fmla="*/ 10330 w 27976"/>
                <a:gd name="connsiteY3" fmla="*/ 15413 h 24157"/>
                <a:gd name="connsiteX4" fmla="*/ 23213 w 27976"/>
                <a:gd name="connsiteY4" fmla="*/ 24158 h 2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76" h="24157">
                  <a:moveTo>
                    <a:pt x="27976" y="18224"/>
                  </a:moveTo>
                  <a:cubicBezTo>
                    <a:pt x="27976" y="18224"/>
                    <a:pt x="21183" y="14476"/>
                    <a:pt x="14234" y="10416"/>
                  </a:cubicBezTo>
                  <a:cubicBezTo>
                    <a:pt x="6426" y="3154"/>
                    <a:pt x="882" y="-1140"/>
                    <a:pt x="102" y="265"/>
                  </a:cubicBezTo>
                  <a:cubicBezTo>
                    <a:pt x="-679" y="1671"/>
                    <a:pt x="3069" y="8073"/>
                    <a:pt x="10330" y="15413"/>
                  </a:cubicBezTo>
                  <a:cubicBezTo>
                    <a:pt x="14234" y="18302"/>
                    <a:pt x="18919" y="20800"/>
                    <a:pt x="23213" y="24158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21ABE899-4039-45D8-A52C-3AC4495FDFEE}"/>
                </a:ext>
              </a:extLst>
            </p:cNvPr>
            <p:cNvSpPr/>
            <p:nvPr/>
          </p:nvSpPr>
          <p:spPr>
            <a:xfrm>
              <a:off x="7293941" y="4007928"/>
              <a:ext cx="36299" cy="31299"/>
            </a:xfrm>
            <a:custGeom>
              <a:avLst/>
              <a:gdLst>
                <a:gd name="connsiteX0" fmla="*/ 22848 w 22847"/>
                <a:gd name="connsiteY0" fmla="*/ 15171 h 19700"/>
                <a:gd name="connsiteX1" fmla="*/ 10823 w 22847"/>
                <a:gd name="connsiteY1" fmla="*/ 7363 h 19700"/>
                <a:gd name="connsiteX2" fmla="*/ 48 w 22847"/>
                <a:gd name="connsiteY2" fmla="*/ 336 h 19700"/>
                <a:gd name="connsiteX3" fmla="*/ 6529 w 22847"/>
                <a:gd name="connsiteY3" fmla="*/ 10721 h 19700"/>
                <a:gd name="connsiteX4" fmla="*/ 19256 w 22847"/>
                <a:gd name="connsiteY4" fmla="*/ 19700 h 1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47" h="19700">
                  <a:moveTo>
                    <a:pt x="22848" y="15171"/>
                  </a:moveTo>
                  <a:cubicBezTo>
                    <a:pt x="19074" y="12224"/>
                    <a:pt x="15051" y="9611"/>
                    <a:pt x="10823" y="7363"/>
                  </a:cubicBezTo>
                  <a:cubicBezTo>
                    <a:pt x="2625" y="2913"/>
                    <a:pt x="751" y="-1225"/>
                    <a:pt x="48" y="336"/>
                  </a:cubicBezTo>
                  <a:cubicBezTo>
                    <a:pt x="-654" y="1898"/>
                    <a:pt x="6529" y="10721"/>
                    <a:pt x="6529" y="10721"/>
                  </a:cubicBezTo>
                  <a:cubicBezTo>
                    <a:pt x="10605" y="13943"/>
                    <a:pt x="14854" y="16941"/>
                    <a:pt x="19256" y="19700"/>
                  </a:cubicBezTo>
                  <a:close/>
                </a:path>
              </a:pathLst>
            </a:custGeom>
            <a:solidFill>
              <a:srgbClr val="F2B26D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628FCC5F-BAFE-49EC-BFB6-DA2D93A0C79D}"/>
                </a:ext>
              </a:extLst>
            </p:cNvPr>
            <p:cNvSpPr/>
            <p:nvPr/>
          </p:nvSpPr>
          <p:spPr>
            <a:xfrm>
              <a:off x="7312149" y="4011153"/>
              <a:ext cx="86000" cy="42339"/>
            </a:xfrm>
            <a:custGeom>
              <a:avLst/>
              <a:gdLst>
                <a:gd name="connsiteX0" fmla="*/ 46446 w 54130"/>
                <a:gd name="connsiteY0" fmla="*/ 26649 h 26649"/>
                <a:gd name="connsiteX1" fmla="*/ 7406 w 54130"/>
                <a:gd name="connsiteY1" fmla="*/ 17592 h 26649"/>
                <a:gd name="connsiteX2" fmla="*/ 5688 w 54130"/>
                <a:gd name="connsiteY2" fmla="*/ 180 h 26649"/>
                <a:gd name="connsiteX3" fmla="*/ 28565 w 54130"/>
                <a:gd name="connsiteY3" fmla="*/ 2991 h 26649"/>
                <a:gd name="connsiteX4" fmla="*/ 53785 w 54130"/>
                <a:gd name="connsiteY4" fmla="*/ 17826 h 26649"/>
                <a:gd name="connsiteX5" fmla="*/ 46446 w 54130"/>
                <a:gd name="connsiteY5" fmla="*/ 26649 h 2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30" h="26649">
                  <a:moveTo>
                    <a:pt x="46446" y="26649"/>
                  </a:moveTo>
                  <a:cubicBezTo>
                    <a:pt x="33164" y="24938"/>
                    <a:pt x="20085" y="21904"/>
                    <a:pt x="7406" y="17592"/>
                  </a:cubicBezTo>
                  <a:cubicBezTo>
                    <a:pt x="-2120" y="12673"/>
                    <a:pt x="-2198" y="-1772"/>
                    <a:pt x="5688" y="180"/>
                  </a:cubicBezTo>
                  <a:cubicBezTo>
                    <a:pt x="13187" y="1960"/>
                    <a:pt x="20859" y="2902"/>
                    <a:pt x="28565" y="2991"/>
                  </a:cubicBezTo>
                  <a:cubicBezTo>
                    <a:pt x="39159" y="2541"/>
                    <a:pt x="49031" y="8349"/>
                    <a:pt x="53785" y="17826"/>
                  </a:cubicBezTo>
                  <a:cubicBezTo>
                    <a:pt x="56050" y="23760"/>
                    <a:pt x="46446" y="26649"/>
                    <a:pt x="46446" y="26649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40076814-12C9-4686-AD95-F0AC8B2A7D19}"/>
                </a:ext>
              </a:extLst>
            </p:cNvPr>
            <p:cNvSpPr/>
            <p:nvPr/>
          </p:nvSpPr>
          <p:spPr>
            <a:xfrm>
              <a:off x="7270787" y="3994118"/>
              <a:ext cx="55856" cy="30098"/>
            </a:xfrm>
            <a:custGeom>
              <a:avLst/>
              <a:gdLst>
                <a:gd name="connsiteX0" fmla="*/ 35158 w 35157"/>
                <a:gd name="connsiteY0" fmla="*/ 12074 h 18944"/>
                <a:gd name="connsiteX1" fmla="*/ 18917 w 35157"/>
                <a:gd name="connsiteY1" fmla="*/ 7311 h 18944"/>
                <a:gd name="connsiteX2" fmla="*/ 22 w 35157"/>
                <a:gd name="connsiteY2" fmla="*/ 362 h 18944"/>
                <a:gd name="connsiteX3" fmla="*/ 16262 w 35157"/>
                <a:gd name="connsiteY3" fmla="*/ 13401 h 18944"/>
                <a:gd name="connsiteX4" fmla="*/ 31878 w 35157"/>
                <a:gd name="connsiteY4" fmla="*/ 18945 h 1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57" h="18944">
                  <a:moveTo>
                    <a:pt x="35158" y="12074"/>
                  </a:moveTo>
                  <a:cubicBezTo>
                    <a:pt x="35158" y="12074"/>
                    <a:pt x="27350" y="9966"/>
                    <a:pt x="18917" y="7311"/>
                  </a:cubicBezTo>
                  <a:cubicBezTo>
                    <a:pt x="10719" y="2938"/>
                    <a:pt x="490" y="-1278"/>
                    <a:pt x="22" y="362"/>
                  </a:cubicBezTo>
                  <a:cubicBezTo>
                    <a:pt x="-447" y="2002"/>
                    <a:pt x="6737" y="7389"/>
                    <a:pt x="16262" y="13401"/>
                  </a:cubicBezTo>
                  <a:cubicBezTo>
                    <a:pt x="21025" y="15353"/>
                    <a:pt x="26491" y="16681"/>
                    <a:pt x="31878" y="18945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2AE3D33-D5D3-43D9-AA37-1BEFD6D59D08}"/>
                </a:ext>
              </a:extLst>
            </p:cNvPr>
            <p:cNvSpPr/>
            <p:nvPr/>
          </p:nvSpPr>
          <p:spPr>
            <a:xfrm rot="21076108">
              <a:off x="7086241" y="3563114"/>
              <a:ext cx="142014" cy="394933"/>
            </a:xfrm>
            <a:custGeom>
              <a:avLst/>
              <a:gdLst>
                <a:gd name="connsiteX0" fmla="*/ 11478 w 89386"/>
                <a:gd name="connsiteY0" fmla="*/ 0 h 248578"/>
                <a:gd name="connsiteX1" fmla="*/ 55125 w 89386"/>
                <a:gd name="connsiteY1" fmla="*/ 101504 h 248578"/>
                <a:gd name="connsiteX2" fmla="*/ 71131 w 89386"/>
                <a:gd name="connsiteY2" fmla="*/ 248451 h 248578"/>
                <a:gd name="connsiteX3" fmla="*/ 20535 w 89386"/>
                <a:gd name="connsiteY3" fmla="*/ 121961 h 248578"/>
                <a:gd name="connsiteX4" fmla="*/ 0 w 89386"/>
                <a:gd name="connsiteY4" fmla="*/ 5934 h 248578"/>
                <a:gd name="connsiteX5" fmla="*/ 11478 w 89386"/>
                <a:gd name="connsiteY5" fmla="*/ 0 h 24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386" h="248578">
                  <a:moveTo>
                    <a:pt x="11478" y="0"/>
                  </a:moveTo>
                  <a:cubicBezTo>
                    <a:pt x="15616" y="4138"/>
                    <a:pt x="32169" y="48488"/>
                    <a:pt x="55125" y="101504"/>
                  </a:cubicBezTo>
                  <a:cubicBezTo>
                    <a:pt x="85654" y="171776"/>
                    <a:pt x="105877" y="243766"/>
                    <a:pt x="71131" y="248451"/>
                  </a:cubicBezTo>
                  <a:cubicBezTo>
                    <a:pt x="46536" y="251808"/>
                    <a:pt x="30217" y="188563"/>
                    <a:pt x="20535" y="121961"/>
                  </a:cubicBezTo>
                  <a:cubicBezTo>
                    <a:pt x="11478" y="63713"/>
                    <a:pt x="0" y="5934"/>
                    <a:pt x="0" y="5934"/>
                  </a:cubicBezTo>
                  <a:cubicBezTo>
                    <a:pt x="4052" y="4429"/>
                    <a:pt x="7907" y="2437"/>
                    <a:pt x="11478" y="0"/>
                  </a:cubicBezTo>
                  <a:close/>
                </a:path>
              </a:pathLst>
            </a:custGeom>
            <a:solidFill>
              <a:srgbClr val="FFC37B"/>
            </a:solidFill>
            <a:ln w="78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65"/>
            </a:p>
          </p:txBody>
        </p: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416452D9-333F-45B2-864C-7746D2A59D1D}"/>
                </a:ext>
              </a:extLst>
            </p:cNvPr>
            <p:cNvGrpSpPr/>
            <p:nvPr/>
          </p:nvGrpSpPr>
          <p:grpSpPr>
            <a:xfrm>
              <a:off x="7061656" y="3545502"/>
              <a:ext cx="91815" cy="55308"/>
              <a:chOff x="7927914" y="-933117"/>
              <a:chExt cx="57790" cy="34812"/>
            </a:xfrm>
          </p:grpSpPr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1BB6F07B-D1D1-4E73-BB31-5A4D025811DB}"/>
                  </a:ext>
                </a:extLst>
              </p:cNvPr>
              <p:cNvSpPr/>
              <p:nvPr/>
            </p:nvSpPr>
            <p:spPr>
              <a:xfrm>
                <a:off x="7943151" y="-906425"/>
                <a:ext cx="5979" cy="5934"/>
              </a:xfrm>
              <a:custGeom>
                <a:avLst/>
                <a:gdLst>
                  <a:gd name="connsiteX0" fmla="*/ 0 w 5979"/>
                  <a:gd name="connsiteY0" fmla="*/ 2577 h 5934"/>
                  <a:gd name="connsiteX1" fmla="*/ 4763 w 5979"/>
                  <a:gd name="connsiteY1" fmla="*/ 5934 h 5934"/>
                  <a:gd name="connsiteX2" fmla="*/ 3982 w 5979"/>
                  <a:gd name="connsiteY2" fmla="*/ 0 h 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9" h="5934">
                    <a:moveTo>
                      <a:pt x="0" y="2577"/>
                    </a:moveTo>
                    <a:cubicBezTo>
                      <a:pt x="1363" y="3984"/>
                      <a:pt x="2979" y="5124"/>
                      <a:pt x="4763" y="5934"/>
                    </a:cubicBezTo>
                    <a:cubicBezTo>
                      <a:pt x="4763" y="5934"/>
                      <a:pt x="7964" y="4294"/>
                      <a:pt x="398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4CC6EC42-B68F-4512-94D9-B134ED03C0BF}"/>
                  </a:ext>
                </a:extLst>
              </p:cNvPr>
              <p:cNvSpPr/>
              <p:nvPr/>
            </p:nvSpPr>
            <p:spPr>
              <a:xfrm>
                <a:off x="7937803" y="-918839"/>
                <a:ext cx="17582" cy="10931"/>
              </a:xfrm>
              <a:custGeom>
                <a:avLst/>
                <a:gdLst>
                  <a:gd name="connsiteX0" fmla="*/ 17528 w 17582"/>
                  <a:gd name="connsiteY0" fmla="*/ 8589 h 10931"/>
                  <a:gd name="connsiteX1" fmla="*/ 13781 w 17582"/>
                  <a:gd name="connsiteY1" fmla="*/ 10931 h 10931"/>
                  <a:gd name="connsiteX2" fmla="*/ 7300 w 17582"/>
                  <a:gd name="connsiteY2" fmla="*/ 9916 h 10931"/>
                  <a:gd name="connsiteX3" fmla="*/ 117 w 17582"/>
                  <a:gd name="connsiteY3" fmla="*/ 9916 h 10931"/>
                  <a:gd name="connsiteX4" fmla="*/ 117 w 17582"/>
                  <a:gd name="connsiteY4" fmla="*/ 6168 h 10931"/>
                  <a:gd name="connsiteX5" fmla="*/ 10345 w 17582"/>
                  <a:gd name="connsiteY5" fmla="*/ 0 h 10931"/>
                  <a:gd name="connsiteX6" fmla="*/ 17528 w 17582"/>
                  <a:gd name="connsiteY6" fmla="*/ 8589 h 10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82" h="10931">
                    <a:moveTo>
                      <a:pt x="17528" y="8589"/>
                    </a:moveTo>
                    <a:cubicBezTo>
                      <a:pt x="17528" y="8589"/>
                      <a:pt x="14561" y="10541"/>
                      <a:pt x="13781" y="10931"/>
                    </a:cubicBezTo>
                    <a:cubicBezTo>
                      <a:pt x="11587" y="10852"/>
                      <a:pt x="9412" y="10511"/>
                      <a:pt x="7300" y="9916"/>
                    </a:cubicBezTo>
                    <a:cubicBezTo>
                      <a:pt x="7300" y="9916"/>
                      <a:pt x="351" y="9916"/>
                      <a:pt x="117" y="9916"/>
                    </a:cubicBezTo>
                    <a:cubicBezTo>
                      <a:pt x="-39" y="8672"/>
                      <a:pt x="-39" y="7413"/>
                      <a:pt x="117" y="6168"/>
                    </a:cubicBezTo>
                    <a:lnTo>
                      <a:pt x="10345" y="0"/>
                    </a:lnTo>
                    <a:cubicBezTo>
                      <a:pt x="10345" y="0"/>
                      <a:pt x="18309" y="6481"/>
                      <a:pt x="17528" y="8589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65211842-9394-49B6-B89C-FD3076306CD2}"/>
                  </a:ext>
                </a:extLst>
              </p:cNvPr>
              <p:cNvSpPr/>
              <p:nvPr/>
            </p:nvSpPr>
            <p:spPr>
              <a:xfrm>
                <a:off x="7933313" y="-923212"/>
                <a:ext cx="19598" cy="24528"/>
              </a:xfrm>
              <a:custGeom>
                <a:avLst/>
                <a:gdLst>
                  <a:gd name="connsiteX0" fmla="*/ 19598 w 19598"/>
                  <a:gd name="connsiteY0" fmla="*/ 7574 h 24528"/>
                  <a:gd name="connsiteX1" fmla="*/ 11790 w 19598"/>
                  <a:gd name="connsiteY1" fmla="*/ 7574 h 24528"/>
                  <a:gd name="connsiteX2" fmla="*/ 5622 w 19598"/>
                  <a:gd name="connsiteY2" fmla="*/ 12337 h 24528"/>
                  <a:gd name="connsiteX3" fmla="*/ 8979 w 19598"/>
                  <a:gd name="connsiteY3" fmla="*/ 24517 h 24528"/>
                  <a:gd name="connsiteX4" fmla="*/ 547 w 19598"/>
                  <a:gd name="connsiteY4" fmla="*/ 15616 h 24528"/>
                  <a:gd name="connsiteX5" fmla="*/ 0 w 19598"/>
                  <a:gd name="connsiteY5" fmla="*/ 7808 h 24528"/>
                  <a:gd name="connsiteX6" fmla="*/ 13352 w 19598"/>
                  <a:gd name="connsiteY6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98" h="24528">
                    <a:moveTo>
                      <a:pt x="19598" y="7574"/>
                    </a:moveTo>
                    <a:lnTo>
                      <a:pt x="11790" y="7574"/>
                    </a:lnTo>
                    <a:lnTo>
                      <a:pt x="5622" y="12337"/>
                    </a:lnTo>
                    <a:cubicBezTo>
                      <a:pt x="5622" y="12337"/>
                      <a:pt x="11868" y="20613"/>
                      <a:pt x="8979" y="24517"/>
                    </a:cubicBezTo>
                    <a:cubicBezTo>
                      <a:pt x="8979" y="24517"/>
                      <a:pt x="7027" y="25220"/>
                      <a:pt x="547" y="15616"/>
                    </a:cubicBezTo>
                    <a:lnTo>
                      <a:pt x="0" y="7808"/>
                    </a:lnTo>
                    <a:lnTo>
                      <a:pt x="13352" y="0"/>
                    </a:ln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AC137991-3147-4892-A263-28FD98029E58}"/>
                  </a:ext>
                </a:extLst>
              </p:cNvPr>
              <p:cNvSpPr/>
              <p:nvPr/>
            </p:nvSpPr>
            <p:spPr>
              <a:xfrm>
                <a:off x="7927914" y="-933117"/>
                <a:ext cx="57790" cy="34812"/>
              </a:xfrm>
              <a:custGeom>
                <a:avLst/>
                <a:gdLst>
                  <a:gd name="connsiteX0" fmla="*/ 25543 w 57790"/>
                  <a:gd name="connsiteY0" fmla="*/ 223 h 34812"/>
                  <a:gd name="connsiteX1" fmla="*/ 11 w 57790"/>
                  <a:gd name="connsiteY1" fmla="*/ 18416 h 34812"/>
                  <a:gd name="connsiteX2" fmla="*/ 2041 w 57790"/>
                  <a:gd name="connsiteY2" fmla="*/ 34812 h 34812"/>
                  <a:gd name="connsiteX3" fmla="*/ 6804 w 57790"/>
                  <a:gd name="connsiteY3" fmla="*/ 19587 h 34812"/>
                  <a:gd name="connsiteX4" fmla="*/ 18126 w 57790"/>
                  <a:gd name="connsiteY4" fmla="*/ 15370 h 34812"/>
                  <a:gd name="connsiteX5" fmla="*/ 25231 w 57790"/>
                  <a:gd name="connsiteY5" fmla="*/ 20914 h 34812"/>
                  <a:gd name="connsiteX6" fmla="*/ 45688 w 57790"/>
                  <a:gd name="connsiteY6" fmla="*/ 31299 h 34812"/>
                  <a:gd name="connsiteX7" fmla="*/ 52637 w 57790"/>
                  <a:gd name="connsiteY7" fmla="*/ 31845 h 34812"/>
                  <a:gd name="connsiteX8" fmla="*/ 57790 w 57790"/>
                  <a:gd name="connsiteY8" fmla="*/ 24037 h 34812"/>
                  <a:gd name="connsiteX9" fmla="*/ 25543 w 57790"/>
                  <a:gd name="connsiteY9" fmla="*/ 223 h 34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790" h="34812">
                    <a:moveTo>
                      <a:pt x="25543" y="223"/>
                    </a:moveTo>
                    <a:cubicBezTo>
                      <a:pt x="21327" y="-2198"/>
                      <a:pt x="323" y="15839"/>
                      <a:pt x="11" y="18416"/>
                    </a:cubicBezTo>
                    <a:cubicBezTo>
                      <a:pt x="-97" y="23950"/>
                      <a:pt x="586" y="29472"/>
                      <a:pt x="2041" y="34812"/>
                    </a:cubicBezTo>
                    <a:cubicBezTo>
                      <a:pt x="7429" y="34344"/>
                      <a:pt x="6804" y="19587"/>
                      <a:pt x="6804" y="19587"/>
                    </a:cubicBezTo>
                    <a:lnTo>
                      <a:pt x="18126" y="15370"/>
                    </a:lnTo>
                    <a:cubicBezTo>
                      <a:pt x="21952" y="16932"/>
                      <a:pt x="24762" y="18103"/>
                      <a:pt x="25231" y="20914"/>
                    </a:cubicBezTo>
                    <a:cubicBezTo>
                      <a:pt x="30607" y="26687"/>
                      <a:pt x="37855" y="30366"/>
                      <a:pt x="45688" y="31299"/>
                    </a:cubicBezTo>
                    <a:lnTo>
                      <a:pt x="52637" y="31845"/>
                    </a:lnTo>
                    <a:lnTo>
                      <a:pt x="57790" y="24037"/>
                    </a:lnTo>
                    <a:cubicBezTo>
                      <a:pt x="48381" y="14430"/>
                      <a:pt x="37494" y="6390"/>
                      <a:pt x="25543" y="223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52CCE1FB-33A7-4EAE-9E3B-72045F1F749A}"/>
                  </a:ext>
                </a:extLst>
              </p:cNvPr>
              <p:cNvSpPr/>
              <p:nvPr/>
            </p:nvSpPr>
            <p:spPr>
              <a:xfrm>
                <a:off x="7930658" y="-907830"/>
                <a:ext cx="3669" cy="4138"/>
              </a:xfrm>
              <a:custGeom>
                <a:avLst/>
                <a:gdLst>
                  <a:gd name="connsiteX0" fmla="*/ 3670 w 3669"/>
                  <a:gd name="connsiteY0" fmla="*/ 2108 h 4138"/>
                  <a:gd name="connsiteX1" fmla="*/ 0 w 3669"/>
                  <a:gd name="connsiteY1" fmla="*/ 0 h 4138"/>
                  <a:gd name="connsiteX2" fmla="*/ 3201 w 3669"/>
                  <a:gd name="connsiteY2" fmla="*/ 4138 h 4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69" h="4138">
                    <a:moveTo>
                      <a:pt x="3670" y="2108"/>
                    </a:moveTo>
                    <a:lnTo>
                      <a:pt x="0" y="0"/>
                    </a:lnTo>
                    <a:cubicBezTo>
                      <a:pt x="266" y="1846"/>
                      <a:pt x="1481" y="3417"/>
                      <a:pt x="3201" y="4138"/>
                    </a:cubicBezTo>
                    <a:close/>
                  </a:path>
                </a:pathLst>
              </a:custGeom>
              <a:solidFill>
                <a:srgbClr val="F2B26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206E22D2-7864-401D-810D-A070809CA3F4}"/>
                  </a:ext>
                </a:extLst>
              </p:cNvPr>
              <p:cNvSpPr/>
              <p:nvPr/>
            </p:nvSpPr>
            <p:spPr>
              <a:xfrm>
                <a:off x="7930889" y="-917432"/>
                <a:ext cx="42713" cy="16726"/>
              </a:xfrm>
              <a:custGeom>
                <a:avLst/>
                <a:gdLst>
                  <a:gd name="connsiteX0" fmla="*/ 42713 w 42713"/>
                  <a:gd name="connsiteY0" fmla="*/ 15614 h 16726"/>
                  <a:gd name="connsiteX1" fmla="*/ 31158 w 42713"/>
                  <a:gd name="connsiteY1" fmla="*/ 16707 h 16726"/>
                  <a:gd name="connsiteX2" fmla="*/ 14292 w 42713"/>
                  <a:gd name="connsiteY2" fmla="*/ 14365 h 16726"/>
                  <a:gd name="connsiteX3" fmla="*/ 4 w 42713"/>
                  <a:gd name="connsiteY3" fmla="*/ 9602 h 16726"/>
                  <a:gd name="connsiteX4" fmla="*/ 14683 w 42713"/>
                  <a:gd name="connsiteY4" fmla="*/ 7103 h 16726"/>
                  <a:gd name="connsiteX5" fmla="*/ 22491 w 42713"/>
                  <a:gd name="connsiteY5" fmla="*/ 2419 h 16726"/>
                  <a:gd name="connsiteX6" fmla="*/ 42713 w 42713"/>
                  <a:gd name="connsiteY6" fmla="*/ 15614 h 1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713" h="16726">
                    <a:moveTo>
                      <a:pt x="42713" y="15614"/>
                    </a:moveTo>
                    <a:cubicBezTo>
                      <a:pt x="38921" y="16451"/>
                      <a:pt x="35040" y="16819"/>
                      <a:pt x="31158" y="16707"/>
                    </a:cubicBezTo>
                    <a:cubicBezTo>
                      <a:pt x="25472" y="16492"/>
                      <a:pt x="19822" y="15708"/>
                      <a:pt x="14292" y="14365"/>
                    </a:cubicBezTo>
                    <a:cubicBezTo>
                      <a:pt x="9295" y="13593"/>
                      <a:pt x="4464" y="11983"/>
                      <a:pt x="4" y="9602"/>
                    </a:cubicBezTo>
                    <a:cubicBezTo>
                      <a:pt x="4" y="9602"/>
                      <a:pt x="-621" y="5229"/>
                      <a:pt x="14683" y="7103"/>
                    </a:cubicBezTo>
                    <a:cubicBezTo>
                      <a:pt x="14683" y="7103"/>
                      <a:pt x="23896" y="8587"/>
                      <a:pt x="22491" y="2419"/>
                    </a:cubicBezTo>
                    <a:cubicBezTo>
                      <a:pt x="19524" y="-7263"/>
                      <a:pt x="41933" y="15224"/>
                      <a:pt x="42713" y="15614"/>
                    </a:cubicBezTo>
                    <a:close/>
                  </a:path>
                </a:pathLst>
              </a:custGeom>
              <a:solidFill>
                <a:srgbClr val="FFC37B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grpSp>
        <p:nvGrpSpPr>
          <p:cNvPr id="236" name="INVENTORY TABLET">
            <a:extLst>
              <a:ext uri="{FF2B5EF4-FFF2-40B4-BE49-F238E27FC236}">
                <a16:creationId xmlns:a16="http://schemas.microsoft.com/office/drawing/2014/main" id="{5FB9E8AF-140B-4DA6-BEF2-E6B633C18BD8}"/>
              </a:ext>
            </a:extLst>
          </p:cNvPr>
          <p:cNvGrpSpPr/>
          <p:nvPr/>
        </p:nvGrpSpPr>
        <p:grpSpPr>
          <a:xfrm>
            <a:off x="2535417" y="3854142"/>
            <a:ext cx="396466" cy="594772"/>
            <a:chOff x="11788353" y="4810777"/>
            <a:chExt cx="524501" cy="786849"/>
          </a:xfrm>
          <a:scene3d>
            <a:camera prst="orthographicFront">
              <a:rot lat="600000" lon="17400000" rev="1800000"/>
            </a:camera>
            <a:lightRig rig="threePt" dir="t"/>
          </a:scene3d>
        </p:grpSpPr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CE61DF80-D119-4D7A-8085-2AAF9E28313B}"/>
                </a:ext>
              </a:extLst>
            </p:cNvPr>
            <p:cNvGrpSpPr/>
            <p:nvPr/>
          </p:nvGrpSpPr>
          <p:grpSpPr>
            <a:xfrm rot="5400000">
              <a:off x="11657179" y="4941951"/>
              <a:ext cx="786849" cy="524501"/>
              <a:chOff x="10037763" y="1192213"/>
              <a:chExt cx="1186084" cy="790622"/>
            </a:xfrm>
          </p:grpSpPr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A415E46F-66C9-4C3C-A892-BC269BC036DB}"/>
                  </a:ext>
                </a:extLst>
              </p:cNvPr>
              <p:cNvGrpSpPr/>
              <p:nvPr/>
            </p:nvGrpSpPr>
            <p:grpSpPr>
              <a:xfrm>
                <a:off x="10037763" y="1192213"/>
                <a:ext cx="1186084" cy="790622"/>
                <a:chOff x="10037763" y="1192213"/>
                <a:chExt cx="1186084" cy="790622"/>
              </a:xfrm>
              <a:solidFill>
                <a:schemeClr val="tx1">
                  <a:lumMod val="85000"/>
                  <a:lumOff val="15000"/>
                </a:schemeClr>
              </a:solidFill>
            </p:grpSpPr>
            <p:sp>
              <p:nvSpPr>
                <p:cNvPr id="250" name="Rectangle: Rounded Corners 249">
                  <a:extLst>
                    <a:ext uri="{FF2B5EF4-FFF2-40B4-BE49-F238E27FC236}">
                      <a16:creationId xmlns:a16="http://schemas.microsoft.com/office/drawing/2014/main" id="{DC3D2962-3538-46A7-B20F-A831A404F2A8}"/>
                    </a:ext>
                  </a:extLst>
                </p:cNvPr>
                <p:cNvSpPr/>
                <p:nvPr/>
              </p:nvSpPr>
              <p:spPr bwMode="auto">
                <a:xfrm>
                  <a:off x="10037763" y="1192213"/>
                  <a:ext cx="1186084" cy="790622"/>
                </a:xfrm>
                <a:prstGeom prst="roundRect">
                  <a:avLst>
                    <a:gd name="adj" fmla="val 5383"/>
                  </a:avLst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id="{955E0328-A2D9-442A-A9A2-A807218BFC61}"/>
                    </a:ext>
                  </a:extLst>
                </p:cNvPr>
                <p:cNvSpPr/>
                <p:nvPr/>
              </p:nvSpPr>
              <p:spPr bwMode="auto">
                <a:xfrm>
                  <a:off x="10076286" y="1227089"/>
                  <a:ext cx="1109039" cy="720871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C9EDA50F-B117-49F0-85D3-A0478BF05978}"/>
                  </a:ext>
                </a:extLst>
              </p:cNvPr>
              <p:cNvSpPr/>
              <p:nvPr/>
            </p:nvSpPr>
            <p:spPr bwMode="auto">
              <a:xfrm>
                <a:off x="10080833" y="1233173"/>
                <a:ext cx="825733" cy="7147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568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1D26E55C-2672-4DAF-ABF7-DA77A578E213}"/>
                </a:ext>
              </a:extLst>
            </p:cNvPr>
            <p:cNvSpPr txBox="1"/>
            <p:nvPr/>
          </p:nvSpPr>
          <p:spPr>
            <a:xfrm>
              <a:off x="11857678" y="5419606"/>
              <a:ext cx="376359" cy="606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ustomer</a:t>
              </a:r>
            </a:p>
          </p:txBody>
        </p: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9012B4BD-92F1-423B-9CF3-6E5895BEE1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854269" y="4904579"/>
              <a:ext cx="126326" cy="376574"/>
              <a:chOff x="5163056" y="28891"/>
              <a:chExt cx="313069" cy="933249"/>
            </a:xfrm>
          </p:grpSpPr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A4BCDB02-17DF-4A1F-8C31-E2F004FD4FDF}"/>
                  </a:ext>
                </a:extLst>
              </p:cNvPr>
              <p:cNvSpPr/>
              <p:nvPr/>
            </p:nvSpPr>
            <p:spPr>
              <a:xfrm>
                <a:off x="5213805" y="37714"/>
                <a:ext cx="9684" cy="101972"/>
              </a:xfrm>
              <a:custGeom>
                <a:avLst/>
                <a:gdLst>
                  <a:gd name="connsiteX0" fmla="*/ 471 w 9684"/>
                  <a:gd name="connsiteY0" fmla="*/ 0 h 101972"/>
                  <a:gd name="connsiteX1" fmla="*/ 1877 w 9684"/>
                  <a:gd name="connsiteY1" fmla="*/ 96507 h 101972"/>
                  <a:gd name="connsiteX2" fmla="*/ 9685 w 9684"/>
                  <a:gd name="connsiteY2" fmla="*/ 101973 h 101972"/>
                  <a:gd name="connsiteX3" fmla="*/ 5468 w 9684"/>
                  <a:gd name="connsiteY3" fmla="*/ 468 h 10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84" h="101972">
                    <a:moveTo>
                      <a:pt x="471" y="0"/>
                    </a:moveTo>
                    <a:cubicBezTo>
                      <a:pt x="471" y="0"/>
                      <a:pt x="-1246" y="24595"/>
                      <a:pt x="1877" y="96507"/>
                    </a:cubicBezTo>
                    <a:lnTo>
                      <a:pt x="9685" y="101973"/>
                    </a:lnTo>
                    <a:cubicBezTo>
                      <a:pt x="6015" y="68270"/>
                      <a:pt x="4607" y="34359"/>
                      <a:pt x="5468" y="468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7D206808-0D35-48E6-ABF6-3B38982565E1}"/>
                  </a:ext>
                </a:extLst>
              </p:cNvPr>
              <p:cNvSpPr/>
              <p:nvPr/>
            </p:nvSpPr>
            <p:spPr>
              <a:xfrm>
                <a:off x="5414942" y="153585"/>
                <a:ext cx="9247" cy="99942"/>
              </a:xfrm>
              <a:custGeom>
                <a:avLst/>
                <a:gdLst>
                  <a:gd name="connsiteX0" fmla="*/ 8745 w 9247"/>
                  <a:gd name="connsiteY0" fmla="*/ 5075 h 99942"/>
                  <a:gd name="connsiteX1" fmla="*/ 7340 w 9247"/>
                  <a:gd name="connsiteY1" fmla="*/ 99943 h 99942"/>
                  <a:gd name="connsiteX2" fmla="*/ 0 w 9247"/>
                  <a:gd name="connsiteY2" fmla="*/ 96897 h 99942"/>
                  <a:gd name="connsiteX3" fmla="*/ 4216 w 9247"/>
                  <a:gd name="connsiteY3" fmla="*/ 0 h 9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47" h="99942">
                    <a:moveTo>
                      <a:pt x="8745" y="5075"/>
                    </a:moveTo>
                    <a:cubicBezTo>
                      <a:pt x="8745" y="5075"/>
                      <a:pt x="10541" y="31701"/>
                      <a:pt x="7340" y="99943"/>
                    </a:cubicBezTo>
                    <a:lnTo>
                      <a:pt x="0" y="96897"/>
                    </a:lnTo>
                    <a:cubicBezTo>
                      <a:pt x="3824" y="64749"/>
                      <a:pt x="5233" y="32359"/>
                      <a:pt x="4216" y="0"/>
                    </a:cubicBezTo>
                    <a:close/>
                  </a:path>
                </a:pathLst>
              </a:custGeom>
              <a:solidFill>
                <a:srgbClr val="BA274A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71501F4C-C0A1-43DE-8F0C-4896CE7712D6}"/>
                  </a:ext>
                </a:extLst>
              </p:cNvPr>
              <p:cNvSpPr/>
              <p:nvPr/>
            </p:nvSpPr>
            <p:spPr>
              <a:xfrm>
                <a:off x="5215681" y="134221"/>
                <a:ext cx="206599" cy="242204"/>
              </a:xfrm>
              <a:custGeom>
                <a:avLst/>
                <a:gdLst>
                  <a:gd name="connsiteX0" fmla="*/ 0 w 206599"/>
                  <a:gd name="connsiteY0" fmla="*/ 0 h 242204"/>
                  <a:gd name="connsiteX1" fmla="*/ 61059 w 206599"/>
                  <a:gd name="connsiteY1" fmla="*/ 192311 h 242204"/>
                  <a:gd name="connsiteX2" fmla="*/ 147415 w 206599"/>
                  <a:gd name="connsiteY2" fmla="*/ 242204 h 242204"/>
                  <a:gd name="connsiteX3" fmla="*/ 206600 w 206599"/>
                  <a:gd name="connsiteY3" fmla="*/ 119306 h 242204"/>
                  <a:gd name="connsiteX4" fmla="*/ 103925 w 206599"/>
                  <a:gd name="connsiteY4" fmla="*/ 90573 h 242204"/>
                  <a:gd name="connsiteX5" fmla="*/ 0 w 206599"/>
                  <a:gd name="connsiteY5" fmla="*/ 0 h 24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6599" h="242204">
                    <a:moveTo>
                      <a:pt x="0" y="0"/>
                    </a:moveTo>
                    <a:lnTo>
                      <a:pt x="61059" y="192311"/>
                    </a:lnTo>
                    <a:lnTo>
                      <a:pt x="147415" y="242204"/>
                    </a:lnTo>
                    <a:cubicBezTo>
                      <a:pt x="147415" y="242204"/>
                      <a:pt x="196293" y="142340"/>
                      <a:pt x="206600" y="119306"/>
                    </a:cubicBezTo>
                    <a:cubicBezTo>
                      <a:pt x="149523" y="71834"/>
                      <a:pt x="103925" y="90573"/>
                      <a:pt x="103925" y="90573"/>
                    </a:cubicBezTo>
                    <a:cubicBezTo>
                      <a:pt x="103925" y="90573"/>
                      <a:pt x="55437" y="25610"/>
                      <a:pt x="0" y="0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335A5F3-8469-4995-8B0F-072B19D6A58D}"/>
                  </a:ext>
                </a:extLst>
              </p:cNvPr>
              <p:cNvSpPr/>
              <p:nvPr/>
            </p:nvSpPr>
            <p:spPr>
              <a:xfrm>
                <a:off x="5163056" y="322711"/>
                <a:ext cx="313069" cy="639429"/>
              </a:xfrm>
              <a:custGeom>
                <a:avLst/>
                <a:gdLst>
                  <a:gd name="connsiteX0" fmla="*/ 113685 w 313069"/>
                  <a:gd name="connsiteY0" fmla="*/ 3821 h 639429"/>
                  <a:gd name="connsiteX1" fmla="*/ 0 w 313069"/>
                  <a:gd name="connsiteY1" fmla="*/ 459341 h 639429"/>
                  <a:gd name="connsiteX2" fmla="*/ 155067 w 313069"/>
                  <a:gd name="connsiteY2" fmla="*/ 585674 h 639429"/>
                  <a:gd name="connsiteX3" fmla="*/ 311696 w 313069"/>
                  <a:gd name="connsiteY3" fmla="*/ 639315 h 639429"/>
                  <a:gd name="connsiteX4" fmla="*/ 200041 w 313069"/>
                  <a:gd name="connsiteY4" fmla="*/ 53714 h 639429"/>
                  <a:gd name="connsiteX5" fmla="*/ 113685 w 313069"/>
                  <a:gd name="connsiteY5" fmla="*/ 3821 h 639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069" h="639429">
                    <a:moveTo>
                      <a:pt x="113685" y="3821"/>
                    </a:moveTo>
                    <a:cubicBezTo>
                      <a:pt x="-19052" y="212764"/>
                      <a:pt x="4841" y="294982"/>
                      <a:pt x="0" y="459341"/>
                    </a:cubicBezTo>
                    <a:cubicBezTo>
                      <a:pt x="0" y="459341"/>
                      <a:pt x="53251" y="526880"/>
                      <a:pt x="155067" y="585674"/>
                    </a:cubicBezTo>
                    <a:cubicBezTo>
                      <a:pt x="256884" y="644468"/>
                      <a:pt x="311696" y="639315"/>
                      <a:pt x="311696" y="639315"/>
                    </a:cubicBezTo>
                    <a:cubicBezTo>
                      <a:pt x="311696" y="546400"/>
                      <a:pt x="333870" y="398360"/>
                      <a:pt x="200041" y="53714"/>
                    </a:cubicBezTo>
                    <a:cubicBezTo>
                      <a:pt x="200041" y="53714"/>
                      <a:pt x="160064" y="-16948"/>
                      <a:pt x="113685" y="3821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069BB85D-1CA8-46D3-8015-0974AD3CBF2D}"/>
                  </a:ext>
                </a:extLst>
              </p:cNvPr>
              <p:cNvSpPr/>
              <p:nvPr/>
            </p:nvSpPr>
            <p:spPr>
              <a:xfrm>
                <a:off x="5243010" y="153585"/>
                <a:ext cx="232984" cy="808555"/>
              </a:xfrm>
              <a:custGeom>
                <a:avLst/>
                <a:gdLst>
                  <a:gd name="connsiteX0" fmla="*/ 120087 w 232984"/>
                  <a:gd name="connsiteY0" fmla="*/ 222841 h 808555"/>
                  <a:gd name="connsiteX1" fmla="*/ 179272 w 232984"/>
                  <a:gd name="connsiteY1" fmla="*/ 99943 h 808555"/>
                  <a:gd name="connsiteX2" fmla="*/ 180677 w 232984"/>
                  <a:gd name="connsiteY2" fmla="*/ 5075 h 808555"/>
                  <a:gd name="connsiteX3" fmla="*/ 176149 w 232984"/>
                  <a:gd name="connsiteY3" fmla="*/ 0 h 808555"/>
                  <a:gd name="connsiteX4" fmla="*/ 172245 w 232984"/>
                  <a:gd name="connsiteY4" fmla="*/ 94477 h 808555"/>
                  <a:gd name="connsiteX5" fmla="*/ 158659 w 232984"/>
                  <a:gd name="connsiteY5" fmla="*/ 85185 h 808555"/>
                  <a:gd name="connsiteX6" fmla="*/ 99630 w 232984"/>
                  <a:gd name="connsiteY6" fmla="*/ 207615 h 808555"/>
                  <a:gd name="connsiteX7" fmla="*/ 211285 w 232984"/>
                  <a:gd name="connsiteY7" fmla="*/ 793216 h 808555"/>
                  <a:gd name="connsiteX8" fmla="*/ 54656 w 232984"/>
                  <a:gd name="connsiteY8" fmla="*/ 739575 h 808555"/>
                  <a:gd name="connsiteX9" fmla="*/ 0 w 232984"/>
                  <a:gd name="connsiteY9" fmla="*/ 704361 h 808555"/>
                  <a:gd name="connsiteX10" fmla="*/ 74801 w 232984"/>
                  <a:gd name="connsiteY10" fmla="*/ 754800 h 808555"/>
                  <a:gd name="connsiteX11" fmla="*/ 231429 w 232984"/>
                  <a:gd name="connsiteY11" fmla="*/ 808441 h 808555"/>
                  <a:gd name="connsiteX12" fmla="*/ 120087 w 232984"/>
                  <a:gd name="connsiteY12" fmla="*/ 222841 h 80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2984" h="808555">
                    <a:moveTo>
                      <a:pt x="120087" y="222841"/>
                    </a:moveTo>
                    <a:cubicBezTo>
                      <a:pt x="120087" y="222841"/>
                      <a:pt x="168965" y="122976"/>
                      <a:pt x="179272" y="99943"/>
                    </a:cubicBezTo>
                    <a:cubicBezTo>
                      <a:pt x="182473" y="31701"/>
                      <a:pt x="180677" y="5075"/>
                      <a:pt x="180677" y="5075"/>
                    </a:cubicBezTo>
                    <a:lnTo>
                      <a:pt x="176149" y="0"/>
                    </a:lnTo>
                    <a:cubicBezTo>
                      <a:pt x="177087" y="31545"/>
                      <a:pt x="175783" y="63117"/>
                      <a:pt x="172245" y="94477"/>
                    </a:cubicBezTo>
                    <a:cubicBezTo>
                      <a:pt x="167881" y="91146"/>
                      <a:pt x="163346" y="88044"/>
                      <a:pt x="158659" y="85185"/>
                    </a:cubicBezTo>
                    <a:cubicBezTo>
                      <a:pt x="147728" y="109703"/>
                      <a:pt x="99630" y="207615"/>
                      <a:pt x="99630" y="207615"/>
                    </a:cubicBezTo>
                    <a:cubicBezTo>
                      <a:pt x="233459" y="552339"/>
                      <a:pt x="211285" y="700300"/>
                      <a:pt x="211285" y="793216"/>
                    </a:cubicBezTo>
                    <a:cubicBezTo>
                      <a:pt x="211285" y="793216"/>
                      <a:pt x="156629" y="798369"/>
                      <a:pt x="54656" y="739575"/>
                    </a:cubicBezTo>
                    <a:cubicBezTo>
                      <a:pt x="35860" y="728761"/>
                      <a:pt x="17618" y="717009"/>
                      <a:pt x="0" y="704361"/>
                    </a:cubicBezTo>
                    <a:cubicBezTo>
                      <a:pt x="23740" y="722881"/>
                      <a:pt x="48734" y="739731"/>
                      <a:pt x="74801" y="754800"/>
                    </a:cubicBezTo>
                    <a:cubicBezTo>
                      <a:pt x="176305" y="813594"/>
                      <a:pt x="231429" y="808441"/>
                      <a:pt x="231429" y="808441"/>
                    </a:cubicBezTo>
                    <a:cubicBezTo>
                      <a:pt x="231742" y="715526"/>
                      <a:pt x="253916" y="567486"/>
                      <a:pt x="120087" y="222841"/>
                    </a:cubicBezTo>
                    <a:close/>
                  </a:path>
                </a:pathLst>
              </a:custGeom>
              <a:solidFill>
                <a:srgbClr val="23ADAD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1D2FD382-DB05-4BA3-B50C-37C4149DAA57}"/>
                  </a:ext>
                </a:extLst>
              </p:cNvPr>
              <p:cNvSpPr/>
              <p:nvPr/>
            </p:nvSpPr>
            <p:spPr>
              <a:xfrm>
                <a:off x="5419002" y="151086"/>
                <a:ext cx="10696" cy="16943"/>
              </a:xfrm>
              <a:custGeom>
                <a:avLst/>
                <a:gdLst>
                  <a:gd name="connsiteX0" fmla="*/ 0 w 10696"/>
                  <a:gd name="connsiteY0" fmla="*/ 10775 h 16943"/>
                  <a:gd name="connsiteX1" fmla="*/ 10697 w 10696"/>
                  <a:gd name="connsiteY1" fmla="*/ 16943 h 16943"/>
                  <a:gd name="connsiteX2" fmla="*/ 10697 w 10696"/>
                  <a:gd name="connsiteY2" fmla="*/ 6090 h 16943"/>
                  <a:gd name="connsiteX3" fmla="*/ 0 w 10696"/>
                  <a:gd name="connsiteY3" fmla="*/ 0 h 16943"/>
                  <a:gd name="connsiteX4" fmla="*/ 0 w 10696"/>
                  <a:gd name="connsiteY4" fmla="*/ 10775 h 1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6" h="16943">
                    <a:moveTo>
                      <a:pt x="0" y="10775"/>
                    </a:moveTo>
                    <a:lnTo>
                      <a:pt x="10697" y="16943"/>
                    </a:lnTo>
                    <a:lnTo>
                      <a:pt x="10697" y="6090"/>
                    </a:lnTo>
                    <a:lnTo>
                      <a:pt x="0" y="0"/>
                    </a:lnTo>
                    <a:lnTo>
                      <a:pt x="0" y="10775"/>
                    </a:lnTo>
                    <a:close/>
                  </a:path>
                </a:pathLst>
              </a:custGeom>
              <a:solidFill>
                <a:srgbClr val="2E475E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BF16A230-E548-47AB-B2CC-C2F1BE84E449}"/>
                  </a:ext>
                </a:extLst>
              </p:cNvPr>
              <p:cNvSpPr/>
              <p:nvPr/>
            </p:nvSpPr>
            <p:spPr>
              <a:xfrm>
                <a:off x="5207405" y="28891"/>
                <a:ext cx="10696" cy="17021"/>
              </a:xfrm>
              <a:custGeom>
                <a:avLst/>
                <a:gdLst>
                  <a:gd name="connsiteX0" fmla="*/ 0 w 10696"/>
                  <a:gd name="connsiteY0" fmla="*/ 10853 h 17021"/>
                  <a:gd name="connsiteX1" fmla="*/ 10697 w 10696"/>
                  <a:gd name="connsiteY1" fmla="*/ 17021 h 17021"/>
                  <a:gd name="connsiteX2" fmla="*/ 10697 w 10696"/>
                  <a:gd name="connsiteY2" fmla="*/ 6168 h 17021"/>
                  <a:gd name="connsiteX3" fmla="*/ 0 w 10696"/>
                  <a:gd name="connsiteY3" fmla="*/ 0 h 17021"/>
                  <a:gd name="connsiteX4" fmla="*/ 0 w 10696"/>
                  <a:gd name="connsiteY4" fmla="*/ 10853 h 1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96" h="17021">
                    <a:moveTo>
                      <a:pt x="0" y="10853"/>
                    </a:moveTo>
                    <a:lnTo>
                      <a:pt x="10697" y="17021"/>
                    </a:lnTo>
                    <a:lnTo>
                      <a:pt x="10697" y="6168"/>
                    </a:lnTo>
                    <a:lnTo>
                      <a:pt x="0" y="0"/>
                    </a:lnTo>
                    <a:lnTo>
                      <a:pt x="0" y="10853"/>
                    </a:lnTo>
                    <a:close/>
                  </a:path>
                </a:pathLst>
              </a:custGeom>
              <a:solidFill>
                <a:srgbClr val="2E475E"/>
              </a:solidFill>
              <a:ln w="78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176"/>
              </a:p>
            </p:txBody>
          </p:sp>
        </p:grp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F0D5BCC3-DCFB-449A-90E4-7619F2A28B5B}"/>
                </a:ext>
              </a:extLst>
            </p:cNvPr>
            <p:cNvSpPr txBox="1"/>
            <p:nvPr/>
          </p:nvSpPr>
          <p:spPr>
            <a:xfrm>
              <a:off x="12021980" y="4913583"/>
              <a:ext cx="236887" cy="4069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IZE S M L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LOR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REEN</a:t>
              </a: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ICE</a:t>
              </a:r>
            </a:p>
            <a:p>
              <a:pPr>
                <a:lnSpc>
                  <a:spcPct val="150000"/>
                </a:lnSpc>
              </a:pPr>
              <a:endParaRPr lang="en-US" sz="294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  <a:p>
              <a:pPr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$123.45</a:t>
              </a:r>
            </a:p>
          </p:txBody>
        </p: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38193DE6-1EEF-4D0C-9074-A69DD2C05228}"/>
              </a:ext>
            </a:extLst>
          </p:cNvPr>
          <p:cNvGrpSpPr/>
          <p:nvPr/>
        </p:nvGrpSpPr>
        <p:grpSpPr>
          <a:xfrm>
            <a:off x="2535417" y="3854141"/>
            <a:ext cx="396468" cy="594774"/>
            <a:chOff x="7943500" y="-884184"/>
            <a:chExt cx="330130" cy="495258"/>
          </a:xfrm>
          <a:scene3d>
            <a:camera prst="perspectiveContrastingRightFacing" fov="0">
              <a:rot lat="600000" lon="17400000" rev="1800000"/>
            </a:camera>
            <a:lightRig rig="threePt" dir="t"/>
          </a:scene3d>
        </p:grpSpPr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504CB5EF-D2B5-415A-8115-0E15D0BD927D}"/>
                </a:ext>
              </a:extLst>
            </p:cNvPr>
            <p:cNvGrpSpPr/>
            <p:nvPr/>
          </p:nvGrpSpPr>
          <p:grpSpPr>
            <a:xfrm rot="5400000">
              <a:off x="7860936" y="-801620"/>
              <a:ext cx="495258" cy="330130"/>
              <a:chOff x="10037763" y="1192213"/>
              <a:chExt cx="1186084" cy="790622"/>
            </a:xfrm>
          </p:grpSpPr>
          <p:grpSp>
            <p:nvGrpSpPr>
              <p:cNvPr id="295" name="Group 294">
                <a:extLst>
                  <a:ext uri="{FF2B5EF4-FFF2-40B4-BE49-F238E27FC236}">
                    <a16:creationId xmlns:a16="http://schemas.microsoft.com/office/drawing/2014/main" id="{93F3498E-DB1F-4A5C-84DB-67CE749EDD77}"/>
                  </a:ext>
                </a:extLst>
              </p:cNvPr>
              <p:cNvGrpSpPr/>
              <p:nvPr/>
            </p:nvGrpSpPr>
            <p:grpSpPr>
              <a:xfrm>
                <a:off x="10037763" y="1192213"/>
                <a:ext cx="1186084" cy="790622"/>
                <a:chOff x="10037763" y="1192213"/>
                <a:chExt cx="1186084" cy="790622"/>
              </a:xfrm>
              <a:solidFill>
                <a:schemeClr val="tx1">
                  <a:lumMod val="85000"/>
                  <a:lumOff val="15000"/>
                </a:schemeClr>
              </a:solidFill>
            </p:grpSpPr>
            <p:sp>
              <p:nvSpPr>
                <p:cNvPr id="297" name="Rectangle: Rounded Corners 296">
                  <a:extLst>
                    <a:ext uri="{FF2B5EF4-FFF2-40B4-BE49-F238E27FC236}">
                      <a16:creationId xmlns:a16="http://schemas.microsoft.com/office/drawing/2014/main" id="{82ADCB23-2BBE-457D-A982-06A848C828C9}"/>
                    </a:ext>
                  </a:extLst>
                </p:cNvPr>
                <p:cNvSpPr/>
                <p:nvPr/>
              </p:nvSpPr>
              <p:spPr bwMode="auto">
                <a:xfrm>
                  <a:off x="10037763" y="1192213"/>
                  <a:ext cx="1186084" cy="790622"/>
                </a:xfrm>
                <a:prstGeom prst="roundRect">
                  <a:avLst>
                    <a:gd name="adj" fmla="val 5383"/>
                  </a:avLst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98" name="Rectangle 297">
                  <a:extLst>
                    <a:ext uri="{FF2B5EF4-FFF2-40B4-BE49-F238E27FC236}">
                      <a16:creationId xmlns:a16="http://schemas.microsoft.com/office/drawing/2014/main" id="{E9E44A0D-56A0-4831-8BFB-B01AD8FF9209}"/>
                    </a:ext>
                  </a:extLst>
                </p:cNvPr>
                <p:cNvSpPr/>
                <p:nvPr/>
              </p:nvSpPr>
              <p:spPr bwMode="auto">
                <a:xfrm>
                  <a:off x="10076286" y="1227089"/>
                  <a:ext cx="1109039" cy="720871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B9FD3644-380C-405C-A3FB-D97242A17BA8}"/>
                  </a:ext>
                </a:extLst>
              </p:cNvPr>
              <p:cNvSpPr/>
              <p:nvPr/>
            </p:nvSpPr>
            <p:spPr bwMode="auto">
              <a:xfrm>
                <a:off x="10080833" y="1233173"/>
                <a:ext cx="825733" cy="7147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568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ED9CF793-5BD8-42C7-A591-612D7AB42EA6}"/>
                </a:ext>
              </a:extLst>
            </p:cNvPr>
            <p:cNvSpPr txBox="1"/>
            <p:nvPr/>
          </p:nvSpPr>
          <p:spPr>
            <a:xfrm>
              <a:off x="7987140" y="-500976"/>
              <a:ext cx="236887" cy="382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294" b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ustomer</a:t>
              </a:r>
            </a:p>
          </p:txBody>
        </p:sp>
        <p:grpSp>
          <p:nvGrpSpPr>
            <p:cNvPr id="256" name="Graphic 35">
              <a:extLst>
                <a:ext uri="{FF2B5EF4-FFF2-40B4-BE49-F238E27FC236}">
                  <a16:creationId xmlns:a16="http://schemas.microsoft.com/office/drawing/2014/main" id="{BFC3A020-AC7C-47D7-94E3-7DA03E6ABB9A}"/>
                </a:ext>
              </a:extLst>
            </p:cNvPr>
            <p:cNvGrpSpPr/>
            <p:nvPr/>
          </p:nvGrpSpPr>
          <p:grpSpPr>
            <a:xfrm>
              <a:off x="8072974" y="-844332"/>
              <a:ext cx="60809" cy="290385"/>
              <a:chOff x="718877" y="1766194"/>
              <a:chExt cx="465864" cy="2224672"/>
            </a:xfrm>
            <a:solidFill>
              <a:schemeClr val="accent1"/>
            </a:solidFill>
          </p:grpSpPr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0859FB9A-5870-46C4-AE0F-C3371F8D1470}"/>
                  </a:ext>
                </a:extLst>
              </p:cNvPr>
              <p:cNvSpPr/>
              <p:nvPr/>
            </p:nvSpPr>
            <p:spPr>
              <a:xfrm>
                <a:off x="741639" y="2465000"/>
                <a:ext cx="68543" cy="366331"/>
              </a:xfrm>
              <a:custGeom>
                <a:avLst/>
                <a:gdLst>
                  <a:gd name="connsiteX0" fmla="*/ 0 w 68543"/>
                  <a:gd name="connsiteY0" fmla="*/ 6001 h 366331"/>
                  <a:gd name="connsiteX1" fmla="*/ 38576 w 68543"/>
                  <a:gd name="connsiteY1" fmla="*/ 366332 h 366331"/>
                  <a:gd name="connsiteX2" fmla="*/ 50578 w 68543"/>
                  <a:gd name="connsiteY2" fmla="*/ 366332 h 366331"/>
                  <a:gd name="connsiteX3" fmla="*/ 63532 w 68543"/>
                  <a:gd name="connsiteY3" fmla="*/ 0 h 366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43" h="366331">
                    <a:moveTo>
                      <a:pt x="0" y="6001"/>
                    </a:moveTo>
                    <a:cubicBezTo>
                      <a:pt x="0" y="6001"/>
                      <a:pt x="2477" y="222123"/>
                      <a:pt x="38576" y="366332"/>
                    </a:cubicBezTo>
                    <a:lnTo>
                      <a:pt x="50578" y="366332"/>
                    </a:lnTo>
                    <a:cubicBezTo>
                      <a:pt x="50578" y="366332"/>
                      <a:pt x="80010" y="167926"/>
                      <a:pt x="6353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7A761B67-1591-4973-806C-A8AA98AB67B8}"/>
                  </a:ext>
                </a:extLst>
              </p:cNvPr>
              <p:cNvSpPr/>
              <p:nvPr/>
            </p:nvSpPr>
            <p:spPr>
              <a:xfrm>
                <a:off x="732315" y="2077428"/>
                <a:ext cx="90960" cy="443934"/>
              </a:xfrm>
              <a:custGeom>
                <a:avLst/>
                <a:gdLst>
                  <a:gd name="connsiteX0" fmla="*/ 37232 w 90960"/>
                  <a:gd name="connsiteY0" fmla="*/ 0 h 443934"/>
                  <a:gd name="connsiteX1" fmla="*/ 2942 w 90960"/>
                  <a:gd name="connsiteY1" fmla="*/ 75248 h 443934"/>
                  <a:gd name="connsiteX2" fmla="*/ 28660 w 90960"/>
                  <a:gd name="connsiteY2" fmla="*/ 442341 h 443934"/>
                  <a:gd name="connsiteX3" fmla="*/ 89048 w 90960"/>
                  <a:gd name="connsiteY3" fmla="*/ 167545 h 443934"/>
                  <a:gd name="connsiteX4" fmla="*/ 37232 w 90960"/>
                  <a:gd name="connsiteY4" fmla="*/ 0 h 443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960" h="443934">
                    <a:moveTo>
                      <a:pt x="37232" y="0"/>
                    </a:moveTo>
                    <a:cubicBezTo>
                      <a:pt x="37232" y="0"/>
                      <a:pt x="5609" y="11906"/>
                      <a:pt x="2942" y="75248"/>
                    </a:cubicBezTo>
                    <a:cubicBezTo>
                      <a:pt x="-1535" y="186976"/>
                      <a:pt x="-5630" y="429006"/>
                      <a:pt x="28660" y="442341"/>
                    </a:cubicBezTo>
                    <a:cubicBezTo>
                      <a:pt x="95335" y="468344"/>
                      <a:pt x="89048" y="167545"/>
                      <a:pt x="89048" y="167545"/>
                    </a:cubicBezTo>
                    <a:cubicBezTo>
                      <a:pt x="89048" y="167545"/>
                      <a:pt x="106288" y="16478"/>
                      <a:pt x="37232" y="0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DB30C652-1596-43E8-81A1-0DDC61B6B8AB}"/>
                  </a:ext>
                </a:extLst>
              </p:cNvPr>
              <p:cNvSpPr/>
              <p:nvPr/>
            </p:nvSpPr>
            <p:spPr>
              <a:xfrm>
                <a:off x="765119" y="3122415"/>
                <a:ext cx="159399" cy="729043"/>
              </a:xfrm>
              <a:custGeom>
                <a:avLst/>
                <a:gdLst>
                  <a:gd name="connsiteX0" fmla="*/ 159400 w 159399"/>
                  <a:gd name="connsiteY0" fmla="*/ 52388 h 729043"/>
                  <a:gd name="connsiteX1" fmla="*/ 125777 w 159399"/>
                  <a:gd name="connsiteY1" fmla="*/ 349187 h 729043"/>
                  <a:gd name="connsiteX2" fmla="*/ 90439 w 159399"/>
                  <a:gd name="connsiteY2" fmla="*/ 729043 h 729043"/>
                  <a:gd name="connsiteX3" fmla="*/ 62721 w 159399"/>
                  <a:gd name="connsiteY3" fmla="*/ 723424 h 729043"/>
                  <a:gd name="connsiteX4" fmla="*/ 142 w 159399"/>
                  <a:gd name="connsiteY4" fmla="*/ 318611 h 729043"/>
                  <a:gd name="connsiteX5" fmla="*/ 52625 w 159399"/>
                  <a:gd name="connsiteY5" fmla="*/ 139160 h 729043"/>
                  <a:gd name="connsiteX6" fmla="*/ 37385 w 159399"/>
                  <a:gd name="connsiteY6" fmla="*/ 0 h 72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399" h="729043">
                    <a:moveTo>
                      <a:pt x="159400" y="52388"/>
                    </a:moveTo>
                    <a:cubicBezTo>
                      <a:pt x="159400" y="52388"/>
                      <a:pt x="142541" y="177260"/>
                      <a:pt x="125777" y="349187"/>
                    </a:cubicBezTo>
                    <a:cubicBezTo>
                      <a:pt x="113204" y="478060"/>
                      <a:pt x="90248" y="572072"/>
                      <a:pt x="90439" y="729043"/>
                    </a:cubicBezTo>
                    <a:cubicBezTo>
                      <a:pt x="90439" y="729043"/>
                      <a:pt x="92439" y="723424"/>
                      <a:pt x="62721" y="723424"/>
                    </a:cubicBezTo>
                    <a:cubicBezTo>
                      <a:pt x="50053" y="664559"/>
                      <a:pt x="-3097" y="379190"/>
                      <a:pt x="142" y="318611"/>
                    </a:cubicBezTo>
                    <a:cubicBezTo>
                      <a:pt x="3380" y="258032"/>
                      <a:pt x="52625" y="139160"/>
                      <a:pt x="52625" y="139160"/>
                    </a:cubicBezTo>
                    <a:lnTo>
                      <a:pt x="37385" y="0"/>
                    </a:ln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85B4A1BD-CBA1-45E0-A47C-A4FBAEDBEBDA}"/>
                  </a:ext>
                </a:extLst>
              </p:cNvPr>
              <p:cNvSpPr/>
              <p:nvPr/>
            </p:nvSpPr>
            <p:spPr>
              <a:xfrm>
                <a:off x="830127" y="3887555"/>
                <a:ext cx="47720" cy="42961"/>
              </a:xfrm>
              <a:custGeom>
                <a:avLst/>
                <a:gdLst>
                  <a:gd name="connsiteX0" fmla="*/ 47720 w 47720"/>
                  <a:gd name="connsiteY0" fmla="*/ 42962 h 42961"/>
                  <a:gd name="connsiteX1" fmla="*/ 25336 w 47720"/>
                  <a:gd name="connsiteY1" fmla="*/ 28579 h 42961"/>
                  <a:gd name="connsiteX2" fmla="*/ 0 w 47720"/>
                  <a:gd name="connsiteY2" fmla="*/ 4 h 42961"/>
                  <a:gd name="connsiteX3" fmla="*/ 47720 w 47720"/>
                  <a:gd name="connsiteY3" fmla="*/ 42962 h 4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720" h="42961">
                    <a:moveTo>
                      <a:pt x="47720" y="42962"/>
                    </a:moveTo>
                    <a:cubicBezTo>
                      <a:pt x="39772" y="38971"/>
                      <a:pt x="32268" y="34151"/>
                      <a:pt x="25336" y="28579"/>
                    </a:cubicBezTo>
                    <a:cubicBezTo>
                      <a:pt x="25336" y="28579"/>
                      <a:pt x="23717" y="14863"/>
                      <a:pt x="0" y="4"/>
                    </a:cubicBezTo>
                    <a:cubicBezTo>
                      <a:pt x="0" y="-282"/>
                      <a:pt x="45529" y="15149"/>
                      <a:pt x="47720" y="42962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98899B7E-7CFE-4FAC-BC73-2F41C38D28F5}"/>
                  </a:ext>
                </a:extLst>
              </p:cNvPr>
              <p:cNvSpPr/>
              <p:nvPr/>
            </p:nvSpPr>
            <p:spPr>
              <a:xfrm>
                <a:off x="820598" y="3841553"/>
                <a:ext cx="88993" cy="88963"/>
              </a:xfrm>
              <a:custGeom>
                <a:avLst/>
                <a:gdLst>
                  <a:gd name="connsiteX0" fmla="*/ 6671 w 88993"/>
                  <a:gd name="connsiteY0" fmla="*/ 4667 h 88963"/>
                  <a:gd name="connsiteX1" fmla="*/ 9529 w 88993"/>
                  <a:gd name="connsiteY1" fmla="*/ 45720 h 88963"/>
                  <a:gd name="connsiteX2" fmla="*/ 57154 w 88993"/>
                  <a:gd name="connsiteY2" fmla="*/ 88963 h 88963"/>
                  <a:gd name="connsiteX3" fmla="*/ 84395 w 88993"/>
                  <a:gd name="connsiteY3" fmla="*/ 46101 h 88963"/>
                  <a:gd name="connsiteX4" fmla="*/ 55820 w 88993"/>
                  <a:gd name="connsiteY4" fmla="*/ 47339 h 88963"/>
                  <a:gd name="connsiteX5" fmla="*/ 22102 w 88993"/>
                  <a:gd name="connsiteY5" fmla="*/ 1810 h 88963"/>
                  <a:gd name="connsiteX6" fmla="*/ 11719 w 88993"/>
                  <a:gd name="connsiteY6" fmla="*/ 0 h 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93" h="88963">
                    <a:moveTo>
                      <a:pt x="6671" y="4667"/>
                    </a:moveTo>
                    <a:cubicBezTo>
                      <a:pt x="6671" y="4667"/>
                      <a:pt x="-10093" y="35909"/>
                      <a:pt x="9529" y="45720"/>
                    </a:cubicBezTo>
                    <a:cubicBezTo>
                      <a:pt x="32579" y="57150"/>
                      <a:pt x="52867" y="76200"/>
                      <a:pt x="57154" y="88963"/>
                    </a:cubicBezTo>
                    <a:cubicBezTo>
                      <a:pt x="57154" y="88963"/>
                      <a:pt x="103445" y="56483"/>
                      <a:pt x="84395" y="46101"/>
                    </a:cubicBezTo>
                    <a:cubicBezTo>
                      <a:pt x="75156" y="42262"/>
                      <a:pt x="64693" y="42720"/>
                      <a:pt x="55820" y="47339"/>
                    </a:cubicBezTo>
                    <a:lnTo>
                      <a:pt x="22102" y="1810"/>
                    </a:lnTo>
                    <a:lnTo>
                      <a:pt x="11719" y="0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24AF52FA-A9DD-42E7-A1EB-50D0A24AB3F4}"/>
                  </a:ext>
                </a:extLst>
              </p:cNvPr>
              <p:cNvSpPr/>
              <p:nvPr/>
            </p:nvSpPr>
            <p:spPr>
              <a:xfrm>
                <a:off x="827269" y="3834153"/>
                <a:ext cx="63827" cy="65422"/>
              </a:xfrm>
              <a:custGeom>
                <a:avLst/>
                <a:gdLst>
                  <a:gd name="connsiteX0" fmla="*/ 0 w 63827"/>
                  <a:gd name="connsiteY0" fmla="*/ 12067 h 65422"/>
                  <a:gd name="connsiteX1" fmla="*/ 18383 w 63827"/>
                  <a:gd name="connsiteY1" fmla="*/ 15115 h 65422"/>
                  <a:gd name="connsiteX2" fmla="*/ 52102 w 63827"/>
                  <a:gd name="connsiteY2" fmla="*/ 65216 h 65422"/>
                  <a:gd name="connsiteX3" fmla="*/ 53531 w 63827"/>
                  <a:gd name="connsiteY3" fmla="*/ 52834 h 65422"/>
                  <a:gd name="connsiteX4" fmla="*/ 29623 w 63827"/>
                  <a:gd name="connsiteY4" fmla="*/ 14734 h 65422"/>
                  <a:gd name="connsiteX5" fmla="*/ 0 w 63827"/>
                  <a:gd name="connsiteY5" fmla="*/ 12067 h 65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827" h="65422">
                    <a:moveTo>
                      <a:pt x="0" y="12067"/>
                    </a:moveTo>
                    <a:cubicBezTo>
                      <a:pt x="0" y="12067"/>
                      <a:pt x="7525" y="3304"/>
                      <a:pt x="18383" y="15115"/>
                    </a:cubicBezTo>
                    <a:cubicBezTo>
                      <a:pt x="29242" y="26926"/>
                      <a:pt x="40291" y="61692"/>
                      <a:pt x="52102" y="65216"/>
                    </a:cubicBezTo>
                    <a:cubicBezTo>
                      <a:pt x="59055" y="67407"/>
                      <a:pt x="73819" y="51405"/>
                      <a:pt x="53531" y="52834"/>
                    </a:cubicBezTo>
                    <a:cubicBezTo>
                      <a:pt x="46958" y="49690"/>
                      <a:pt x="43148" y="40927"/>
                      <a:pt x="29623" y="14734"/>
                    </a:cubicBezTo>
                    <a:cubicBezTo>
                      <a:pt x="29623" y="14829"/>
                      <a:pt x="18288" y="-16604"/>
                      <a:pt x="0" y="12067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29420CE9-A62D-4BA8-9A88-6E065E9D6BCA}"/>
                  </a:ext>
                </a:extLst>
              </p:cNvPr>
              <p:cNvSpPr/>
              <p:nvPr/>
            </p:nvSpPr>
            <p:spPr>
              <a:xfrm>
                <a:off x="824792" y="3883177"/>
                <a:ext cx="19526" cy="54063"/>
              </a:xfrm>
              <a:custGeom>
                <a:avLst/>
                <a:gdLst>
                  <a:gd name="connsiteX0" fmla="*/ 19526 w 19526"/>
                  <a:gd name="connsiteY0" fmla="*/ 8477 h 54063"/>
                  <a:gd name="connsiteX1" fmla="*/ 13621 w 19526"/>
                  <a:gd name="connsiteY1" fmla="*/ 53150 h 54063"/>
                  <a:gd name="connsiteX2" fmla="*/ 7715 w 19526"/>
                  <a:gd name="connsiteY2" fmla="*/ 53150 h 54063"/>
                  <a:gd name="connsiteX3" fmla="*/ 0 w 19526"/>
                  <a:gd name="connsiteY3" fmla="*/ 0 h 5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26" h="54063">
                    <a:moveTo>
                      <a:pt x="19526" y="8477"/>
                    </a:moveTo>
                    <a:cubicBezTo>
                      <a:pt x="14772" y="22870"/>
                      <a:pt x="12769" y="38024"/>
                      <a:pt x="13621" y="53150"/>
                    </a:cubicBezTo>
                    <a:cubicBezTo>
                      <a:pt x="11840" y="54369"/>
                      <a:pt x="9496" y="54369"/>
                      <a:pt x="7715" y="53150"/>
                    </a:cubicBezTo>
                    <a:cubicBezTo>
                      <a:pt x="7715" y="53150"/>
                      <a:pt x="6572" y="10668"/>
                      <a:pt x="0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2995BA5B-5495-4C5A-A9C5-D3E829F85C98}"/>
                  </a:ext>
                </a:extLst>
              </p:cNvPr>
              <p:cNvSpPr/>
              <p:nvPr/>
            </p:nvSpPr>
            <p:spPr>
              <a:xfrm>
                <a:off x="858369" y="3178041"/>
                <a:ext cx="159590" cy="726471"/>
              </a:xfrm>
              <a:custGeom>
                <a:avLst/>
                <a:gdLst>
                  <a:gd name="connsiteX0" fmla="*/ 159590 w 159590"/>
                  <a:gd name="connsiteY0" fmla="*/ 52673 h 726471"/>
                  <a:gd name="connsiteX1" fmla="*/ 125967 w 159590"/>
                  <a:gd name="connsiteY1" fmla="*/ 349472 h 726471"/>
                  <a:gd name="connsiteX2" fmla="*/ 91391 w 159590"/>
                  <a:gd name="connsiteY2" fmla="*/ 726472 h 726471"/>
                  <a:gd name="connsiteX3" fmla="*/ 62816 w 159590"/>
                  <a:gd name="connsiteY3" fmla="*/ 723710 h 726471"/>
                  <a:gd name="connsiteX4" fmla="*/ 142 w 159590"/>
                  <a:gd name="connsiteY4" fmla="*/ 318897 h 726471"/>
                  <a:gd name="connsiteX5" fmla="*/ 52720 w 159590"/>
                  <a:gd name="connsiteY5" fmla="*/ 139065 h 726471"/>
                  <a:gd name="connsiteX6" fmla="*/ 37384 w 159590"/>
                  <a:gd name="connsiteY6" fmla="*/ 0 h 726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9590" h="726471">
                    <a:moveTo>
                      <a:pt x="159590" y="52673"/>
                    </a:moveTo>
                    <a:cubicBezTo>
                      <a:pt x="159590" y="52673"/>
                      <a:pt x="142731" y="177737"/>
                      <a:pt x="125967" y="349472"/>
                    </a:cubicBezTo>
                    <a:cubicBezTo>
                      <a:pt x="113394" y="478441"/>
                      <a:pt x="91296" y="569405"/>
                      <a:pt x="91391" y="726472"/>
                    </a:cubicBezTo>
                    <a:cubicBezTo>
                      <a:pt x="91391" y="726472"/>
                      <a:pt x="92534" y="723710"/>
                      <a:pt x="62816" y="723710"/>
                    </a:cubicBezTo>
                    <a:cubicBezTo>
                      <a:pt x="50148" y="664940"/>
                      <a:pt x="-3097" y="379476"/>
                      <a:pt x="142" y="318897"/>
                    </a:cubicBezTo>
                    <a:cubicBezTo>
                      <a:pt x="3380" y="258318"/>
                      <a:pt x="52720" y="139065"/>
                      <a:pt x="52720" y="139065"/>
                    </a:cubicBezTo>
                    <a:lnTo>
                      <a:pt x="37384" y="0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C33BCD92-21A6-4E90-B5ED-E4BD7E2E8DAB}"/>
                  </a:ext>
                </a:extLst>
              </p:cNvPr>
              <p:cNvSpPr/>
              <p:nvPr/>
            </p:nvSpPr>
            <p:spPr>
              <a:xfrm>
                <a:off x="923567" y="3941180"/>
                <a:ext cx="47815" cy="42961"/>
              </a:xfrm>
              <a:custGeom>
                <a:avLst/>
                <a:gdLst>
                  <a:gd name="connsiteX0" fmla="*/ 47816 w 47815"/>
                  <a:gd name="connsiteY0" fmla="*/ 42962 h 42961"/>
                  <a:gd name="connsiteX1" fmla="*/ 25336 w 47815"/>
                  <a:gd name="connsiteY1" fmla="*/ 28579 h 42961"/>
                  <a:gd name="connsiteX2" fmla="*/ 0 w 47815"/>
                  <a:gd name="connsiteY2" fmla="*/ 4 h 42961"/>
                  <a:gd name="connsiteX3" fmla="*/ 47816 w 47815"/>
                  <a:gd name="connsiteY3" fmla="*/ 42962 h 4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815" h="42961">
                    <a:moveTo>
                      <a:pt x="47816" y="42962"/>
                    </a:moveTo>
                    <a:cubicBezTo>
                      <a:pt x="39847" y="38952"/>
                      <a:pt x="32314" y="34132"/>
                      <a:pt x="25336" y="28579"/>
                    </a:cubicBezTo>
                    <a:cubicBezTo>
                      <a:pt x="25336" y="28579"/>
                      <a:pt x="23813" y="14863"/>
                      <a:pt x="0" y="4"/>
                    </a:cubicBezTo>
                    <a:cubicBezTo>
                      <a:pt x="0" y="-282"/>
                      <a:pt x="45530" y="15149"/>
                      <a:pt x="47816" y="42962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DC333818-F35F-4774-BC9E-D23A64DA11F7}"/>
                  </a:ext>
                </a:extLst>
              </p:cNvPr>
              <p:cNvSpPr/>
              <p:nvPr/>
            </p:nvSpPr>
            <p:spPr>
              <a:xfrm>
                <a:off x="914067" y="3895083"/>
                <a:ext cx="88964" cy="88963"/>
              </a:xfrm>
              <a:custGeom>
                <a:avLst/>
                <a:gdLst>
                  <a:gd name="connsiteX0" fmla="*/ 6737 w 88964"/>
                  <a:gd name="connsiteY0" fmla="*/ 4667 h 88963"/>
                  <a:gd name="connsiteX1" fmla="*/ 9499 w 88964"/>
                  <a:gd name="connsiteY1" fmla="*/ 45720 h 88963"/>
                  <a:gd name="connsiteX2" fmla="*/ 57124 w 88964"/>
                  <a:gd name="connsiteY2" fmla="*/ 88964 h 88963"/>
                  <a:gd name="connsiteX3" fmla="*/ 84366 w 88964"/>
                  <a:gd name="connsiteY3" fmla="*/ 46101 h 88963"/>
                  <a:gd name="connsiteX4" fmla="*/ 55791 w 88964"/>
                  <a:gd name="connsiteY4" fmla="*/ 47339 h 88963"/>
                  <a:gd name="connsiteX5" fmla="*/ 21977 w 88964"/>
                  <a:gd name="connsiteY5" fmla="*/ 1810 h 88963"/>
                  <a:gd name="connsiteX6" fmla="*/ 11595 w 88964"/>
                  <a:gd name="connsiteY6" fmla="*/ 0 h 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964" h="88963">
                    <a:moveTo>
                      <a:pt x="6737" y="4667"/>
                    </a:moveTo>
                    <a:cubicBezTo>
                      <a:pt x="6737" y="4667"/>
                      <a:pt x="-10122" y="35909"/>
                      <a:pt x="9499" y="45720"/>
                    </a:cubicBezTo>
                    <a:cubicBezTo>
                      <a:pt x="32550" y="57150"/>
                      <a:pt x="52838" y="76200"/>
                      <a:pt x="57124" y="88964"/>
                    </a:cubicBezTo>
                    <a:cubicBezTo>
                      <a:pt x="57124" y="88964"/>
                      <a:pt x="103416" y="56483"/>
                      <a:pt x="84366" y="46101"/>
                    </a:cubicBezTo>
                    <a:cubicBezTo>
                      <a:pt x="75128" y="42253"/>
                      <a:pt x="64660" y="42710"/>
                      <a:pt x="55791" y="47339"/>
                    </a:cubicBezTo>
                    <a:lnTo>
                      <a:pt x="21977" y="1810"/>
                    </a:lnTo>
                    <a:lnTo>
                      <a:pt x="11595" y="0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171696AC-4480-4BC8-A1CD-50A2C0900948}"/>
                  </a:ext>
                </a:extLst>
              </p:cNvPr>
              <p:cNvSpPr/>
              <p:nvPr/>
            </p:nvSpPr>
            <p:spPr>
              <a:xfrm>
                <a:off x="920805" y="3887745"/>
                <a:ext cx="63827" cy="65361"/>
              </a:xfrm>
              <a:custGeom>
                <a:avLst/>
                <a:gdLst>
                  <a:gd name="connsiteX0" fmla="*/ 0 w 63827"/>
                  <a:gd name="connsiteY0" fmla="*/ 12005 h 65361"/>
                  <a:gd name="connsiteX1" fmla="*/ 18288 w 63827"/>
                  <a:gd name="connsiteY1" fmla="*/ 15053 h 65361"/>
                  <a:gd name="connsiteX2" fmla="*/ 52102 w 63827"/>
                  <a:gd name="connsiteY2" fmla="*/ 65155 h 65361"/>
                  <a:gd name="connsiteX3" fmla="*/ 53530 w 63827"/>
                  <a:gd name="connsiteY3" fmla="*/ 52772 h 65361"/>
                  <a:gd name="connsiteX4" fmla="*/ 29623 w 63827"/>
                  <a:gd name="connsiteY4" fmla="*/ 14672 h 65361"/>
                  <a:gd name="connsiteX5" fmla="*/ 0 w 63827"/>
                  <a:gd name="connsiteY5" fmla="*/ 12005 h 6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827" h="65361">
                    <a:moveTo>
                      <a:pt x="0" y="12005"/>
                    </a:moveTo>
                    <a:cubicBezTo>
                      <a:pt x="0" y="12005"/>
                      <a:pt x="7525" y="3242"/>
                      <a:pt x="18288" y="15053"/>
                    </a:cubicBezTo>
                    <a:cubicBezTo>
                      <a:pt x="29051" y="26864"/>
                      <a:pt x="40291" y="61630"/>
                      <a:pt x="52102" y="65155"/>
                    </a:cubicBezTo>
                    <a:cubicBezTo>
                      <a:pt x="59055" y="67345"/>
                      <a:pt x="73819" y="51343"/>
                      <a:pt x="53530" y="52772"/>
                    </a:cubicBezTo>
                    <a:cubicBezTo>
                      <a:pt x="46958" y="49629"/>
                      <a:pt x="43053" y="40866"/>
                      <a:pt x="29623" y="14672"/>
                    </a:cubicBezTo>
                    <a:cubicBezTo>
                      <a:pt x="29623" y="14863"/>
                      <a:pt x="18288" y="-16570"/>
                      <a:pt x="0" y="12005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C7DBFE22-2247-4560-8CDD-DD85616870E6}"/>
                  </a:ext>
                </a:extLst>
              </p:cNvPr>
              <p:cNvSpPr/>
              <p:nvPr/>
            </p:nvSpPr>
            <p:spPr>
              <a:xfrm>
                <a:off x="918423" y="3936803"/>
                <a:ext cx="19526" cy="54063"/>
              </a:xfrm>
              <a:custGeom>
                <a:avLst/>
                <a:gdLst>
                  <a:gd name="connsiteX0" fmla="*/ 19526 w 19526"/>
                  <a:gd name="connsiteY0" fmla="*/ 8477 h 54063"/>
                  <a:gd name="connsiteX1" fmla="*/ 13621 w 19526"/>
                  <a:gd name="connsiteY1" fmla="*/ 53150 h 54063"/>
                  <a:gd name="connsiteX2" fmla="*/ 7715 w 19526"/>
                  <a:gd name="connsiteY2" fmla="*/ 53150 h 54063"/>
                  <a:gd name="connsiteX3" fmla="*/ 0 w 19526"/>
                  <a:gd name="connsiteY3" fmla="*/ 0 h 5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26" h="54063">
                    <a:moveTo>
                      <a:pt x="19526" y="8477"/>
                    </a:moveTo>
                    <a:cubicBezTo>
                      <a:pt x="14714" y="22850"/>
                      <a:pt x="12709" y="38014"/>
                      <a:pt x="13621" y="53150"/>
                    </a:cubicBezTo>
                    <a:cubicBezTo>
                      <a:pt x="11840" y="54369"/>
                      <a:pt x="9496" y="54369"/>
                      <a:pt x="7715" y="53150"/>
                    </a:cubicBezTo>
                    <a:cubicBezTo>
                      <a:pt x="7715" y="53150"/>
                      <a:pt x="6477" y="10668"/>
                      <a:pt x="0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414AF939-36B5-4CA2-8673-17D636F80655}"/>
                  </a:ext>
                </a:extLst>
              </p:cNvPr>
              <p:cNvSpPr/>
              <p:nvPr/>
            </p:nvSpPr>
            <p:spPr>
              <a:xfrm>
                <a:off x="727915" y="2587110"/>
                <a:ext cx="398285" cy="755363"/>
              </a:xfrm>
              <a:custGeom>
                <a:avLst/>
                <a:gdLst>
                  <a:gd name="connsiteX0" fmla="*/ 68874 w 398285"/>
                  <a:gd name="connsiteY0" fmla="*/ 607123 h 755363"/>
                  <a:gd name="connsiteX1" fmla="*/ 60683 w 398285"/>
                  <a:gd name="connsiteY1" fmla="*/ 0 h 755363"/>
                  <a:gd name="connsiteX2" fmla="*/ 393105 w 398285"/>
                  <a:gd name="connsiteY2" fmla="*/ 200025 h 755363"/>
                  <a:gd name="connsiteX3" fmla="*/ 303665 w 398285"/>
                  <a:gd name="connsiteY3" fmla="*/ 737997 h 755363"/>
                  <a:gd name="connsiteX4" fmla="*/ 215845 w 398285"/>
                  <a:gd name="connsiteY4" fmla="*/ 747522 h 755363"/>
                  <a:gd name="connsiteX5" fmla="*/ 68874 w 398285"/>
                  <a:gd name="connsiteY5" fmla="*/ 607123 h 75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285" h="755363">
                    <a:moveTo>
                      <a:pt x="68874" y="607123"/>
                    </a:moveTo>
                    <a:cubicBezTo>
                      <a:pt x="68874" y="607123"/>
                      <a:pt x="-80478" y="205454"/>
                      <a:pt x="60683" y="0"/>
                    </a:cubicBezTo>
                    <a:cubicBezTo>
                      <a:pt x="60683" y="0"/>
                      <a:pt x="318429" y="76200"/>
                      <a:pt x="393105" y="200025"/>
                    </a:cubicBezTo>
                    <a:cubicBezTo>
                      <a:pt x="393105" y="200025"/>
                      <a:pt x="430634" y="352425"/>
                      <a:pt x="303665" y="737997"/>
                    </a:cubicBezTo>
                    <a:cubicBezTo>
                      <a:pt x="303665" y="737997"/>
                      <a:pt x="281567" y="769620"/>
                      <a:pt x="215845" y="747522"/>
                    </a:cubicBezTo>
                    <a:cubicBezTo>
                      <a:pt x="98401" y="700850"/>
                      <a:pt x="68874" y="607123"/>
                      <a:pt x="68874" y="607123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4592C9B6-0651-42E0-A0E6-EAB087069137}"/>
                  </a:ext>
                </a:extLst>
              </p:cNvPr>
              <p:cNvSpPr/>
              <p:nvPr/>
            </p:nvSpPr>
            <p:spPr>
              <a:xfrm>
                <a:off x="760564" y="2077428"/>
                <a:ext cx="347193" cy="481012"/>
              </a:xfrm>
              <a:custGeom>
                <a:avLst/>
                <a:gdLst>
                  <a:gd name="connsiteX0" fmla="*/ 312736 w 347193"/>
                  <a:gd name="connsiteY0" fmla="*/ 174498 h 481012"/>
                  <a:gd name="connsiteX1" fmla="*/ 8984 w 347193"/>
                  <a:gd name="connsiteY1" fmla="*/ 0 h 481012"/>
                  <a:gd name="connsiteX2" fmla="*/ 602 w 347193"/>
                  <a:gd name="connsiteY2" fmla="*/ 73533 h 481012"/>
                  <a:gd name="connsiteX3" fmla="*/ 100233 w 347193"/>
                  <a:gd name="connsiteY3" fmla="*/ 400431 h 481012"/>
                  <a:gd name="connsiteX4" fmla="*/ 241013 w 347193"/>
                  <a:gd name="connsiteY4" fmla="*/ 481013 h 481012"/>
                  <a:gd name="connsiteX5" fmla="*/ 344073 w 347193"/>
                  <a:gd name="connsiteY5" fmla="*/ 301752 h 481012"/>
                  <a:gd name="connsiteX6" fmla="*/ 312736 w 347193"/>
                  <a:gd name="connsiteY6" fmla="*/ 174498 h 481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193" h="481012">
                    <a:moveTo>
                      <a:pt x="312736" y="174498"/>
                    </a:moveTo>
                    <a:cubicBezTo>
                      <a:pt x="312736" y="174498"/>
                      <a:pt x="214057" y="83153"/>
                      <a:pt x="8984" y="0"/>
                    </a:cubicBezTo>
                    <a:cubicBezTo>
                      <a:pt x="1486" y="23744"/>
                      <a:pt x="-1360" y="48711"/>
                      <a:pt x="602" y="73533"/>
                    </a:cubicBezTo>
                    <a:cubicBezTo>
                      <a:pt x="4697" y="144304"/>
                      <a:pt x="31272" y="259461"/>
                      <a:pt x="100233" y="400431"/>
                    </a:cubicBezTo>
                    <a:lnTo>
                      <a:pt x="241013" y="481013"/>
                    </a:lnTo>
                    <a:cubicBezTo>
                      <a:pt x="252157" y="393573"/>
                      <a:pt x="325976" y="362617"/>
                      <a:pt x="344073" y="301752"/>
                    </a:cubicBezTo>
                    <a:cubicBezTo>
                      <a:pt x="353313" y="270796"/>
                      <a:pt x="341787" y="242506"/>
                      <a:pt x="312736" y="174498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634BA259-FB11-4985-A02B-FC24BA0D3ECD}"/>
                  </a:ext>
                </a:extLst>
              </p:cNvPr>
              <p:cNvSpPr/>
              <p:nvPr/>
            </p:nvSpPr>
            <p:spPr>
              <a:xfrm>
                <a:off x="776882" y="2475287"/>
                <a:ext cx="344138" cy="311753"/>
              </a:xfrm>
              <a:custGeom>
                <a:avLst/>
                <a:gdLst>
                  <a:gd name="connsiteX0" fmla="*/ 224695 w 344138"/>
                  <a:gd name="connsiteY0" fmla="*/ 83153 h 311753"/>
                  <a:gd name="connsiteX1" fmla="*/ 344138 w 344138"/>
                  <a:gd name="connsiteY1" fmla="*/ 311753 h 311753"/>
                  <a:gd name="connsiteX2" fmla="*/ 0 w 344138"/>
                  <a:gd name="connsiteY2" fmla="*/ 114300 h 311753"/>
                  <a:gd name="connsiteX3" fmla="*/ 85725 w 344138"/>
                  <a:gd name="connsiteY3" fmla="*/ 0 h 311753"/>
                  <a:gd name="connsiteX4" fmla="*/ 224695 w 344138"/>
                  <a:gd name="connsiteY4" fmla="*/ 83153 h 31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138" h="311753">
                    <a:moveTo>
                      <a:pt x="224695" y="83153"/>
                    </a:moveTo>
                    <a:cubicBezTo>
                      <a:pt x="224695" y="83153"/>
                      <a:pt x="290703" y="154019"/>
                      <a:pt x="344138" y="311753"/>
                    </a:cubicBezTo>
                    <a:lnTo>
                      <a:pt x="0" y="114300"/>
                    </a:lnTo>
                    <a:lnTo>
                      <a:pt x="85725" y="0"/>
                    </a:lnTo>
                    <a:cubicBezTo>
                      <a:pt x="85725" y="0"/>
                      <a:pt x="186595" y="2096"/>
                      <a:pt x="224695" y="83153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B242A01D-3F96-40D0-9E7E-9DA87EB9A7A3}"/>
                  </a:ext>
                </a:extLst>
              </p:cNvPr>
              <p:cNvSpPr/>
              <p:nvPr/>
            </p:nvSpPr>
            <p:spPr>
              <a:xfrm>
                <a:off x="718877" y="2077428"/>
                <a:ext cx="376615" cy="1265647"/>
              </a:xfrm>
              <a:custGeom>
                <a:avLst/>
                <a:gdLst>
                  <a:gd name="connsiteX0" fmla="*/ 77912 w 376615"/>
                  <a:gd name="connsiteY0" fmla="*/ 1116806 h 1265647"/>
                  <a:gd name="connsiteX1" fmla="*/ 58005 w 376615"/>
                  <a:gd name="connsiteY1" fmla="*/ 512159 h 1265647"/>
                  <a:gd name="connsiteX2" fmla="*/ 141920 w 376615"/>
                  <a:gd name="connsiteY2" fmla="*/ 400431 h 1265647"/>
                  <a:gd name="connsiteX3" fmla="*/ 42288 w 376615"/>
                  <a:gd name="connsiteY3" fmla="*/ 73533 h 1265647"/>
                  <a:gd name="connsiteX4" fmla="*/ 50670 w 376615"/>
                  <a:gd name="connsiteY4" fmla="*/ 0 h 1265647"/>
                  <a:gd name="connsiteX5" fmla="*/ 338802 w 376615"/>
                  <a:gd name="connsiteY5" fmla="*/ 161068 h 1265647"/>
                  <a:gd name="connsiteX6" fmla="*/ 267269 w 376615"/>
                  <a:gd name="connsiteY6" fmla="*/ 477298 h 1265647"/>
                  <a:gd name="connsiteX7" fmla="*/ 29144 w 376615"/>
                  <a:gd name="connsiteY7" fmla="*/ 607314 h 1265647"/>
                  <a:gd name="connsiteX8" fmla="*/ 376616 w 376615"/>
                  <a:gd name="connsiteY8" fmla="*/ 805625 h 1265647"/>
                  <a:gd name="connsiteX9" fmla="*/ 274889 w 376615"/>
                  <a:gd name="connsiteY9" fmla="*/ 1264253 h 1265647"/>
                  <a:gd name="connsiteX10" fmla="*/ 164970 w 376615"/>
                  <a:gd name="connsiteY10" fmla="*/ 1224725 h 1265647"/>
                  <a:gd name="connsiteX11" fmla="*/ 77912 w 376615"/>
                  <a:gd name="connsiteY11" fmla="*/ 1116806 h 1265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6615" h="1265647">
                    <a:moveTo>
                      <a:pt x="77912" y="1116806"/>
                    </a:moveTo>
                    <a:cubicBezTo>
                      <a:pt x="77912" y="1116806"/>
                      <a:pt x="-83251" y="717423"/>
                      <a:pt x="58005" y="512159"/>
                    </a:cubicBezTo>
                    <a:lnTo>
                      <a:pt x="141920" y="400431"/>
                    </a:lnTo>
                    <a:cubicBezTo>
                      <a:pt x="72959" y="259461"/>
                      <a:pt x="46384" y="144304"/>
                      <a:pt x="42288" y="73533"/>
                    </a:cubicBezTo>
                    <a:cubicBezTo>
                      <a:pt x="40326" y="48711"/>
                      <a:pt x="43172" y="23744"/>
                      <a:pt x="50670" y="0"/>
                    </a:cubicBezTo>
                    <a:cubicBezTo>
                      <a:pt x="208785" y="64198"/>
                      <a:pt x="303654" y="133350"/>
                      <a:pt x="338802" y="161068"/>
                    </a:cubicBezTo>
                    <a:cubicBezTo>
                      <a:pt x="297273" y="173926"/>
                      <a:pt x="230979" y="279273"/>
                      <a:pt x="267269" y="477298"/>
                    </a:cubicBezTo>
                    <a:cubicBezTo>
                      <a:pt x="267269" y="477298"/>
                      <a:pt x="39336" y="509492"/>
                      <a:pt x="29144" y="607314"/>
                    </a:cubicBezTo>
                    <a:cubicBezTo>
                      <a:pt x="15809" y="736473"/>
                      <a:pt x="326800" y="853631"/>
                      <a:pt x="376616" y="805625"/>
                    </a:cubicBezTo>
                    <a:cubicBezTo>
                      <a:pt x="376616" y="805625"/>
                      <a:pt x="374616" y="970216"/>
                      <a:pt x="274889" y="1264253"/>
                    </a:cubicBezTo>
                    <a:cubicBezTo>
                      <a:pt x="274889" y="1264253"/>
                      <a:pt x="240313" y="1277112"/>
                      <a:pt x="164970" y="1224725"/>
                    </a:cubicBezTo>
                    <a:cubicBezTo>
                      <a:pt x="89628" y="1172337"/>
                      <a:pt x="77912" y="1116806"/>
                      <a:pt x="77912" y="1116806"/>
                    </a:cubicBezTo>
                    <a:close/>
                  </a:path>
                </a:pathLst>
              </a:custGeom>
              <a:solidFill>
                <a:srgbClr val="EF9B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C13E4E63-7531-4E39-9F00-9DD29F12503F}"/>
                  </a:ext>
                </a:extLst>
              </p:cNvPr>
              <p:cNvSpPr/>
              <p:nvPr/>
            </p:nvSpPr>
            <p:spPr>
              <a:xfrm>
                <a:off x="790788" y="2085714"/>
                <a:ext cx="247173" cy="209550"/>
              </a:xfrm>
              <a:custGeom>
                <a:avLst/>
                <a:gdLst>
                  <a:gd name="connsiteX0" fmla="*/ 247174 w 247173"/>
                  <a:gd name="connsiteY0" fmla="*/ 137636 h 209550"/>
                  <a:gd name="connsiteX1" fmla="*/ 82677 w 247173"/>
                  <a:gd name="connsiteY1" fmla="*/ 209550 h 209550"/>
                  <a:gd name="connsiteX2" fmla="*/ 0 w 247173"/>
                  <a:gd name="connsiteY2" fmla="*/ 0 h 209550"/>
                  <a:gd name="connsiteX3" fmla="*/ 247174 w 247173"/>
                  <a:gd name="connsiteY3" fmla="*/ 13763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173" h="209550">
                    <a:moveTo>
                      <a:pt x="247174" y="137636"/>
                    </a:moveTo>
                    <a:cubicBezTo>
                      <a:pt x="191028" y="158482"/>
                      <a:pt x="136107" y="182491"/>
                      <a:pt x="82677" y="209550"/>
                    </a:cubicBezTo>
                    <a:cubicBezTo>
                      <a:pt x="69818" y="185071"/>
                      <a:pt x="16002" y="111824"/>
                      <a:pt x="0" y="0"/>
                    </a:cubicBezTo>
                    <a:cubicBezTo>
                      <a:pt x="0" y="381"/>
                      <a:pt x="171164" y="78677"/>
                      <a:pt x="247174" y="137636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BAF355F5-CC8C-4074-8E57-BB0934C5130E}"/>
                  </a:ext>
                </a:extLst>
              </p:cNvPr>
              <p:cNvSpPr/>
              <p:nvPr/>
            </p:nvSpPr>
            <p:spPr>
              <a:xfrm>
                <a:off x="790788" y="2086095"/>
                <a:ext cx="230028" cy="127319"/>
              </a:xfrm>
              <a:custGeom>
                <a:avLst/>
                <a:gdLst>
                  <a:gd name="connsiteX0" fmla="*/ 230029 w 230028"/>
                  <a:gd name="connsiteY0" fmla="*/ 125063 h 127319"/>
                  <a:gd name="connsiteX1" fmla="*/ 0 w 230028"/>
                  <a:gd name="connsiteY1" fmla="*/ 0 h 127319"/>
                  <a:gd name="connsiteX2" fmla="*/ 230029 w 230028"/>
                  <a:gd name="connsiteY2" fmla="*/ 125063 h 127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028" h="127319">
                    <a:moveTo>
                      <a:pt x="230029" y="125063"/>
                    </a:moveTo>
                    <a:cubicBezTo>
                      <a:pt x="230029" y="125063"/>
                      <a:pt x="65723" y="154591"/>
                      <a:pt x="0" y="0"/>
                    </a:cubicBezTo>
                    <a:cubicBezTo>
                      <a:pt x="81646" y="31814"/>
                      <a:pt x="158937" y="73835"/>
                      <a:pt x="230029" y="125063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93ADFBAB-70EE-427A-A11A-757D8027116B}"/>
                  </a:ext>
                </a:extLst>
              </p:cNvPr>
              <p:cNvSpPr/>
              <p:nvPr/>
            </p:nvSpPr>
            <p:spPr>
              <a:xfrm>
                <a:off x="852225" y="1997515"/>
                <a:ext cx="161925" cy="218310"/>
              </a:xfrm>
              <a:custGeom>
                <a:avLst/>
                <a:gdLst>
                  <a:gd name="connsiteX0" fmla="*/ 161925 w 161925"/>
                  <a:gd name="connsiteY0" fmla="*/ 107535 h 218310"/>
                  <a:gd name="connsiteX1" fmla="*/ 128302 w 161925"/>
                  <a:gd name="connsiteY1" fmla="*/ 218310 h 218310"/>
                  <a:gd name="connsiteX2" fmla="*/ 0 w 161925"/>
                  <a:gd name="connsiteY2" fmla="*/ 169638 h 218310"/>
                  <a:gd name="connsiteX3" fmla="*/ 1905 w 161925"/>
                  <a:gd name="connsiteY3" fmla="*/ 5903 h 218310"/>
                  <a:gd name="connsiteX4" fmla="*/ 161925 w 161925"/>
                  <a:gd name="connsiteY4" fmla="*/ 107535 h 21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25" h="218310">
                    <a:moveTo>
                      <a:pt x="161925" y="107535"/>
                    </a:moveTo>
                    <a:cubicBezTo>
                      <a:pt x="161925" y="107535"/>
                      <a:pt x="111347" y="154493"/>
                      <a:pt x="128302" y="218310"/>
                    </a:cubicBezTo>
                    <a:lnTo>
                      <a:pt x="0" y="169638"/>
                    </a:lnTo>
                    <a:cubicBezTo>
                      <a:pt x="6749" y="115302"/>
                      <a:pt x="7389" y="60381"/>
                      <a:pt x="1905" y="5903"/>
                    </a:cubicBezTo>
                    <a:cubicBezTo>
                      <a:pt x="-1619" y="-29721"/>
                      <a:pt x="161925" y="107535"/>
                      <a:pt x="161925" y="107535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F6596CD0-D45E-4CC7-9850-2DE107DE81D7}"/>
                  </a:ext>
                </a:extLst>
              </p:cNvPr>
              <p:cNvSpPr/>
              <p:nvPr/>
            </p:nvSpPr>
            <p:spPr>
              <a:xfrm>
                <a:off x="833831" y="1860162"/>
                <a:ext cx="146123" cy="231323"/>
              </a:xfrm>
              <a:custGeom>
                <a:avLst/>
                <a:gdLst>
                  <a:gd name="connsiteX0" fmla="*/ 486 w 146123"/>
                  <a:gd name="connsiteY0" fmla="*/ 0 h 231323"/>
                  <a:gd name="connsiteX1" fmla="*/ 136122 w 146123"/>
                  <a:gd name="connsiteY1" fmla="*/ 228600 h 231323"/>
                  <a:gd name="connsiteX2" fmla="*/ 146123 w 146123"/>
                  <a:gd name="connsiteY2" fmla="*/ 71057 h 23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123" h="231323">
                    <a:moveTo>
                      <a:pt x="486" y="0"/>
                    </a:moveTo>
                    <a:cubicBezTo>
                      <a:pt x="486" y="0"/>
                      <a:pt x="-15516" y="260604"/>
                      <a:pt x="136122" y="228600"/>
                    </a:cubicBezTo>
                    <a:lnTo>
                      <a:pt x="146123" y="71057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4F9E69E-C3F1-4321-9746-A9A1244CDCCC}"/>
                  </a:ext>
                </a:extLst>
              </p:cNvPr>
              <p:cNvSpPr/>
              <p:nvPr/>
            </p:nvSpPr>
            <p:spPr>
              <a:xfrm>
                <a:off x="965096" y="1892547"/>
                <a:ext cx="161353" cy="254741"/>
              </a:xfrm>
              <a:custGeom>
                <a:avLst/>
                <a:gdLst>
                  <a:gd name="connsiteX0" fmla="*/ 161354 w 161353"/>
                  <a:gd name="connsiteY0" fmla="*/ 0 h 254741"/>
                  <a:gd name="connsiteX1" fmla="*/ 134779 w 161353"/>
                  <a:gd name="connsiteY1" fmla="*/ 143256 h 254741"/>
                  <a:gd name="connsiteX2" fmla="*/ 89726 w 161353"/>
                  <a:gd name="connsiteY2" fmla="*/ 252603 h 254741"/>
                  <a:gd name="connsiteX3" fmla="*/ 17621 w 161353"/>
                  <a:gd name="connsiteY3" fmla="*/ 226886 h 254741"/>
                  <a:gd name="connsiteX4" fmla="*/ 0 w 161353"/>
                  <a:gd name="connsiteY4" fmla="*/ 61151 h 254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353" h="254741">
                    <a:moveTo>
                      <a:pt x="161354" y="0"/>
                    </a:moveTo>
                    <a:cubicBezTo>
                      <a:pt x="145447" y="37338"/>
                      <a:pt x="144304" y="92678"/>
                      <a:pt x="134779" y="143256"/>
                    </a:cubicBezTo>
                    <a:cubicBezTo>
                      <a:pt x="123730" y="199072"/>
                      <a:pt x="103918" y="248031"/>
                      <a:pt x="89726" y="252603"/>
                    </a:cubicBezTo>
                    <a:cubicBezTo>
                      <a:pt x="77724" y="256413"/>
                      <a:pt x="52102" y="258699"/>
                      <a:pt x="17621" y="226886"/>
                    </a:cubicBezTo>
                    <a:lnTo>
                      <a:pt x="0" y="61151"/>
                    </a:ln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9013BAEF-9A48-40C8-AFB5-E7F26A8FE673}"/>
                  </a:ext>
                </a:extLst>
              </p:cNvPr>
              <p:cNvSpPr/>
              <p:nvPr/>
            </p:nvSpPr>
            <p:spPr>
              <a:xfrm>
                <a:off x="976050" y="2059806"/>
                <a:ext cx="74009" cy="87153"/>
              </a:xfrm>
              <a:custGeom>
                <a:avLst/>
                <a:gdLst>
                  <a:gd name="connsiteX0" fmla="*/ 0 w 74009"/>
                  <a:gd name="connsiteY0" fmla="*/ 19050 h 87153"/>
                  <a:gd name="connsiteX1" fmla="*/ 8763 w 74009"/>
                  <a:gd name="connsiteY1" fmla="*/ 0 h 87153"/>
                  <a:gd name="connsiteX2" fmla="*/ 74009 w 74009"/>
                  <a:gd name="connsiteY2" fmla="*/ 86487 h 87153"/>
                  <a:gd name="connsiteX3" fmla="*/ 4096 w 74009"/>
                  <a:gd name="connsiteY3" fmla="*/ 57150 h 8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009" h="87153">
                    <a:moveTo>
                      <a:pt x="0" y="19050"/>
                    </a:moveTo>
                    <a:lnTo>
                      <a:pt x="8763" y="0"/>
                    </a:lnTo>
                    <a:cubicBezTo>
                      <a:pt x="33242" y="96107"/>
                      <a:pt x="74009" y="86487"/>
                      <a:pt x="74009" y="86487"/>
                    </a:cubicBezTo>
                    <a:cubicBezTo>
                      <a:pt x="74009" y="86487"/>
                      <a:pt x="40672" y="94202"/>
                      <a:pt x="4096" y="57150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6AE9DEE9-71EA-4FFF-9853-7BE83DC75E22}"/>
                  </a:ext>
                </a:extLst>
              </p:cNvPr>
              <p:cNvSpPr/>
              <p:nvPr/>
            </p:nvSpPr>
            <p:spPr>
              <a:xfrm>
                <a:off x="820510" y="1766194"/>
                <a:ext cx="309177" cy="345641"/>
              </a:xfrm>
              <a:custGeom>
                <a:avLst/>
                <a:gdLst>
                  <a:gd name="connsiteX0" fmla="*/ 12093 w 309177"/>
                  <a:gd name="connsiteY0" fmla="*/ 51582 h 345641"/>
                  <a:gd name="connsiteX1" fmla="*/ 309178 w 309177"/>
                  <a:gd name="connsiteY1" fmla="*/ 83205 h 345641"/>
                  <a:gd name="connsiteX2" fmla="*/ 229930 w 309177"/>
                  <a:gd name="connsiteY2" fmla="*/ 196553 h 345641"/>
                  <a:gd name="connsiteX3" fmla="*/ 171256 w 309177"/>
                  <a:gd name="connsiteY3" fmla="*/ 246845 h 345641"/>
                  <a:gd name="connsiteX4" fmla="*/ 52765 w 309177"/>
                  <a:gd name="connsiteY4" fmla="*/ 328283 h 345641"/>
                  <a:gd name="connsiteX5" fmla="*/ 12093 w 309177"/>
                  <a:gd name="connsiteY5" fmla="*/ 51582 h 345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9177" h="345641">
                    <a:moveTo>
                      <a:pt x="12093" y="51582"/>
                    </a:moveTo>
                    <a:cubicBezTo>
                      <a:pt x="60289" y="-28618"/>
                      <a:pt x="260314" y="-13188"/>
                      <a:pt x="309178" y="83205"/>
                    </a:cubicBezTo>
                    <a:cubicBezTo>
                      <a:pt x="309178" y="83205"/>
                      <a:pt x="272697" y="168073"/>
                      <a:pt x="229930" y="196553"/>
                    </a:cubicBezTo>
                    <a:cubicBezTo>
                      <a:pt x="205165" y="265037"/>
                      <a:pt x="196687" y="258275"/>
                      <a:pt x="171256" y="246845"/>
                    </a:cubicBezTo>
                    <a:cubicBezTo>
                      <a:pt x="166303" y="250655"/>
                      <a:pt x="173923" y="394387"/>
                      <a:pt x="52765" y="328283"/>
                    </a:cubicBezTo>
                    <a:cubicBezTo>
                      <a:pt x="-13053" y="292374"/>
                      <a:pt x="-5147" y="79967"/>
                      <a:pt x="12093" y="51582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2EC8D349-3BC3-4B4A-8BD9-93DBFF5D999B}"/>
                  </a:ext>
                </a:extLst>
              </p:cNvPr>
              <p:cNvSpPr/>
              <p:nvPr/>
            </p:nvSpPr>
            <p:spPr>
              <a:xfrm>
                <a:off x="1048249" y="1829206"/>
                <a:ext cx="88990" cy="159448"/>
              </a:xfrm>
              <a:custGeom>
                <a:avLst/>
                <a:gdLst>
                  <a:gd name="connsiteX0" fmla="*/ 19050 w 88990"/>
                  <a:gd name="connsiteY0" fmla="*/ 84963 h 159448"/>
                  <a:gd name="connsiteX1" fmla="*/ 0 w 88990"/>
                  <a:gd name="connsiteY1" fmla="*/ 159449 h 159448"/>
                  <a:gd name="connsiteX2" fmla="*/ 78010 w 88990"/>
                  <a:gd name="connsiteY2" fmla="*/ 119348 h 159448"/>
                  <a:gd name="connsiteX3" fmla="*/ 68485 w 88990"/>
                  <a:gd name="connsiteY3" fmla="*/ 0 h 15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90" h="159448">
                    <a:moveTo>
                      <a:pt x="19050" y="84963"/>
                    </a:moveTo>
                    <a:lnTo>
                      <a:pt x="0" y="159449"/>
                    </a:lnTo>
                    <a:cubicBezTo>
                      <a:pt x="28732" y="152234"/>
                      <a:pt x="55421" y="138514"/>
                      <a:pt x="78010" y="119348"/>
                    </a:cubicBezTo>
                    <a:cubicBezTo>
                      <a:pt x="81820" y="106109"/>
                      <a:pt x="105537" y="39624"/>
                      <a:pt x="68485" y="0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24F5BD89-3CBF-400B-BEC7-1FFB53E717D7}"/>
                  </a:ext>
                </a:extLst>
              </p:cNvPr>
              <p:cNvSpPr/>
              <p:nvPr/>
            </p:nvSpPr>
            <p:spPr>
              <a:xfrm>
                <a:off x="980145" y="2821330"/>
                <a:ext cx="204596" cy="296703"/>
              </a:xfrm>
              <a:custGeom>
                <a:avLst/>
                <a:gdLst>
                  <a:gd name="connsiteX0" fmla="*/ 204597 w 204596"/>
                  <a:gd name="connsiteY0" fmla="*/ 179927 h 296703"/>
                  <a:gd name="connsiteX1" fmla="*/ 2381 w 204596"/>
                  <a:gd name="connsiteY1" fmla="*/ 296704 h 296703"/>
                  <a:gd name="connsiteX2" fmla="*/ 0 w 204596"/>
                  <a:gd name="connsiteY2" fmla="*/ 103918 h 296703"/>
                  <a:gd name="connsiteX3" fmla="*/ 180118 w 204596"/>
                  <a:gd name="connsiteY3" fmla="*/ 0 h 296703"/>
                  <a:gd name="connsiteX4" fmla="*/ 204597 w 204596"/>
                  <a:gd name="connsiteY4" fmla="*/ 179927 h 296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596" h="296703">
                    <a:moveTo>
                      <a:pt x="204597" y="179927"/>
                    </a:moveTo>
                    <a:lnTo>
                      <a:pt x="2381" y="296704"/>
                    </a:lnTo>
                    <a:lnTo>
                      <a:pt x="0" y="103918"/>
                    </a:lnTo>
                    <a:lnTo>
                      <a:pt x="180118" y="0"/>
                    </a:lnTo>
                    <a:lnTo>
                      <a:pt x="204597" y="179927"/>
                    </a:ln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340F0A9E-9D2C-44FC-AE38-3EFEE0AA1544}"/>
                  </a:ext>
                </a:extLst>
              </p:cNvPr>
              <p:cNvSpPr/>
              <p:nvPr/>
            </p:nvSpPr>
            <p:spPr>
              <a:xfrm>
                <a:off x="945474" y="2912580"/>
                <a:ext cx="37052" cy="205454"/>
              </a:xfrm>
              <a:custGeom>
                <a:avLst/>
                <a:gdLst>
                  <a:gd name="connsiteX0" fmla="*/ 37052 w 37052"/>
                  <a:gd name="connsiteY0" fmla="*/ 205454 h 205454"/>
                  <a:gd name="connsiteX1" fmla="*/ 0 w 37052"/>
                  <a:gd name="connsiteY1" fmla="*/ 184309 h 205454"/>
                  <a:gd name="connsiteX2" fmla="*/ 12382 w 37052"/>
                  <a:gd name="connsiteY2" fmla="*/ 0 h 205454"/>
                  <a:gd name="connsiteX3" fmla="*/ 34671 w 37052"/>
                  <a:gd name="connsiteY3" fmla="*/ 12668 h 205454"/>
                  <a:gd name="connsiteX4" fmla="*/ 37052 w 37052"/>
                  <a:gd name="connsiteY4" fmla="*/ 205454 h 20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52" h="205454">
                    <a:moveTo>
                      <a:pt x="37052" y="205454"/>
                    </a:moveTo>
                    <a:lnTo>
                      <a:pt x="0" y="184309"/>
                    </a:lnTo>
                    <a:lnTo>
                      <a:pt x="12382" y="0"/>
                    </a:lnTo>
                    <a:lnTo>
                      <a:pt x="34671" y="12668"/>
                    </a:lnTo>
                    <a:lnTo>
                      <a:pt x="37052" y="205454"/>
                    </a:ln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6169727D-894C-4854-A14E-2D6734DCB30A}"/>
                  </a:ext>
                </a:extLst>
              </p:cNvPr>
              <p:cNvSpPr/>
              <p:nvPr/>
            </p:nvSpPr>
            <p:spPr>
              <a:xfrm>
                <a:off x="957857" y="2810281"/>
                <a:ext cx="202406" cy="114966"/>
              </a:xfrm>
              <a:custGeom>
                <a:avLst/>
                <a:gdLst>
                  <a:gd name="connsiteX0" fmla="*/ 0 w 202406"/>
                  <a:gd name="connsiteY0" fmla="*/ 102298 h 114966"/>
                  <a:gd name="connsiteX1" fmla="*/ 183451 w 202406"/>
                  <a:gd name="connsiteY1" fmla="*/ 0 h 114966"/>
                  <a:gd name="connsiteX2" fmla="*/ 202406 w 202406"/>
                  <a:gd name="connsiteY2" fmla="*/ 11049 h 114966"/>
                  <a:gd name="connsiteX3" fmla="*/ 22289 w 202406"/>
                  <a:gd name="connsiteY3" fmla="*/ 114967 h 114966"/>
                  <a:gd name="connsiteX4" fmla="*/ 0 w 202406"/>
                  <a:gd name="connsiteY4" fmla="*/ 102298 h 114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2406" h="114966">
                    <a:moveTo>
                      <a:pt x="0" y="102298"/>
                    </a:moveTo>
                    <a:lnTo>
                      <a:pt x="183451" y="0"/>
                    </a:lnTo>
                    <a:lnTo>
                      <a:pt x="202406" y="11049"/>
                    </a:lnTo>
                    <a:lnTo>
                      <a:pt x="22289" y="114967"/>
                    </a:lnTo>
                    <a:lnTo>
                      <a:pt x="0" y="102298"/>
                    </a:lnTo>
                    <a:close/>
                  </a:path>
                </a:pathLst>
              </a:custGeom>
              <a:solidFill>
                <a:srgbClr val="4750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1E5942FD-9C3C-4EF8-A2E7-3AB53D343573}"/>
                  </a:ext>
                </a:extLst>
              </p:cNvPr>
              <p:cNvSpPr/>
              <p:nvPr/>
            </p:nvSpPr>
            <p:spPr>
              <a:xfrm>
                <a:off x="993036" y="2242084"/>
                <a:ext cx="151722" cy="684949"/>
              </a:xfrm>
              <a:custGeom>
                <a:avLst/>
                <a:gdLst>
                  <a:gd name="connsiteX0" fmla="*/ 4751 w 151722"/>
                  <a:gd name="connsiteY0" fmla="*/ 684950 h 684949"/>
                  <a:gd name="connsiteX1" fmla="*/ 6752 w 151722"/>
                  <a:gd name="connsiteY1" fmla="*/ 596462 h 684949"/>
                  <a:gd name="connsiteX2" fmla="*/ 6752 w 151722"/>
                  <a:gd name="connsiteY2" fmla="*/ 507880 h 684949"/>
                  <a:gd name="connsiteX3" fmla="*/ 4751 w 151722"/>
                  <a:gd name="connsiteY3" fmla="*/ 419393 h 684949"/>
                  <a:gd name="connsiteX4" fmla="*/ 2465 w 151722"/>
                  <a:gd name="connsiteY4" fmla="*/ 330810 h 684949"/>
                  <a:gd name="connsiteX5" fmla="*/ 465 w 151722"/>
                  <a:gd name="connsiteY5" fmla="*/ 242132 h 684949"/>
                  <a:gd name="connsiteX6" fmla="*/ 465 w 151722"/>
                  <a:gd name="connsiteY6" fmla="*/ 153455 h 684949"/>
                  <a:gd name="connsiteX7" fmla="*/ 3037 w 151722"/>
                  <a:gd name="connsiteY7" fmla="*/ 108973 h 684949"/>
                  <a:gd name="connsiteX8" fmla="*/ 9228 w 151722"/>
                  <a:gd name="connsiteY8" fmla="*/ 64682 h 684949"/>
                  <a:gd name="connsiteX9" fmla="*/ 24373 w 151722"/>
                  <a:gd name="connsiteY9" fmla="*/ 21819 h 684949"/>
                  <a:gd name="connsiteX10" fmla="*/ 41232 w 151722"/>
                  <a:gd name="connsiteY10" fmla="*/ 4769 h 684949"/>
                  <a:gd name="connsiteX11" fmla="*/ 65330 w 151722"/>
                  <a:gd name="connsiteY11" fmla="*/ 388 h 684949"/>
                  <a:gd name="connsiteX12" fmla="*/ 65330 w 151722"/>
                  <a:gd name="connsiteY12" fmla="*/ 388 h 684949"/>
                  <a:gd name="connsiteX13" fmla="*/ 84476 w 151722"/>
                  <a:gd name="connsiteY13" fmla="*/ 10961 h 684949"/>
                  <a:gd name="connsiteX14" fmla="*/ 96668 w 151722"/>
                  <a:gd name="connsiteY14" fmla="*/ 27534 h 684949"/>
                  <a:gd name="connsiteX15" fmla="*/ 110765 w 151722"/>
                  <a:gd name="connsiteY15" fmla="*/ 64586 h 684949"/>
                  <a:gd name="connsiteX16" fmla="*/ 124004 w 151722"/>
                  <a:gd name="connsiteY16" fmla="*/ 141548 h 684949"/>
                  <a:gd name="connsiteX17" fmla="*/ 129910 w 151722"/>
                  <a:gd name="connsiteY17" fmla="*/ 219082 h 684949"/>
                  <a:gd name="connsiteX18" fmla="*/ 133148 w 151722"/>
                  <a:gd name="connsiteY18" fmla="*/ 296711 h 684949"/>
                  <a:gd name="connsiteX19" fmla="*/ 138673 w 151722"/>
                  <a:gd name="connsiteY19" fmla="*/ 451682 h 684949"/>
                  <a:gd name="connsiteX20" fmla="*/ 151722 w 151722"/>
                  <a:gd name="connsiteY20" fmla="*/ 605702 h 684949"/>
                  <a:gd name="connsiteX21" fmla="*/ 136101 w 151722"/>
                  <a:gd name="connsiteY21" fmla="*/ 607511 h 684949"/>
                  <a:gd name="connsiteX22" fmla="*/ 131243 w 151722"/>
                  <a:gd name="connsiteY22" fmla="*/ 529692 h 684949"/>
                  <a:gd name="connsiteX23" fmla="*/ 128862 w 151722"/>
                  <a:gd name="connsiteY23" fmla="*/ 452063 h 684949"/>
                  <a:gd name="connsiteX24" fmla="*/ 125719 w 151722"/>
                  <a:gd name="connsiteY24" fmla="*/ 296901 h 684949"/>
                  <a:gd name="connsiteX25" fmla="*/ 116194 w 151722"/>
                  <a:gd name="connsiteY25" fmla="*/ 142501 h 684949"/>
                  <a:gd name="connsiteX26" fmla="*/ 102764 w 151722"/>
                  <a:gd name="connsiteY26" fmla="*/ 66301 h 684949"/>
                  <a:gd name="connsiteX27" fmla="*/ 89238 w 151722"/>
                  <a:gd name="connsiteY27" fmla="*/ 31154 h 684949"/>
                  <a:gd name="connsiteX28" fmla="*/ 63902 w 151722"/>
                  <a:gd name="connsiteY28" fmla="*/ 8198 h 684949"/>
                  <a:gd name="connsiteX29" fmla="*/ 63902 w 151722"/>
                  <a:gd name="connsiteY29" fmla="*/ 8198 h 684949"/>
                  <a:gd name="connsiteX30" fmla="*/ 44852 w 151722"/>
                  <a:gd name="connsiteY30" fmla="*/ 11342 h 684949"/>
                  <a:gd name="connsiteX31" fmla="*/ 30850 w 151722"/>
                  <a:gd name="connsiteY31" fmla="*/ 25343 h 684949"/>
                  <a:gd name="connsiteX32" fmla="*/ 16277 w 151722"/>
                  <a:gd name="connsiteY32" fmla="*/ 65444 h 684949"/>
                  <a:gd name="connsiteX33" fmla="*/ 9800 w 151722"/>
                  <a:gd name="connsiteY33" fmla="*/ 108878 h 684949"/>
                  <a:gd name="connsiteX34" fmla="*/ 6847 w 151722"/>
                  <a:gd name="connsiteY34" fmla="*/ 152788 h 684949"/>
                  <a:gd name="connsiteX35" fmla="*/ 5609 w 151722"/>
                  <a:gd name="connsiteY35" fmla="*/ 241275 h 684949"/>
                  <a:gd name="connsiteX36" fmla="*/ 7514 w 151722"/>
                  <a:gd name="connsiteY36" fmla="*/ 329762 h 684949"/>
                  <a:gd name="connsiteX37" fmla="*/ 10657 w 151722"/>
                  <a:gd name="connsiteY37" fmla="*/ 418250 h 684949"/>
                  <a:gd name="connsiteX38" fmla="*/ 13895 w 151722"/>
                  <a:gd name="connsiteY38" fmla="*/ 506832 h 684949"/>
                  <a:gd name="connsiteX39" fmla="*/ 16658 w 151722"/>
                  <a:gd name="connsiteY39" fmla="*/ 595510 h 684949"/>
                  <a:gd name="connsiteX40" fmla="*/ 18563 w 151722"/>
                  <a:gd name="connsiteY40" fmla="*/ 684188 h 68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51722" h="684949">
                    <a:moveTo>
                      <a:pt x="4751" y="684950"/>
                    </a:moveTo>
                    <a:cubicBezTo>
                      <a:pt x="5704" y="655422"/>
                      <a:pt x="6466" y="625990"/>
                      <a:pt x="6752" y="596462"/>
                    </a:cubicBezTo>
                    <a:cubicBezTo>
                      <a:pt x="7037" y="566935"/>
                      <a:pt x="6752" y="537407"/>
                      <a:pt x="6752" y="507880"/>
                    </a:cubicBezTo>
                    <a:lnTo>
                      <a:pt x="4751" y="419393"/>
                    </a:lnTo>
                    <a:lnTo>
                      <a:pt x="2465" y="330810"/>
                    </a:lnTo>
                    <a:cubicBezTo>
                      <a:pt x="1608" y="301283"/>
                      <a:pt x="1037" y="271755"/>
                      <a:pt x="465" y="242132"/>
                    </a:cubicBezTo>
                    <a:cubicBezTo>
                      <a:pt x="-106" y="212510"/>
                      <a:pt x="-202" y="182982"/>
                      <a:pt x="465" y="153455"/>
                    </a:cubicBezTo>
                    <a:cubicBezTo>
                      <a:pt x="941" y="138596"/>
                      <a:pt x="1799" y="123832"/>
                      <a:pt x="3037" y="108973"/>
                    </a:cubicBezTo>
                    <a:cubicBezTo>
                      <a:pt x="4258" y="94103"/>
                      <a:pt x="6325" y="79316"/>
                      <a:pt x="9228" y="64682"/>
                    </a:cubicBezTo>
                    <a:cubicBezTo>
                      <a:pt x="11876" y="49656"/>
                      <a:pt x="16994" y="35173"/>
                      <a:pt x="24373" y="21819"/>
                    </a:cubicBezTo>
                    <a:cubicBezTo>
                      <a:pt x="28447" y="14791"/>
                      <a:pt x="34250" y="8921"/>
                      <a:pt x="41232" y="4769"/>
                    </a:cubicBezTo>
                    <a:cubicBezTo>
                      <a:pt x="48581" y="743"/>
                      <a:pt x="57035" y="-794"/>
                      <a:pt x="65330" y="388"/>
                    </a:cubicBezTo>
                    <a:lnTo>
                      <a:pt x="65330" y="388"/>
                    </a:lnTo>
                    <a:cubicBezTo>
                      <a:pt x="72574" y="2056"/>
                      <a:pt x="79206" y="5718"/>
                      <a:pt x="84476" y="10961"/>
                    </a:cubicBezTo>
                    <a:cubicBezTo>
                      <a:pt x="89332" y="15855"/>
                      <a:pt x="93440" y="21440"/>
                      <a:pt x="96668" y="27534"/>
                    </a:cubicBezTo>
                    <a:cubicBezTo>
                      <a:pt x="102824" y="39280"/>
                      <a:pt x="107557" y="51719"/>
                      <a:pt x="110765" y="64586"/>
                    </a:cubicBezTo>
                    <a:cubicBezTo>
                      <a:pt x="117092" y="89874"/>
                      <a:pt x="121517" y="115600"/>
                      <a:pt x="124004" y="141548"/>
                    </a:cubicBezTo>
                    <a:cubicBezTo>
                      <a:pt x="126767" y="167361"/>
                      <a:pt x="128576" y="193269"/>
                      <a:pt x="129910" y="219082"/>
                    </a:cubicBezTo>
                    <a:cubicBezTo>
                      <a:pt x="131243" y="244894"/>
                      <a:pt x="132386" y="270803"/>
                      <a:pt x="133148" y="296711"/>
                    </a:cubicBezTo>
                    <a:cubicBezTo>
                      <a:pt x="134863" y="348431"/>
                      <a:pt x="136482" y="400057"/>
                      <a:pt x="138673" y="451682"/>
                    </a:cubicBezTo>
                    <a:cubicBezTo>
                      <a:pt x="140864" y="503308"/>
                      <a:pt x="144388" y="554838"/>
                      <a:pt x="151722" y="605702"/>
                    </a:cubicBezTo>
                    <a:lnTo>
                      <a:pt x="136101" y="607511"/>
                    </a:lnTo>
                    <a:cubicBezTo>
                      <a:pt x="133625" y="581508"/>
                      <a:pt x="132291" y="555600"/>
                      <a:pt x="131243" y="529692"/>
                    </a:cubicBezTo>
                    <a:cubicBezTo>
                      <a:pt x="130196" y="503784"/>
                      <a:pt x="129338" y="477876"/>
                      <a:pt x="128862" y="452063"/>
                    </a:cubicBezTo>
                    <a:cubicBezTo>
                      <a:pt x="127529" y="400247"/>
                      <a:pt x="127338" y="348622"/>
                      <a:pt x="125719" y="296901"/>
                    </a:cubicBezTo>
                    <a:cubicBezTo>
                      <a:pt x="124100" y="245180"/>
                      <a:pt x="122004" y="193650"/>
                      <a:pt x="116194" y="142501"/>
                    </a:cubicBezTo>
                    <a:cubicBezTo>
                      <a:pt x="113685" y="116793"/>
                      <a:pt x="109195" y="91317"/>
                      <a:pt x="102764" y="66301"/>
                    </a:cubicBezTo>
                    <a:cubicBezTo>
                      <a:pt x="99656" y="54093"/>
                      <a:pt x="95116" y="42295"/>
                      <a:pt x="89238" y="31154"/>
                    </a:cubicBezTo>
                    <a:cubicBezTo>
                      <a:pt x="84276" y="20366"/>
                      <a:pt x="75124" y="12074"/>
                      <a:pt x="63902" y="8198"/>
                    </a:cubicBezTo>
                    <a:lnTo>
                      <a:pt x="63902" y="8198"/>
                    </a:lnTo>
                    <a:cubicBezTo>
                      <a:pt x="57379" y="7126"/>
                      <a:pt x="50684" y="8231"/>
                      <a:pt x="44852" y="11342"/>
                    </a:cubicBezTo>
                    <a:cubicBezTo>
                      <a:pt x="39069" y="14742"/>
                      <a:pt x="34250" y="19561"/>
                      <a:pt x="30850" y="25343"/>
                    </a:cubicBezTo>
                    <a:cubicBezTo>
                      <a:pt x="23862" y="37837"/>
                      <a:pt x="18941" y="51379"/>
                      <a:pt x="16277" y="65444"/>
                    </a:cubicBezTo>
                    <a:cubicBezTo>
                      <a:pt x="13346" y="79796"/>
                      <a:pt x="11184" y="94295"/>
                      <a:pt x="9800" y="108878"/>
                    </a:cubicBezTo>
                    <a:cubicBezTo>
                      <a:pt x="8371" y="123451"/>
                      <a:pt x="7418" y="138119"/>
                      <a:pt x="6847" y="152788"/>
                    </a:cubicBezTo>
                    <a:cubicBezTo>
                      <a:pt x="5609" y="182220"/>
                      <a:pt x="5418" y="211748"/>
                      <a:pt x="5609" y="241275"/>
                    </a:cubicBezTo>
                    <a:cubicBezTo>
                      <a:pt x="5799" y="270803"/>
                      <a:pt x="6656" y="300235"/>
                      <a:pt x="7514" y="329762"/>
                    </a:cubicBezTo>
                    <a:cubicBezTo>
                      <a:pt x="8371" y="359290"/>
                      <a:pt x="9514" y="388817"/>
                      <a:pt x="10657" y="418250"/>
                    </a:cubicBezTo>
                    <a:lnTo>
                      <a:pt x="13895" y="506832"/>
                    </a:lnTo>
                    <a:cubicBezTo>
                      <a:pt x="15038" y="536360"/>
                      <a:pt x="15959" y="565916"/>
                      <a:pt x="16658" y="595510"/>
                    </a:cubicBezTo>
                    <a:cubicBezTo>
                      <a:pt x="17515" y="625037"/>
                      <a:pt x="18277" y="654660"/>
                      <a:pt x="18563" y="684188"/>
                    </a:cubicBezTo>
                    <a:close/>
                  </a:path>
                </a:pathLst>
              </a:custGeom>
              <a:solidFill>
                <a:srgbClr val="4750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7136C6F6-530C-4B3D-85E6-B8AE9E9827DC}"/>
                  </a:ext>
                </a:extLst>
              </p:cNvPr>
              <p:cNvSpPr/>
              <p:nvPr/>
            </p:nvSpPr>
            <p:spPr>
              <a:xfrm>
                <a:off x="980145" y="2821330"/>
                <a:ext cx="180117" cy="160671"/>
              </a:xfrm>
              <a:custGeom>
                <a:avLst/>
                <a:gdLst>
                  <a:gd name="connsiteX0" fmla="*/ 0 w 180117"/>
                  <a:gd name="connsiteY0" fmla="*/ 104013 h 160671"/>
                  <a:gd name="connsiteX1" fmla="*/ 117634 w 180117"/>
                  <a:gd name="connsiteY1" fmla="*/ 159544 h 160671"/>
                  <a:gd name="connsiteX2" fmla="*/ 180118 w 180117"/>
                  <a:gd name="connsiteY2" fmla="*/ 0 h 160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0117" h="160671">
                    <a:moveTo>
                      <a:pt x="0" y="104013"/>
                    </a:moveTo>
                    <a:cubicBezTo>
                      <a:pt x="0" y="104013"/>
                      <a:pt x="96488" y="170021"/>
                      <a:pt x="117634" y="159544"/>
                    </a:cubicBezTo>
                    <a:cubicBezTo>
                      <a:pt x="144590" y="146018"/>
                      <a:pt x="180118" y="0"/>
                      <a:pt x="180118" y="0"/>
                    </a:cubicBezTo>
                    <a:close/>
                  </a:path>
                </a:pathLst>
              </a:custGeom>
              <a:solidFill>
                <a:srgbClr val="3F46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824D6DBB-6166-4D63-A087-99FA24913342}"/>
                  </a:ext>
                </a:extLst>
              </p:cNvPr>
              <p:cNvSpPr/>
              <p:nvPr/>
            </p:nvSpPr>
            <p:spPr>
              <a:xfrm>
                <a:off x="909897" y="2578171"/>
                <a:ext cx="195788" cy="228205"/>
              </a:xfrm>
              <a:custGeom>
                <a:avLst/>
                <a:gdLst>
                  <a:gd name="connsiteX0" fmla="*/ 2907 w 195788"/>
                  <a:gd name="connsiteY0" fmla="*/ 50278 h 228205"/>
                  <a:gd name="connsiteX1" fmla="*/ 185596 w 195788"/>
                  <a:gd name="connsiteY1" fmla="*/ 228205 h 228205"/>
                  <a:gd name="connsiteX2" fmla="*/ 195788 w 195788"/>
                  <a:gd name="connsiteY2" fmla="*/ 211251 h 228205"/>
                  <a:gd name="connsiteX3" fmla="*/ 157688 w 195788"/>
                  <a:gd name="connsiteY3" fmla="*/ 153339 h 228205"/>
                  <a:gd name="connsiteX4" fmla="*/ 5288 w 195788"/>
                  <a:gd name="connsiteY4" fmla="*/ 8749 h 228205"/>
                  <a:gd name="connsiteX5" fmla="*/ 2907 w 195788"/>
                  <a:gd name="connsiteY5" fmla="*/ 50278 h 228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788" h="228205">
                    <a:moveTo>
                      <a:pt x="2907" y="50278"/>
                    </a:moveTo>
                    <a:cubicBezTo>
                      <a:pt x="2907" y="50278"/>
                      <a:pt x="48817" y="128002"/>
                      <a:pt x="185596" y="228205"/>
                    </a:cubicBezTo>
                    <a:lnTo>
                      <a:pt x="195788" y="211251"/>
                    </a:lnTo>
                    <a:cubicBezTo>
                      <a:pt x="181918" y="192744"/>
                      <a:pt x="169194" y="173398"/>
                      <a:pt x="157688" y="153339"/>
                    </a:cubicBezTo>
                    <a:cubicBezTo>
                      <a:pt x="117397" y="82663"/>
                      <a:pt x="53580" y="-32685"/>
                      <a:pt x="5288" y="8749"/>
                    </a:cubicBezTo>
                    <a:cubicBezTo>
                      <a:pt x="-817" y="21771"/>
                      <a:pt x="-1670" y="36644"/>
                      <a:pt x="2907" y="50278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5D3E9A9E-8774-42CE-908C-DA1BF3F27213}"/>
                  </a:ext>
                </a:extLst>
              </p:cNvPr>
              <p:cNvSpPr/>
              <p:nvPr/>
            </p:nvSpPr>
            <p:spPr>
              <a:xfrm>
                <a:off x="1087683" y="2767853"/>
                <a:ext cx="68761" cy="48175"/>
              </a:xfrm>
              <a:custGeom>
                <a:avLst/>
                <a:gdLst>
                  <a:gd name="connsiteX0" fmla="*/ 0 w 68761"/>
                  <a:gd name="connsiteY0" fmla="*/ 18044 h 48175"/>
                  <a:gd name="connsiteX1" fmla="*/ 59150 w 68761"/>
                  <a:gd name="connsiteY1" fmla="*/ 42 h 48175"/>
                  <a:gd name="connsiteX2" fmla="*/ 64865 w 68761"/>
                  <a:gd name="connsiteY2" fmla="*/ 10138 h 48175"/>
                  <a:gd name="connsiteX3" fmla="*/ 65913 w 68761"/>
                  <a:gd name="connsiteY3" fmla="*/ 24140 h 48175"/>
                  <a:gd name="connsiteX4" fmla="*/ 63817 w 68761"/>
                  <a:gd name="connsiteY4" fmla="*/ 37189 h 48175"/>
                  <a:gd name="connsiteX5" fmla="*/ 57436 w 68761"/>
                  <a:gd name="connsiteY5" fmla="*/ 47286 h 48175"/>
                  <a:gd name="connsiteX6" fmla="*/ 4572 w 68761"/>
                  <a:gd name="connsiteY6" fmla="*/ 35856 h 4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761" h="48175">
                    <a:moveTo>
                      <a:pt x="0" y="18044"/>
                    </a:moveTo>
                    <a:cubicBezTo>
                      <a:pt x="0" y="18044"/>
                      <a:pt x="42481" y="-1006"/>
                      <a:pt x="59150" y="42"/>
                    </a:cubicBezTo>
                    <a:cubicBezTo>
                      <a:pt x="67913" y="42"/>
                      <a:pt x="67437" y="6423"/>
                      <a:pt x="64865" y="10138"/>
                    </a:cubicBezTo>
                    <a:cubicBezTo>
                      <a:pt x="69247" y="11757"/>
                      <a:pt x="70390" y="16996"/>
                      <a:pt x="65913" y="24140"/>
                    </a:cubicBezTo>
                    <a:cubicBezTo>
                      <a:pt x="68866" y="28140"/>
                      <a:pt x="68580" y="30236"/>
                      <a:pt x="63817" y="37189"/>
                    </a:cubicBezTo>
                    <a:cubicBezTo>
                      <a:pt x="66008" y="42714"/>
                      <a:pt x="63817" y="46714"/>
                      <a:pt x="57436" y="47286"/>
                    </a:cubicBezTo>
                    <a:cubicBezTo>
                      <a:pt x="39008" y="50143"/>
                      <a:pt x="20175" y="46066"/>
                      <a:pt x="4572" y="35856"/>
                    </a:cubicBezTo>
                    <a:close/>
                  </a:path>
                </a:pathLst>
              </a:custGeom>
              <a:solidFill>
                <a:srgbClr val="F2B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E65BEA88-B6B9-4288-8EB0-B13D45958F25}"/>
                  </a:ext>
                </a:extLst>
              </p:cNvPr>
              <p:cNvSpPr/>
              <p:nvPr/>
            </p:nvSpPr>
            <p:spPr>
              <a:xfrm>
                <a:off x="908820" y="2243258"/>
                <a:ext cx="180261" cy="391202"/>
              </a:xfrm>
              <a:custGeom>
                <a:avLst/>
                <a:gdLst>
                  <a:gd name="connsiteX0" fmla="*/ 154192 w 180261"/>
                  <a:gd name="connsiteY0" fmla="*/ 0 h 391202"/>
                  <a:gd name="connsiteX1" fmla="*/ 98757 w 180261"/>
                  <a:gd name="connsiteY1" fmla="*/ 62674 h 391202"/>
                  <a:gd name="connsiteX2" fmla="*/ 5793 w 180261"/>
                  <a:gd name="connsiteY2" fmla="*/ 385382 h 391202"/>
                  <a:gd name="connsiteX3" fmla="*/ 148668 w 180261"/>
                  <a:gd name="connsiteY3" fmla="*/ 178784 h 391202"/>
                  <a:gd name="connsiteX4" fmla="*/ 154192 w 180261"/>
                  <a:gd name="connsiteY4" fmla="*/ 0 h 391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261" h="391202">
                    <a:moveTo>
                      <a:pt x="154192" y="0"/>
                    </a:moveTo>
                    <a:cubicBezTo>
                      <a:pt x="154192" y="0"/>
                      <a:pt x="122665" y="4000"/>
                      <a:pt x="98757" y="62674"/>
                    </a:cubicBezTo>
                    <a:cubicBezTo>
                      <a:pt x="56561" y="166211"/>
                      <a:pt x="-21925" y="361093"/>
                      <a:pt x="5793" y="385382"/>
                    </a:cubicBezTo>
                    <a:cubicBezTo>
                      <a:pt x="59609" y="432435"/>
                      <a:pt x="148668" y="178784"/>
                      <a:pt x="148668" y="178784"/>
                    </a:cubicBezTo>
                    <a:cubicBezTo>
                      <a:pt x="148668" y="178784"/>
                      <a:pt x="215914" y="40576"/>
                      <a:pt x="154192" y="0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EA2B1D17-B789-4DDC-80A2-5291E2CC624E}"/>
                  </a:ext>
                </a:extLst>
              </p:cNvPr>
              <p:cNvSpPr/>
              <p:nvPr/>
            </p:nvSpPr>
            <p:spPr>
              <a:xfrm>
                <a:off x="729162" y="1822387"/>
                <a:ext cx="323087" cy="560309"/>
              </a:xfrm>
              <a:custGeom>
                <a:avLst/>
                <a:gdLst>
                  <a:gd name="connsiteX0" fmla="*/ 100298 w 323087"/>
                  <a:gd name="connsiteY0" fmla="*/ 3009 h 560309"/>
                  <a:gd name="connsiteX1" fmla="*/ 0 w 323087"/>
                  <a:gd name="connsiteY1" fmla="*/ 386010 h 560309"/>
                  <a:gd name="connsiteX2" fmla="*/ 134398 w 323087"/>
                  <a:gd name="connsiteY2" fmla="*/ 540791 h 560309"/>
                  <a:gd name="connsiteX3" fmla="*/ 323088 w 323087"/>
                  <a:gd name="connsiteY3" fmla="*/ 542886 h 560309"/>
                  <a:gd name="connsiteX4" fmla="*/ 264795 w 323087"/>
                  <a:gd name="connsiteY4" fmla="*/ 517264 h 560309"/>
                  <a:gd name="connsiteX5" fmla="*/ 259652 w 323087"/>
                  <a:gd name="connsiteY5" fmla="*/ 218655 h 560309"/>
                  <a:gd name="connsiteX6" fmla="*/ 100298 w 323087"/>
                  <a:gd name="connsiteY6" fmla="*/ 3009 h 56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087" h="560309">
                    <a:moveTo>
                      <a:pt x="100298" y="3009"/>
                    </a:moveTo>
                    <a:cubicBezTo>
                      <a:pt x="85630" y="35966"/>
                      <a:pt x="67437" y="464019"/>
                      <a:pt x="0" y="386010"/>
                    </a:cubicBezTo>
                    <a:cubicBezTo>
                      <a:pt x="0" y="386010"/>
                      <a:pt x="17717" y="490785"/>
                      <a:pt x="134398" y="540791"/>
                    </a:cubicBezTo>
                    <a:cubicBezTo>
                      <a:pt x="180213" y="560508"/>
                      <a:pt x="279749" y="571557"/>
                      <a:pt x="323088" y="542886"/>
                    </a:cubicBezTo>
                    <a:cubicBezTo>
                      <a:pt x="323088" y="542886"/>
                      <a:pt x="277368" y="550602"/>
                      <a:pt x="264795" y="517264"/>
                    </a:cubicBezTo>
                    <a:cubicBezTo>
                      <a:pt x="244412" y="463162"/>
                      <a:pt x="259652" y="218655"/>
                      <a:pt x="259652" y="218655"/>
                    </a:cubicBezTo>
                    <a:cubicBezTo>
                      <a:pt x="259652" y="218655"/>
                      <a:pt x="114872" y="-29947"/>
                      <a:pt x="100298" y="3009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606E0C33-5435-4C8C-9629-7BE0D1DEA12B}"/>
                  </a:ext>
                </a:extLst>
              </p:cNvPr>
              <p:cNvSpPr/>
              <p:nvPr/>
            </p:nvSpPr>
            <p:spPr>
              <a:xfrm>
                <a:off x="967953" y="1995142"/>
                <a:ext cx="41742" cy="66653"/>
              </a:xfrm>
              <a:custGeom>
                <a:avLst/>
                <a:gdLst>
                  <a:gd name="connsiteX0" fmla="*/ 13907 w 41742"/>
                  <a:gd name="connsiteY0" fmla="*/ 60378 h 66653"/>
                  <a:gd name="connsiteX1" fmla="*/ 40672 w 41742"/>
                  <a:gd name="connsiteY1" fmla="*/ 52758 h 66653"/>
                  <a:gd name="connsiteX2" fmla="*/ 27813 w 41742"/>
                  <a:gd name="connsiteY2" fmla="*/ 6276 h 66653"/>
                  <a:gd name="connsiteX3" fmla="*/ 1048 w 41742"/>
                  <a:gd name="connsiteY3" fmla="*/ 13896 h 66653"/>
                  <a:gd name="connsiteX4" fmla="*/ 13907 w 41742"/>
                  <a:gd name="connsiteY4" fmla="*/ 60378 h 6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42" h="66653">
                    <a:moveTo>
                      <a:pt x="13907" y="60378"/>
                    </a:moveTo>
                    <a:cubicBezTo>
                      <a:pt x="24860" y="71141"/>
                      <a:pt x="36862" y="67712"/>
                      <a:pt x="40672" y="52758"/>
                    </a:cubicBezTo>
                    <a:cubicBezTo>
                      <a:pt x="44067" y="36099"/>
                      <a:pt x="39287" y="18821"/>
                      <a:pt x="27813" y="6276"/>
                    </a:cubicBezTo>
                    <a:cubicBezTo>
                      <a:pt x="16859" y="-4487"/>
                      <a:pt x="4858" y="-1058"/>
                      <a:pt x="1048" y="13896"/>
                    </a:cubicBezTo>
                    <a:cubicBezTo>
                      <a:pt x="-2299" y="30553"/>
                      <a:pt x="2475" y="47810"/>
                      <a:pt x="13907" y="60378"/>
                    </a:cubicBezTo>
                    <a:close/>
                  </a:path>
                </a:pathLst>
              </a:custGeom>
              <a:solidFill>
                <a:srgbClr val="FFC3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58516130-D365-4842-AF66-B0527D1BF208}"/>
                  </a:ext>
                </a:extLst>
              </p:cNvPr>
              <p:cNvSpPr/>
              <p:nvPr/>
            </p:nvSpPr>
            <p:spPr>
              <a:xfrm>
                <a:off x="978444" y="2011519"/>
                <a:ext cx="21363" cy="34091"/>
              </a:xfrm>
              <a:custGeom>
                <a:avLst/>
                <a:gdLst>
                  <a:gd name="connsiteX0" fmla="*/ 7130 w 21363"/>
                  <a:gd name="connsiteY0" fmla="*/ 30857 h 34091"/>
                  <a:gd name="connsiteX1" fmla="*/ 20846 w 21363"/>
                  <a:gd name="connsiteY1" fmla="*/ 26952 h 34091"/>
                  <a:gd name="connsiteX2" fmla="*/ 14179 w 21363"/>
                  <a:gd name="connsiteY2" fmla="*/ 3234 h 34091"/>
                  <a:gd name="connsiteX3" fmla="*/ 558 w 21363"/>
                  <a:gd name="connsiteY3" fmla="*/ 7140 h 34091"/>
                  <a:gd name="connsiteX4" fmla="*/ 7130 w 21363"/>
                  <a:gd name="connsiteY4" fmla="*/ 30857 h 3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63" h="34091">
                    <a:moveTo>
                      <a:pt x="7130" y="30857"/>
                    </a:moveTo>
                    <a:cubicBezTo>
                      <a:pt x="12750" y="36381"/>
                      <a:pt x="18846" y="34667"/>
                      <a:pt x="20846" y="26952"/>
                    </a:cubicBezTo>
                    <a:cubicBezTo>
                      <a:pt x="22530" y="18435"/>
                      <a:pt x="20054" y="9626"/>
                      <a:pt x="14179" y="3234"/>
                    </a:cubicBezTo>
                    <a:cubicBezTo>
                      <a:pt x="8654" y="-2290"/>
                      <a:pt x="2463" y="-576"/>
                      <a:pt x="558" y="7140"/>
                    </a:cubicBezTo>
                    <a:cubicBezTo>
                      <a:pt x="-1199" y="15643"/>
                      <a:pt x="1247" y="24471"/>
                      <a:pt x="7130" y="30857"/>
                    </a:cubicBezTo>
                    <a:close/>
                  </a:path>
                </a:pathLst>
              </a:custGeom>
              <a:solidFill>
                <a:srgbClr val="E2A2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41211550-E81D-4A9C-81A6-876A2E168221}"/>
                  </a:ext>
                </a:extLst>
              </p:cNvPr>
              <p:cNvSpPr/>
              <p:nvPr/>
            </p:nvSpPr>
            <p:spPr>
              <a:xfrm>
                <a:off x="985098" y="2062569"/>
                <a:ext cx="15239" cy="46577"/>
              </a:xfrm>
              <a:custGeom>
                <a:avLst/>
                <a:gdLst>
                  <a:gd name="connsiteX0" fmla="*/ 15240 w 15239"/>
                  <a:gd name="connsiteY0" fmla="*/ 28575 h 46577"/>
                  <a:gd name="connsiteX1" fmla="*/ 7620 w 15239"/>
                  <a:gd name="connsiteY1" fmla="*/ 46577 h 46577"/>
                  <a:gd name="connsiteX2" fmla="*/ 0 w 15239"/>
                  <a:gd name="connsiteY2" fmla="*/ 28575 h 46577"/>
                  <a:gd name="connsiteX3" fmla="*/ 7620 w 15239"/>
                  <a:gd name="connsiteY3" fmla="*/ 0 h 46577"/>
                  <a:gd name="connsiteX4" fmla="*/ 15240 w 15239"/>
                  <a:gd name="connsiteY4" fmla="*/ 28575 h 4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39" h="46577">
                    <a:moveTo>
                      <a:pt x="15240" y="28575"/>
                    </a:moveTo>
                    <a:cubicBezTo>
                      <a:pt x="15240" y="41434"/>
                      <a:pt x="11811" y="46577"/>
                      <a:pt x="7620" y="46577"/>
                    </a:cubicBezTo>
                    <a:cubicBezTo>
                      <a:pt x="3429" y="46577"/>
                      <a:pt x="0" y="41434"/>
                      <a:pt x="0" y="28575"/>
                    </a:cubicBezTo>
                    <a:cubicBezTo>
                      <a:pt x="0" y="15716"/>
                      <a:pt x="3429" y="0"/>
                      <a:pt x="7620" y="0"/>
                    </a:cubicBezTo>
                    <a:cubicBezTo>
                      <a:pt x="11811" y="0"/>
                      <a:pt x="15240" y="15716"/>
                      <a:pt x="15240" y="28575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39A8D87C-7EAF-4B7D-82CE-E1BC24AC9E31}"/>
                  </a:ext>
                </a:extLst>
              </p:cNvPr>
              <p:cNvSpPr/>
              <p:nvPr/>
            </p:nvSpPr>
            <p:spPr>
              <a:xfrm>
                <a:off x="987003" y="2052377"/>
                <a:ext cx="11430" cy="11430"/>
              </a:xfrm>
              <a:custGeom>
                <a:avLst/>
                <a:gdLst>
                  <a:gd name="connsiteX0" fmla="*/ 11430 w 11430"/>
                  <a:gd name="connsiteY0" fmla="*/ 5715 h 11430"/>
                  <a:gd name="connsiteX1" fmla="*/ 5715 w 11430"/>
                  <a:gd name="connsiteY1" fmla="*/ 11430 h 11430"/>
                  <a:gd name="connsiteX2" fmla="*/ 0 w 11430"/>
                  <a:gd name="connsiteY2" fmla="*/ 5715 h 11430"/>
                  <a:gd name="connsiteX3" fmla="*/ 5715 w 11430"/>
                  <a:gd name="connsiteY3" fmla="*/ 0 h 11430"/>
                  <a:gd name="connsiteX4" fmla="*/ 11430 w 11430"/>
                  <a:gd name="connsiteY4" fmla="*/ 5715 h 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" h="11430">
                    <a:moveTo>
                      <a:pt x="11430" y="5715"/>
                    </a:moveTo>
                    <a:cubicBezTo>
                      <a:pt x="11430" y="8871"/>
                      <a:pt x="8871" y="11430"/>
                      <a:pt x="5715" y="11430"/>
                    </a:cubicBezTo>
                    <a:cubicBezTo>
                      <a:pt x="2559" y="11430"/>
                      <a:pt x="0" y="8871"/>
                      <a:pt x="0" y="5715"/>
                    </a:cubicBezTo>
                    <a:cubicBezTo>
                      <a:pt x="0" y="2559"/>
                      <a:pt x="2559" y="0"/>
                      <a:pt x="5715" y="0"/>
                    </a:cubicBezTo>
                    <a:cubicBezTo>
                      <a:pt x="8871" y="0"/>
                      <a:pt x="11430" y="2559"/>
                      <a:pt x="11430" y="5715"/>
                    </a:cubicBezTo>
                    <a:close/>
                  </a:path>
                </a:pathLst>
              </a:custGeom>
              <a:solidFill>
                <a:srgbClr val="2A30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E361A99D-5002-477B-90DE-057CBCA380EF}"/>
                  </a:ext>
                </a:extLst>
              </p:cNvPr>
              <p:cNvSpPr/>
              <p:nvPr/>
            </p:nvSpPr>
            <p:spPr>
              <a:xfrm>
                <a:off x="836828" y="1769763"/>
                <a:ext cx="285239" cy="141727"/>
              </a:xfrm>
              <a:custGeom>
                <a:avLst/>
                <a:gdLst>
                  <a:gd name="connsiteX0" fmla="*/ 41971 w 285239"/>
                  <a:gd name="connsiteY0" fmla="*/ 117640 h 141727"/>
                  <a:gd name="connsiteX1" fmla="*/ 3871 w 285239"/>
                  <a:gd name="connsiteY1" fmla="*/ 39440 h 141727"/>
                  <a:gd name="connsiteX2" fmla="*/ 284192 w 285239"/>
                  <a:gd name="connsiteY2" fmla="*/ 72587 h 141727"/>
                  <a:gd name="connsiteX3" fmla="*/ 285240 w 285239"/>
                  <a:gd name="connsiteY3" fmla="*/ 74587 h 141727"/>
                  <a:gd name="connsiteX4" fmla="*/ 245616 w 285239"/>
                  <a:gd name="connsiteY4" fmla="*/ 117164 h 141727"/>
                  <a:gd name="connsiteX5" fmla="*/ 41971 w 285239"/>
                  <a:gd name="connsiteY5" fmla="*/ 117640 h 1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239" h="141727">
                    <a:moveTo>
                      <a:pt x="41971" y="117640"/>
                    </a:moveTo>
                    <a:cubicBezTo>
                      <a:pt x="5395" y="96495"/>
                      <a:pt x="-7178" y="66682"/>
                      <a:pt x="3871" y="39440"/>
                    </a:cubicBezTo>
                    <a:cubicBezTo>
                      <a:pt x="69308" y="-26568"/>
                      <a:pt x="240948" y="-5804"/>
                      <a:pt x="284192" y="72587"/>
                    </a:cubicBezTo>
                    <a:lnTo>
                      <a:pt x="285240" y="74587"/>
                    </a:lnTo>
                    <a:cubicBezTo>
                      <a:pt x="277516" y="93040"/>
                      <a:pt x="263467" y="108135"/>
                      <a:pt x="245616" y="117164"/>
                    </a:cubicBezTo>
                    <a:cubicBezTo>
                      <a:pt x="189228" y="149740"/>
                      <a:pt x="98073" y="149930"/>
                      <a:pt x="41971" y="117640"/>
                    </a:cubicBezTo>
                    <a:close/>
                  </a:path>
                </a:pathLst>
              </a:custGeom>
              <a:solidFill>
                <a:srgbClr val="6B331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765"/>
              </a:p>
            </p:txBody>
          </p:sp>
        </p:grpSp>
      </p:grpSp>
      <p:sp>
        <p:nvSpPr>
          <p:cNvPr id="320" name="Rectangle 319">
            <a:extLst>
              <a:ext uri="{FF2B5EF4-FFF2-40B4-BE49-F238E27FC236}">
                <a16:creationId xmlns:a16="http://schemas.microsoft.com/office/drawing/2014/main" id="{E8F979F2-E42B-4B35-935F-19C024CD53F0}"/>
              </a:ext>
            </a:extLst>
          </p:cNvPr>
          <p:cNvSpPr/>
          <p:nvPr/>
        </p:nvSpPr>
        <p:spPr>
          <a:xfrm>
            <a:off x="1798057" y="1675677"/>
            <a:ext cx="735771" cy="362072"/>
          </a:xfrm>
          <a:prstGeom prst="rect">
            <a:avLst/>
          </a:prstGeom>
          <a:noFill/>
          <a:ln w="6350">
            <a:noFill/>
          </a:ln>
        </p:spPr>
        <p:txBody>
          <a:bodyPr wrap="none" rtlCol="0" anchor="ctr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GE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1A9D0A42-71A8-4B8F-9163-333CC1FC0B26}"/>
              </a:ext>
            </a:extLst>
          </p:cNvPr>
          <p:cNvSpPr/>
          <p:nvPr/>
        </p:nvSpPr>
        <p:spPr>
          <a:xfrm>
            <a:off x="5294331" y="1675677"/>
            <a:ext cx="2227935" cy="362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765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 EDGE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F3A11DB3-D4CC-4E1A-843D-E050A6519D1F}"/>
              </a:ext>
            </a:extLst>
          </p:cNvPr>
          <p:cNvSpPr/>
          <p:nvPr/>
        </p:nvSpPr>
        <p:spPr>
          <a:xfrm>
            <a:off x="1143940" y="3480883"/>
            <a:ext cx="324768" cy="1198147"/>
          </a:xfrm>
          <a:prstGeom prst="rect">
            <a:avLst/>
          </a:prstGeom>
          <a:noFill/>
          <a:ln w="38100">
            <a:solidFill>
              <a:srgbClr val="FD2426"/>
            </a:solidFill>
          </a:ln>
        </p:spPr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46">
              <a:defRPr/>
            </a:pPr>
            <a:endParaRPr lang="en-US">
              <a:solidFill>
                <a:srgbClr val="000000">
                  <a:lumMod val="75000"/>
                  <a:lumOff val="25000"/>
                </a:srgbClr>
              </a:solidFill>
              <a:latin typeface="Segoe UI"/>
            </a:endParaRPr>
          </a:p>
        </p:txBody>
      </p:sp>
      <p:sp>
        <p:nvSpPr>
          <p:cNvPr id="409" name="Text Placeholder 4">
            <a:extLst>
              <a:ext uri="{FF2B5EF4-FFF2-40B4-BE49-F238E27FC236}">
                <a16:creationId xmlns:a16="http://schemas.microsoft.com/office/drawing/2014/main" id="{E1ECFA25-0FD3-42D2-B7C3-A0207AAFB97E}"/>
              </a:ext>
            </a:extLst>
          </p:cNvPr>
          <p:cNvSpPr txBox="1">
            <a:spLocks/>
          </p:cNvSpPr>
          <p:nvPr/>
        </p:nvSpPr>
        <p:spPr>
          <a:xfrm>
            <a:off x="418645" y="1175675"/>
            <a:ext cx="11354708" cy="2564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0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tx1"/>
                </a:solidFill>
              </a:rPr>
              <a:t>Capability showcase | </a:t>
            </a:r>
            <a:r>
              <a:rPr lang="en-US" sz="2000">
                <a:solidFill>
                  <a:schemeClr val="tx2"/>
                </a:solidFill>
              </a:rPr>
              <a:t>improved availability &amp; loss prevention</a:t>
            </a:r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F9BA3DE1-7136-4BFA-A997-E165FD74419B}"/>
              </a:ext>
            </a:extLst>
          </p:cNvPr>
          <p:cNvGrpSpPr/>
          <p:nvPr/>
        </p:nvGrpSpPr>
        <p:grpSpPr>
          <a:xfrm>
            <a:off x="8561887" y="1675677"/>
            <a:ext cx="3478706" cy="4525436"/>
            <a:chOff x="8561887" y="1675677"/>
            <a:chExt cx="3478706" cy="4525436"/>
          </a:xfrm>
        </p:grpSpPr>
        <p:sp>
          <p:nvSpPr>
            <p:cNvPr id="413" name="Rectangle 412">
              <a:extLst>
                <a:ext uri="{FF2B5EF4-FFF2-40B4-BE49-F238E27FC236}">
                  <a16:creationId xmlns:a16="http://schemas.microsoft.com/office/drawing/2014/main" id="{B237AC0C-36D5-473A-87D2-7BF42192F96B}"/>
                </a:ext>
              </a:extLst>
            </p:cNvPr>
            <p:cNvSpPr/>
            <p:nvPr/>
          </p:nvSpPr>
          <p:spPr>
            <a:xfrm>
              <a:off x="8561887" y="1675677"/>
              <a:ext cx="3478706" cy="362072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none" rtlCol="0" anchor="ctr">
              <a:spAutoFit/>
            </a:bodyPr>
            <a:lstStyle/>
            <a:p>
              <a:pPr algn="ctr" defTabSz="914246">
                <a:defRPr/>
              </a:pPr>
              <a:r>
                <a:rPr lang="en-US" sz="1765" b="1">
                  <a:solidFill>
                    <a:srgbClr val="0078D7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OUD</a:t>
              </a:r>
            </a:p>
          </p:txBody>
        </p:sp>
        <p:pic>
          <p:nvPicPr>
            <p:cNvPr id="414" name="Picture 413">
              <a:extLst>
                <a:ext uri="{FF2B5EF4-FFF2-40B4-BE49-F238E27FC236}">
                  <a16:creationId xmlns:a16="http://schemas.microsoft.com/office/drawing/2014/main" id="{CB1D6ECF-741B-4B0B-B40F-4800870EEC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0863" y="2248210"/>
              <a:ext cx="2699609" cy="892917"/>
            </a:xfrm>
            <a:prstGeom prst="rect">
              <a:avLst/>
            </a:prstGeom>
          </p:spPr>
        </p:pic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340CA5D4-9BD4-449E-A275-76418AD35DBD}"/>
                </a:ext>
              </a:extLst>
            </p:cNvPr>
            <p:cNvGrpSpPr/>
            <p:nvPr/>
          </p:nvGrpSpPr>
          <p:grpSpPr>
            <a:xfrm>
              <a:off x="9312127" y="3351588"/>
              <a:ext cx="1922203" cy="2849525"/>
              <a:chOff x="9498855" y="3262717"/>
              <a:chExt cx="1960748" cy="2906664"/>
            </a:xfrm>
          </p:grpSpPr>
          <p:pic>
            <p:nvPicPr>
              <p:cNvPr id="416" name="Picture 415">
                <a:extLst>
                  <a:ext uri="{FF2B5EF4-FFF2-40B4-BE49-F238E27FC236}">
                    <a16:creationId xmlns:a16="http://schemas.microsoft.com/office/drawing/2014/main" id="{ED38B984-A125-46DA-8528-DB61C0AA27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9" y="3348433"/>
                <a:ext cx="372146" cy="372144"/>
              </a:xfrm>
              <a:prstGeom prst="rect">
                <a:avLst/>
              </a:prstGeom>
              <a:noFill/>
            </p:spPr>
          </p:pic>
          <p:sp>
            <p:nvSpPr>
              <p:cNvPr id="417" name="Rectangle 416">
                <a:extLst>
                  <a:ext uri="{FF2B5EF4-FFF2-40B4-BE49-F238E27FC236}">
                    <a16:creationId xmlns:a16="http://schemas.microsoft.com/office/drawing/2014/main" id="{01C1974C-4A8D-497B-A66C-5FD6A4E8035C}"/>
                  </a:ext>
                </a:extLst>
              </p:cNvPr>
              <p:cNvSpPr/>
              <p:nvPr/>
            </p:nvSpPr>
            <p:spPr>
              <a:xfrm>
                <a:off x="10191395" y="3262717"/>
                <a:ext cx="1238984" cy="53371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Data Storage</a:t>
                </a:r>
              </a:p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ggregation</a:t>
                </a:r>
              </a:p>
            </p:txBody>
          </p:sp>
          <p:sp>
            <p:nvSpPr>
              <p:cNvPr id="418" name="Rectangle 417">
                <a:extLst>
                  <a:ext uri="{FF2B5EF4-FFF2-40B4-BE49-F238E27FC236}">
                    <a16:creationId xmlns:a16="http://schemas.microsoft.com/office/drawing/2014/main" id="{66254568-D2D9-4EAA-822E-7B282EB5342E}"/>
                  </a:ext>
                </a:extLst>
              </p:cNvPr>
              <p:cNvSpPr/>
              <p:nvPr/>
            </p:nvSpPr>
            <p:spPr>
              <a:xfrm>
                <a:off x="10191395" y="4208330"/>
                <a:ext cx="95283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Azure ML</a:t>
                </a:r>
              </a:p>
            </p:txBody>
          </p:sp>
          <p:pic>
            <p:nvPicPr>
              <p:cNvPr id="419" name="Picture 418">
                <a:extLst>
                  <a:ext uri="{FF2B5EF4-FFF2-40B4-BE49-F238E27FC236}">
                    <a16:creationId xmlns:a16="http://schemas.microsoft.com/office/drawing/2014/main" id="{70A0F561-C7B2-431E-AF0D-C9C2B874D0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9612" y="4198686"/>
                <a:ext cx="365177" cy="365177"/>
              </a:xfrm>
              <a:prstGeom prst="rect">
                <a:avLst/>
              </a:prstGeom>
              <a:noFill/>
            </p:spPr>
          </p:pic>
          <p:pic>
            <p:nvPicPr>
              <p:cNvPr id="420" name="Picture 419">
                <a:extLst>
                  <a:ext uri="{FF2B5EF4-FFF2-40B4-BE49-F238E27FC236}">
                    <a16:creationId xmlns:a16="http://schemas.microsoft.com/office/drawing/2014/main" id="{E694D2D7-B523-487F-BA61-D54702711F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6128" y="4970645"/>
                <a:ext cx="372146" cy="372146"/>
              </a:xfrm>
              <a:prstGeom prst="rect">
                <a:avLst/>
              </a:prstGeom>
              <a:noFill/>
            </p:spPr>
          </p:pic>
          <p:sp>
            <p:nvSpPr>
              <p:cNvPr id="421" name="Rectangle 420">
                <a:extLst>
                  <a:ext uri="{FF2B5EF4-FFF2-40B4-BE49-F238E27FC236}">
                    <a16:creationId xmlns:a16="http://schemas.microsoft.com/office/drawing/2014/main" id="{8608ABC0-2C92-4BB1-BAEA-3EC8C8850266}"/>
                  </a:ext>
                </a:extLst>
              </p:cNvPr>
              <p:cNvSpPr/>
              <p:nvPr/>
            </p:nvSpPr>
            <p:spPr>
              <a:xfrm>
                <a:off x="10191395" y="4938866"/>
                <a:ext cx="834253" cy="3139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oT Hub</a:t>
                </a:r>
              </a:p>
            </p:txBody>
          </p:sp>
          <p:pic>
            <p:nvPicPr>
              <p:cNvPr id="422" name="Picture 421">
                <a:extLst>
                  <a:ext uri="{FF2B5EF4-FFF2-40B4-BE49-F238E27FC236}">
                    <a16:creationId xmlns:a16="http://schemas.microsoft.com/office/drawing/2014/main" id="{273D0188-87F5-4837-ABBF-F1E9BA6BDD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98855" y="5777444"/>
                <a:ext cx="466692" cy="307705"/>
              </a:xfrm>
              <a:prstGeom prst="rect">
                <a:avLst/>
              </a:prstGeom>
            </p:spPr>
          </p:pic>
          <p:sp>
            <p:nvSpPr>
              <p:cNvPr id="423" name="Rectangle 422">
                <a:extLst>
                  <a:ext uri="{FF2B5EF4-FFF2-40B4-BE49-F238E27FC236}">
                    <a16:creationId xmlns:a16="http://schemas.microsoft.com/office/drawing/2014/main" id="{77FDF962-A64B-413D-BDB8-AF3E9C6D1582}"/>
                  </a:ext>
                </a:extLst>
              </p:cNvPr>
              <p:cNvSpPr/>
              <p:nvPr/>
            </p:nvSpPr>
            <p:spPr>
              <a:xfrm>
                <a:off x="10191395" y="5635669"/>
                <a:ext cx="1268208" cy="53371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246">
                  <a:defRPr/>
                </a:pPr>
                <a:r>
                  <a:rPr lang="en-US" sz="14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Segoe UI"/>
                  </a:rPr>
                  <a:t>Intel Xeon Processors </a:t>
                </a:r>
              </a:p>
            </p:txBody>
          </p:sp>
        </p:grpSp>
      </p:grpSp>
      <p:cxnSp>
        <p:nvCxnSpPr>
          <p:cNvPr id="424" name="Connector: Elbow 423">
            <a:extLst>
              <a:ext uri="{FF2B5EF4-FFF2-40B4-BE49-F238E27FC236}">
                <a16:creationId xmlns:a16="http://schemas.microsoft.com/office/drawing/2014/main" id="{36569437-672F-4D45-8472-EDB381A9182F}"/>
              </a:ext>
            </a:extLst>
          </p:cNvPr>
          <p:cNvCxnSpPr>
            <a:cxnSpLocks/>
          </p:cNvCxnSpPr>
          <p:nvPr/>
        </p:nvCxnSpPr>
        <p:spPr>
          <a:xfrm>
            <a:off x="3145939" y="2492658"/>
            <a:ext cx="1698445" cy="340068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D62C5105-608C-4CBA-B508-786D837DF482}"/>
              </a:ext>
            </a:extLst>
          </p:cNvPr>
          <p:cNvCxnSpPr>
            <a:cxnSpLocks/>
          </p:cNvCxnSpPr>
          <p:nvPr/>
        </p:nvCxnSpPr>
        <p:spPr>
          <a:xfrm rot="10800000" flipV="1">
            <a:off x="3646449" y="4940425"/>
            <a:ext cx="1680796" cy="650659"/>
          </a:xfrm>
          <a:prstGeom prst="bentConnector3">
            <a:avLst>
              <a:gd name="adj1" fmla="val 50000"/>
            </a:avLst>
          </a:prstGeom>
          <a:noFill/>
          <a:ln w="25400" cap="rnd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pic>
        <p:nvPicPr>
          <p:cNvPr id="426" name="Graphic 425">
            <a:extLst>
              <a:ext uri="{FF2B5EF4-FFF2-40B4-BE49-F238E27FC236}">
                <a16:creationId xmlns:a16="http://schemas.microsoft.com/office/drawing/2014/main" id="{51A489A6-5320-4775-B9FC-5184632EB5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48356" y="3560002"/>
            <a:ext cx="661927" cy="390982"/>
          </a:xfrm>
          <a:prstGeom prst="rect">
            <a:avLst/>
          </a:prstGeom>
        </p:spPr>
      </p:pic>
      <p:sp>
        <p:nvSpPr>
          <p:cNvPr id="427" name="Rectangle 426">
            <a:extLst>
              <a:ext uri="{FF2B5EF4-FFF2-40B4-BE49-F238E27FC236}">
                <a16:creationId xmlns:a16="http://schemas.microsoft.com/office/drawing/2014/main" id="{CDE5497C-382F-4711-B2CD-A78339E59183}"/>
              </a:ext>
            </a:extLst>
          </p:cNvPr>
          <p:cNvSpPr/>
          <p:nvPr/>
        </p:nvSpPr>
        <p:spPr>
          <a:xfrm>
            <a:off x="6611595" y="4090387"/>
            <a:ext cx="935449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Cognitiv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Services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363FACC2-AF2B-4825-9C29-1DB231EAE4A1}"/>
              </a:ext>
            </a:extLst>
          </p:cNvPr>
          <p:cNvSpPr/>
          <p:nvPr/>
        </p:nvSpPr>
        <p:spPr>
          <a:xfrm>
            <a:off x="5233538" y="4090387"/>
            <a:ext cx="88037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oT Edge</a:t>
            </a:r>
          </a:p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Runtime</a:t>
            </a:r>
          </a:p>
        </p:txBody>
      </p:sp>
      <p:pic>
        <p:nvPicPr>
          <p:cNvPr id="429" name="Picture 428">
            <a:extLst>
              <a:ext uri="{FF2B5EF4-FFF2-40B4-BE49-F238E27FC236}">
                <a16:creationId xmlns:a16="http://schemas.microsoft.com/office/drawing/2014/main" id="{A4CA0E5E-292E-499B-8BCF-DC3911B6C08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875" y="3538645"/>
            <a:ext cx="433696" cy="433696"/>
          </a:xfrm>
          <a:prstGeom prst="rect">
            <a:avLst/>
          </a:prstGeom>
          <a:noFill/>
        </p:spPr>
      </p:pic>
      <p:pic>
        <p:nvPicPr>
          <p:cNvPr id="430" name="Picture 429" descr="Data Box Edge">
            <a:extLst>
              <a:ext uri="{FF2B5EF4-FFF2-40B4-BE49-F238E27FC236}">
                <a16:creationId xmlns:a16="http://schemas.microsoft.com/office/drawing/2014/main" id="{BE6C8812-407D-4BA1-BC9F-DC409725696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1657" y="2291558"/>
            <a:ext cx="1433282" cy="806220"/>
          </a:xfrm>
          <a:prstGeom prst="rect">
            <a:avLst/>
          </a:prstGeom>
        </p:spPr>
      </p:pic>
      <p:pic>
        <p:nvPicPr>
          <p:cNvPr id="431" name="Picture 430">
            <a:extLst>
              <a:ext uri="{FF2B5EF4-FFF2-40B4-BE49-F238E27FC236}">
                <a16:creationId xmlns:a16="http://schemas.microsoft.com/office/drawing/2014/main" id="{F0C1AB04-2162-45E8-A82E-942E920D4CE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669" y="5158604"/>
            <a:ext cx="695258" cy="458406"/>
          </a:xfrm>
          <a:prstGeom prst="rect">
            <a:avLst/>
          </a:prstGeom>
        </p:spPr>
      </p:pic>
      <p:sp>
        <p:nvSpPr>
          <p:cNvPr id="432" name="Rectangle 431">
            <a:extLst>
              <a:ext uri="{FF2B5EF4-FFF2-40B4-BE49-F238E27FC236}">
                <a16:creationId xmlns:a16="http://schemas.microsoft.com/office/drawing/2014/main" id="{6B71C085-4855-4688-96CF-0A111FBA01A1}"/>
              </a:ext>
            </a:extLst>
          </p:cNvPr>
          <p:cNvSpPr/>
          <p:nvPr/>
        </p:nvSpPr>
        <p:spPr>
          <a:xfrm>
            <a:off x="5268205" y="5783337"/>
            <a:ext cx="22801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46">
              <a:defRPr/>
            </a:pPr>
            <a:r>
              <a:rPr lang="en-US" sz="1400">
                <a:solidFill>
                  <a:srgbClr val="000000">
                    <a:lumMod val="75000"/>
                    <a:lumOff val="25000"/>
                  </a:srgbClr>
                </a:solidFill>
                <a:latin typeface="Segoe UI"/>
              </a:rPr>
              <a:t>Intel Xeon Processors, Intel FPGAs, Intel SSDS </a:t>
            </a:r>
          </a:p>
        </p:txBody>
      </p:sp>
    </p:spTree>
    <p:extLst>
      <p:ext uri="{BB962C8B-B14F-4D97-AF65-F5344CB8AC3E}">
        <p14:creationId xmlns:p14="http://schemas.microsoft.com/office/powerpoint/2010/main" val="99646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4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4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4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4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4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4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4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4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4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4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4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4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4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252" grpId="0" animBg="1"/>
      <p:bldP spid="427" grpId="0"/>
      <p:bldP spid="428" grpId="0"/>
      <p:bldP spid="43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5D4EA5-3425-4988-BF7E-29566FB7F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402598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B137748-8ACB-492E-AEB6-AF453C537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643" y="1649905"/>
            <a:ext cx="7454643" cy="3558191"/>
          </a:xfrm>
        </p:spPr>
        <p:txBody>
          <a:bodyPr anchor="ctr"/>
          <a:lstStyle/>
          <a:p>
            <a:r>
              <a:rPr lang="en-US"/>
              <a:t>Retail Overview  </a:t>
            </a:r>
          </a:p>
        </p:txBody>
      </p:sp>
    </p:spTree>
    <p:extLst>
      <p:ext uri="{BB962C8B-B14F-4D97-AF65-F5344CB8AC3E}">
        <p14:creationId xmlns:p14="http://schemas.microsoft.com/office/powerpoint/2010/main" val="91187161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7927A5FF-55F7-4564-8E73-DC956E394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abling Intelligent Retai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06FF6BD-DAF2-465F-BEAA-2F12F0B809F0}"/>
              </a:ext>
            </a:extLst>
          </p:cNvPr>
          <p:cNvSpPr txBox="1">
            <a:spLocks/>
          </p:cNvSpPr>
          <p:nvPr/>
        </p:nvSpPr>
        <p:spPr>
          <a:xfrm>
            <a:off x="418644" y="1087629"/>
            <a:ext cx="11617325" cy="441146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ts val="1961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353" kern="1200" spc="-49" baseline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196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80" b="1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ts val="1176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98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pc="0">
                <a:solidFill>
                  <a:schemeClr val="tx2"/>
                </a:solidFill>
              </a:rPr>
              <a:t>Your customers. Your employees. Your data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C3EB04A-CB83-4526-8C97-90C822FF8FA2}"/>
              </a:ext>
            </a:extLst>
          </p:cNvPr>
          <p:cNvGrpSpPr/>
          <p:nvPr/>
        </p:nvGrpSpPr>
        <p:grpSpPr>
          <a:xfrm>
            <a:off x="418642" y="2201863"/>
            <a:ext cx="2203704" cy="4227513"/>
            <a:chOff x="418642" y="2201863"/>
            <a:chExt cx="2203704" cy="422751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EF4BEE1-FA2F-4AEA-8D3B-B4B74412C9E7}"/>
                </a:ext>
              </a:extLst>
            </p:cNvPr>
            <p:cNvGrpSpPr/>
            <p:nvPr/>
          </p:nvGrpSpPr>
          <p:grpSpPr>
            <a:xfrm>
              <a:off x="418642" y="2201863"/>
              <a:ext cx="2200010" cy="4227513"/>
              <a:chOff x="418642" y="2201863"/>
              <a:chExt cx="2200010" cy="4227513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838C052E-1318-44C9-9ACB-95178BFFA813}"/>
                  </a:ext>
                </a:extLst>
              </p:cNvPr>
              <p:cNvSpPr/>
              <p:nvPr/>
            </p:nvSpPr>
            <p:spPr bwMode="auto">
              <a:xfrm>
                <a:off x="418644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239677F-D6C8-465D-A458-9844228F2D96}"/>
                  </a:ext>
                </a:extLst>
              </p:cNvPr>
              <p:cNvSpPr/>
              <p:nvPr/>
            </p:nvSpPr>
            <p:spPr bwMode="auto">
              <a:xfrm>
                <a:off x="418643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Know your customers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81428109-3F6E-4E83-9F81-66DC1B0A5293}"/>
                  </a:ext>
                </a:extLst>
              </p:cNvPr>
              <p:cNvSpPr/>
              <p:nvPr/>
            </p:nvSpPr>
            <p:spPr bwMode="auto">
              <a:xfrm>
                <a:off x="418642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  <a:t>Enable customer</a:t>
                </a:r>
                <a:b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</a:br>
                <a:r>
                  <a:rPr lang="en-US" sz="1400" kern="0">
                    <a:solidFill>
                      <a:schemeClr val="tx1"/>
                    </a:solidFill>
                    <a:ea typeface="Segoe UI" pitchFamily="34" charset="0"/>
                    <a:cs typeface="Segoe UI Semibold" panose="020B0702040204020203" pitchFamily="34" charset="0"/>
                  </a:rPr>
                  <a:t>first retail 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AABB04E-6C2E-4BCD-BED8-22C7B76B5396}"/>
                </a:ext>
              </a:extLst>
            </p:cNvPr>
            <p:cNvGrpSpPr/>
            <p:nvPr/>
          </p:nvGrpSpPr>
          <p:grpSpPr>
            <a:xfrm>
              <a:off x="632581" y="2415802"/>
              <a:ext cx="1772130" cy="1772130"/>
              <a:chOff x="691038" y="2474259"/>
              <a:chExt cx="1655216" cy="1655216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1EC1A6D1-CFA4-47B1-86D6-0D04993F1F9D}"/>
                  </a:ext>
                </a:extLst>
              </p:cNvPr>
              <p:cNvSpPr/>
              <p:nvPr/>
            </p:nvSpPr>
            <p:spPr bwMode="auto">
              <a:xfrm>
                <a:off x="691038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38EEAB42-628F-4074-87BE-06B10D6AC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47547" y="2577891"/>
                <a:ext cx="1342198" cy="1342194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BA8A9F-A415-4BFD-9B0A-17CE8D8B372B}"/>
                </a:ext>
              </a:extLst>
            </p:cNvPr>
            <p:cNvSpPr/>
            <p:nvPr/>
          </p:nvSpPr>
          <p:spPr bwMode="auto">
            <a:xfrm>
              <a:off x="418642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0B46AB6-3E72-4EB4-B935-A3173597E018}"/>
              </a:ext>
            </a:extLst>
          </p:cNvPr>
          <p:cNvGrpSpPr/>
          <p:nvPr/>
        </p:nvGrpSpPr>
        <p:grpSpPr>
          <a:xfrm>
            <a:off x="2705220" y="2201863"/>
            <a:ext cx="2203704" cy="4227513"/>
            <a:chOff x="2705220" y="2201863"/>
            <a:chExt cx="2203704" cy="422751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76B5CD3-9296-4987-8CE3-ED467E4142DB}"/>
                </a:ext>
              </a:extLst>
            </p:cNvPr>
            <p:cNvGrpSpPr/>
            <p:nvPr/>
          </p:nvGrpSpPr>
          <p:grpSpPr>
            <a:xfrm>
              <a:off x="2705220" y="2201863"/>
              <a:ext cx="2200010" cy="4227513"/>
              <a:chOff x="2705220" y="2201863"/>
              <a:chExt cx="2200010" cy="4227513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6AF31A6-C379-45C5-A586-B443786BC03E}"/>
                  </a:ext>
                </a:extLst>
              </p:cNvPr>
              <p:cNvSpPr/>
              <p:nvPr/>
            </p:nvSpPr>
            <p:spPr bwMode="auto">
              <a:xfrm>
                <a:off x="2705222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851DB18-01B4-4221-A3CE-EA652D2E17D0}"/>
                  </a:ext>
                </a:extLst>
              </p:cNvPr>
              <p:cNvSpPr/>
              <p:nvPr/>
            </p:nvSpPr>
            <p:spPr bwMode="auto">
              <a:xfrm>
                <a:off x="2705221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Empower your employees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3BB0AE2-C962-46B7-99C2-F662801AAC17}"/>
                  </a:ext>
                </a:extLst>
              </p:cNvPr>
              <p:cNvSpPr/>
              <p:nvPr/>
            </p:nvSpPr>
            <p:spPr bwMode="auto">
              <a:xfrm>
                <a:off x="2705220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Enable your brand </a:t>
                </a:r>
                <a:b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</a:b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ambassadors to delight your customer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33C52DD-5626-4EBC-AE8B-3419AF50B28D}"/>
                </a:ext>
              </a:extLst>
            </p:cNvPr>
            <p:cNvGrpSpPr/>
            <p:nvPr/>
          </p:nvGrpSpPr>
          <p:grpSpPr>
            <a:xfrm>
              <a:off x="2877163" y="2415802"/>
              <a:ext cx="1856122" cy="1772130"/>
              <a:chOff x="2938390" y="2474259"/>
              <a:chExt cx="1733668" cy="165521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40F530DD-3717-4AC8-A6E9-AA5AA9FDC95F}"/>
                  </a:ext>
                </a:extLst>
              </p:cNvPr>
              <p:cNvSpPr/>
              <p:nvPr/>
            </p:nvSpPr>
            <p:spPr bwMode="auto">
              <a:xfrm>
                <a:off x="2977616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A195B369-F689-41D7-BDF0-91EC1AD752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938390" y="2635624"/>
                <a:ext cx="1733668" cy="1332486"/>
              </a:xfrm>
              <a:prstGeom prst="rect">
                <a:avLst/>
              </a:prstGeom>
            </p:spPr>
          </p:pic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FE98778-58C7-4667-B630-9F7988625832}"/>
                </a:ext>
              </a:extLst>
            </p:cNvPr>
            <p:cNvSpPr/>
            <p:nvPr/>
          </p:nvSpPr>
          <p:spPr bwMode="auto">
            <a:xfrm>
              <a:off x="2705220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9171B1-4D95-4DE8-9055-5FB661B153AA}"/>
              </a:ext>
            </a:extLst>
          </p:cNvPr>
          <p:cNvGrpSpPr/>
          <p:nvPr/>
        </p:nvGrpSpPr>
        <p:grpSpPr>
          <a:xfrm>
            <a:off x="4991797" y="2201863"/>
            <a:ext cx="2203705" cy="4227513"/>
            <a:chOff x="4991797" y="2201863"/>
            <a:chExt cx="2203705" cy="422751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E4ECA0C-A51E-4DA5-A18C-163540626407}"/>
                </a:ext>
              </a:extLst>
            </p:cNvPr>
            <p:cNvGrpSpPr/>
            <p:nvPr/>
          </p:nvGrpSpPr>
          <p:grpSpPr>
            <a:xfrm>
              <a:off x="4991797" y="2201863"/>
              <a:ext cx="2200011" cy="4227513"/>
              <a:chOff x="4991797" y="2201863"/>
              <a:chExt cx="2200011" cy="4227513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BB3C2A8-DCC5-4022-9F58-03564F635082}"/>
                  </a:ext>
                </a:extLst>
              </p:cNvPr>
              <p:cNvSpPr/>
              <p:nvPr/>
            </p:nvSpPr>
            <p:spPr bwMode="auto">
              <a:xfrm>
                <a:off x="4991800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60004E1-F6E5-499B-8016-319FD034170B}"/>
                  </a:ext>
                </a:extLst>
              </p:cNvPr>
              <p:cNvSpPr/>
              <p:nvPr/>
            </p:nvSpPr>
            <p:spPr bwMode="auto">
              <a:xfrm>
                <a:off x="4991798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Deliver intelligent supply chain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A52AB91-87F6-4863-847F-D69CD9A4B307}"/>
                  </a:ext>
                </a:extLst>
              </p:cNvPr>
              <p:cNvSpPr/>
              <p:nvPr/>
            </p:nvSpPr>
            <p:spPr bwMode="auto">
              <a:xfrm>
                <a:off x="4991797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Close the gap between demand and fulfillment to delight your customers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63720AC-6ED0-4D7C-8A25-E093E48E44A8}"/>
                </a:ext>
              </a:extLst>
            </p:cNvPr>
            <p:cNvGrpSpPr/>
            <p:nvPr/>
          </p:nvGrpSpPr>
          <p:grpSpPr>
            <a:xfrm>
              <a:off x="5146337" y="2415802"/>
              <a:ext cx="1890930" cy="1772130"/>
              <a:chOff x="5208713" y="2474259"/>
              <a:chExt cx="1766178" cy="1655216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D508407-E2E3-47EB-9AFE-0470D2E61F22}"/>
                  </a:ext>
                </a:extLst>
              </p:cNvPr>
              <p:cNvSpPr/>
              <p:nvPr/>
            </p:nvSpPr>
            <p:spPr bwMode="auto">
              <a:xfrm>
                <a:off x="5264194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0D56C8B8-E01C-4F2B-8A05-3430981974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208713" y="2483259"/>
                <a:ext cx="1766178" cy="1637216"/>
              </a:xfrm>
              <a:prstGeom prst="rect">
                <a:avLst/>
              </a:prstGeom>
            </p:spPr>
          </p:pic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4CA8469-931B-4811-BC98-0B7B34F7B4B1}"/>
                </a:ext>
              </a:extLst>
            </p:cNvPr>
            <p:cNvSpPr/>
            <p:nvPr/>
          </p:nvSpPr>
          <p:spPr bwMode="auto">
            <a:xfrm>
              <a:off x="4991798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F1CB5F-5FCE-491E-8EFD-A405B116BD39}"/>
              </a:ext>
            </a:extLst>
          </p:cNvPr>
          <p:cNvGrpSpPr/>
          <p:nvPr/>
        </p:nvGrpSpPr>
        <p:grpSpPr>
          <a:xfrm>
            <a:off x="7278375" y="2201863"/>
            <a:ext cx="2203705" cy="4227513"/>
            <a:chOff x="7278375" y="2201863"/>
            <a:chExt cx="2203705" cy="422751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3DDCFCD-465C-47F1-B736-F8806C7CDC3D}"/>
                </a:ext>
              </a:extLst>
            </p:cNvPr>
            <p:cNvGrpSpPr/>
            <p:nvPr/>
          </p:nvGrpSpPr>
          <p:grpSpPr>
            <a:xfrm>
              <a:off x="7278375" y="2201863"/>
              <a:ext cx="2200011" cy="4227513"/>
              <a:chOff x="7278375" y="2201863"/>
              <a:chExt cx="2200011" cy="4227513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5BBF212-ACA1-4C98-AE70-0A94FF0BE8CF}"/>
                  </a:ext>
                </a:extLst>
              </p:cNvPr>
              <p:cNvSpPr/>
              <p:nvPr/>
            </p:nvSpPr>
            <p:spPr bwMode="auto">
              <a:xfrm>
                <a:off x="7278378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CEB400E-54FE-4FFC-B1CF-01CE7E52F2E4}"/>
                  </a:ext>
                </a:extLst>
              </p:cNvPr>
              <p:cNvSpPr/>
              <p:nvPr/>
            </p:nvSpPr>
            <p:spPr bwMode="auto">
              <a:xfrm>
                <a:off x="7278376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Reimagine</a:t>
                </a:r>
                <a:br>
                  <a:rPr lang="en-US">
                    <a:solidFill>
                      <a:schemeClr val="tx1"/>
                    </a:solidFill>
                    <a:latin typeface="+mj-lt"/>
                  </a:rPr>
                </a:br>
                <a:r>
                  <a:rPr lang="en-US">
                    <a:solidFill>
                      <a:schemeClr val="tx1"/>
                    </a:solidFill>
                    <a:latin typeface="+mj-lt"/>
                  </a:rPr>
                  <a:t>retail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F24CDBA-B307-4DB2-A3F8-A22407FA9F12}"/>
                  </a:ext>
                </a:extLst>
              </p:cNvPr>
              <p:cNvSpPr/>
              <p:nvPr/>
            </p:nvSpPr>
            <p:spPr bwMode="auto">
              <a:xfrm>
                <a:off x="7278375" y="5185612"/>
                <a:ext cx="2200008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  <a:defRPr/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Imagine the impossible and then make it happen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BCBE74D-54EB-4F0E-8C32-BFD489860038}"/>
                </a:ext>
              </a:extLst>
            </p:cNvPr>
            <p:cNvGrpSpPr/>
            <p:nvPr/>
          </p:nvGrpSpPr>
          <p:grpSpPr>
            <a:xfrm>
              <a:off x="7492315" y="2415802"/>
              <a:ext cx="1772130" cy="1772130"/>
              <a:chOff x="7550772" y="2474259"/>
              <a:chExt cx="1655216" cy="1655216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88A7D50-DE33-4529-9056-A65FD536F6DD}"/>
                  </a:ext>
                </a:extLst>
              </p:cNvPr>
              <p:cNvSpPr/>
              <p:nvPr/>
            </p:nvSpPr>
            <p:spPr bwMode="auto">
              <a:xfrm>
                <a:off x="7550772" y="2474259"/>
                <a:ext cx="1655216" cy="16552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4BBA2654-FDF1-4381-B084-B9925F1BFB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612760" y="2517824"/>
                <a:ext cx="1531240" cy="1568086"/>
              </a:xfrm>
              <a:prstGeom prst="rect">
                <a:avLst/>
              </a:prstGeom>
            </p:spPr>
          </p:pic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8A1A616-E683-4572-B5CE-456C285B4861}"/>
                </a:ext>
              </a:extLst>
            </p:cNvPr>
            <p:cNvSpPr/>
            <p:nvPr/>
          </p:nvSpPr>
          <p:spPr bwMode="auto">
            <a:xfrm>
              <a:off x="7278376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E1D047C-E477-4605-9381-D226D94838BA}"/>
              </a:ext>
            </a:extLst>
          </p:cNvPr>
          <p:cNvGrpSpPr/>
          <p:nvPr/>
        </p:nvGrpSpPr>
        <p:grpSpPr>
          <a:xfrm>
            <a:off x="9564953" y="2201863"/>
            <a:ext cx="2203704" cy="4227513"/>
            <a:chOff x="9564953" y="2201863"/>
            <a:chExt cx="2203704" cy="422751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3DAE99D-478E-468A-85D9-FC63DEE820CA}"/>
                </a:ext>
              </a:extLst>
            </p:cNvPr>
            <p:cNvGrpSpPr/>
            <p:nvPr/>
          </p:nvGrpSpPr>
          <p:grpSpPr>
            <a:xfrm>
              <a:off x="9564954" y="2201863"/>
              <a:ext cx="2200009" cy="4227513"/>
              <a:chOff x="9564954" y="2201863"/>
              <a:chExt cx="2200009" cy="4227513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D1215E0-6DD0-46C6-B4E4-1F6D9BAD85D8}"/>
                  </a:ext>
                </a:extLst>
              </p:cNvPr>
              <p:cNvSpPr/>
              <p:nvPr/>
            </p:nvSpPr>
            <p:spPr bwMode="auto">
              <a:xfrm>
                <a:off x="9564955" y="2201863"/>
                <a:ext cx="2200008" cy="4227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E607F4E-BCF6-4424-B1E8-8682A41EB8A3}"/>
                  </a:ext>
                </a:extLst>
              </p:cNvPr>
              <p:cNvSpPr/>
              <p:nvPr/>
            </p:nvSpPr>
            <p:spPr bwMode="auto">
              <a:xfrm>
                <a:off x="9564954" y="4630388"/>
                <a:ext cx="2200008" cy="553998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7">
                  <a:spcBef>
                    <a:spcPts val="882"/>
                  </a:spcBef>
                  <a:buSzPct val="90000"/>
                </a:pPr>
                <a:r>
                  <a:rPr lang="en-US">
                    <a:solidFill>
                      <a:schemeClr val="tx1"/>
                    </a:solidFill>
                    <a:latin typeface="+mj-lt"/>
                  </a:rPr>
                  <a:t>Be</a:t>
                </a:r>
                <a:br>
                  <a:rPr lang="en-US">
                    <a:solidFill>
                      <a:schemeClr val="tx1"/>
                    </a:solidFill>
                    <a:latin typeface="+mj-lt"/>
                  </a:rPr>
                </a:br>
                <a:r>
                  <a:rPr lang="en-US">
                    <a:solidFill>
                      <a:schemeClr val="tx1"/>
                    </a:solidFill>
                    <a:latin typeface="+mj-lt"/>
                  </a:rPr>
                  <a:t>prepared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C0A83548-51B9-493C-B9E5-1EFA9B6AC986}"/>
                  </a:ext>
                </a:extLst>
              </p:cNvPr>
              <p:cNvSpPr/>
              <p:nvPr/>
            </p:nvSpPr>
            <p:spPr bwMode="auto">
              <a:xfrm>
                <a:off x="9716947" y="5185612"/>
                <a:ext cx="1875099" cy="1243764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00697" fontAlgn="base">
                  <a:spcBef>
                    <a:spcPts val="300"/>
                  </a:spcBef>
                  <a:spcAft>
                    <a:spcPct val="0"/>
                  </a:spcAft>
                </a:pPr>
                <a:r>
                  <a:rPr lang="en-US" sz="1400" kern="0">
                    <a:solidFill>
                      <a:schemeClr val="tx1"/>
                    </a:solidFill>
                    <a:cs typeface="Segoe UI Semibold" panose="020B0702040204020203" pitchFamily="34" charset="0"/>
                  </a:rPr>
                  <a:t>Flexibility to react to new customer needs </a:t>
                </a:r>
              </a:p>
            </p:txBody>
          </p:sp>
        </p:grp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458C3B8-0834-49B2-8708-9541FD99EA53}"/>
                </a:ext>
              </a:extLst>
            </p:cNvPr>
            <p:cNvSpPr/>
            <p:nvPr/>
          </p:nvSpPr>
          <p:spPr bwMode="auto">
            <a:xfrm>
              <a:off x="9778894" y="2415802"/>
              <a:ext cx="1772130" cy="17721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B3008BD-5CCD-4C51-BD9E-C73D2940DF51}"/>
                </a:ext>
              </a:extLst>
            </p:cNvPr>
            <p:cNvSpPr/>
            <p:nvPr/>
          </p:nvSpPr>
          <p:spPr bwMode="auto">
            <a:xfrm>
              <a:off x="9564953" y="6383656"/>
              <a:ext cx="2203704" cy="45719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72822AD5-A0C4-4A0F-BF1C-B098F67F3174}"/>
              </a:ext>
            </a:extLst>
          </p:cNvPr>
          <p:cNvSpPr/>
          <p:nvPr/>
        </p:nvSpPr>
        <p:spPr bwMode="auto">
          <a:xfrm>
            <a:off x="427037" y="1782121"/>
            <a:ext cx="11337924" cy="4699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ynapse (Connecting Data and AI)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0A9464FD-BA80-42FB-9917-304BE6DEE7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87912" y="2552021"/>
            <a:ext cx="1354092" cy="144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18056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33FCEE-7BEA-4DA0-BA58-CE91CCDF043A}"/>
              </a:ext>
            </a:extLst>
          </p:cNvPr>
          <p:cNvSpPr/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DCA948-E08F-4AEE-BDDC-7FF35C91B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8" y="588963"/>
            <a:ext cx="3962400" cy="253523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Superpowers </a:t>
            </a:r>
            <a:br>
              <a:rPr lang="en-US"/>
            </a:br>
            <a:r>
              <a:rPr lang="en-US"/>
              <a:t>for edge to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4B8269-1A96-436E-B992-076F5832B3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2818" y="3535540"/>
            <a:ext cx="3966620" cy="10156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spc="0">
                <a:solidFill>
                  <a:schemeClr val="tx2"/>
                </a:solidFill>
                <a:latin typeface="+mj-lt"/>
              </a:rPr>
              <a:t>Deliver a highly customized experiences with Microsoft Azure and Intel archite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09B824D-AE6D-415D-8D03-7C69C95C84FB}"/>
              </a:ext>
            </a:extLst>
          </p:cNvPr>
          <p:cNvGrpSpPr/>
          <p:nvPr/>
        </p:nvGrpSpPr>
        <p:grpSpPr>
          <a:xfrm>
            <a:off x="6563008" y="1165102"/>
            <a:ext cx="4399985" cy="4527796"/>
            <a:chOff x="6869636" y="1165102"/>
            <a:chExt cx="4399985" cy="452779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BAB3832-4377-465E-9117-4942CE94B56A}"/>
                </a:ext>
              </a:extLst>
            </p:cNvPr>
            <p:cNvSpPr txBox="1"/>
            <p:nvPr/>
          </p:nvSpPr>
          <p:spPr>
            <a:xfrm>
              <a:off x="8026463" y="1165102"/>
              <a:ext cx="3243158" cy="1280160"/>
            </a:xfrm>
            <a:prstGeom prst="rect">
              <a:avLst/>
            </a:prstGeom>
            <a:noFill/>
          </p:spPr>
          <p:txBody>
            <a:bodyPr wrap="square" lIns="0" tIns="143428" rIns="91440" bIns="143428" rtlCol="0" anchor="ctr">
              <a:noAutofit/>
            </a:bodyPr>
            <a:lstStyle/>
            <a:p>
              <a:pPr defTabSz="914367">
                <a:buSzPct val="90000"/>
                <a:defRPr/>
              </a:pPr>
              <a:r>
                <a:rPr lang="en-US" sz="2000">
                  <a:solidFill>
                    <a:schemeClr val="bg1"/>
                  </a:solidFill>
                  <a:latin typeface="+mj-lt"/>
                </a:rPr>
                <a:t>Scale &amp; flexibility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0D569AE-3286-4622-B97D-CB5BED1B8672}"/>
                </a:ext>
              </a:extLst>
            </p:cNvPr>
            <p:cNvSpPr txBox="1"/>
            <p:nvPr/>
          </p:nvSpPr>
          <p:spPr>
            <a:xfrm>
              <a:off x="8026463" y="2788920"/>
              <a:ext cx="3243158" cy="1280160"/>
            </a:xfrm>
            <a:prstGeom prst="rect">
              <a:avLst/>
            </a:prstGeom>
            <a:noFill/>
          </p:spPr>
          <p:txBody>
            <a:bodyPr wrap="square" lIns="0" tIns="143428" rIns="91440" bIns="143428" rtlCol="0" anchor="ctr">
              <a:noAutofit/>
            </a:bodyPr>
            <a:lstStyle/>
            <a:p>
              <a:pPr defTabSz="914367">
                <a:buSzPct val="90000"/>
                <a:defRPr/>
              </a:pPr>
              <a:r>
                <a:rPr lang="en-US" sz="2000">
                  <a:solidFill>
                    <a:schemeClr val="bg1"/>
                  </a:solidFill>
                  <a:latin typeface="+mj-lt"/>
                </a:rPr>
                <a:t>Local processing for </a:t>
              </a:r>
              <a:br>
                <a:rPr lang="en-US" sz="2000">
                  <a:solidFill>
                    <a:schemeClr val="bg1"/>
                  </a:solidFill>
                  <a:latin typeface="+mj-lt"/>
                </a:rPr>
              </a:br>
              <a:r>
                <a:rPr lang="en-US" sz="2000">
                  <a:solidFill>
                    <a:schemeClr val="bg1"/>
                  </a:solidFill>
                  <a:latin typeface="+mj-lt"/>
                </a:rPr>
                <a:t>blaze fast inferencing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11699F2-83A7-4EB6-BF7F-360078C23330}"/>
                </a:ext>
              </a:extLst>
            </p:cNvPr>
            <p:cNvSpPr txBox="1"/>
            <p:nvPr/>
          </p:nvSpPr>
          <p:spPr>
            <a:xfrm>
              <a:off x="8026463" y="4412738"/>
              <a:ext cx="3243158" cy="1280160"/>
            </a:xfrm>
            <a:prstGeom prst="rect">
              <a:avLst/>
            </a:prstGeom>
            <a:noFill/>
          </p:spPr>
          <p:txBody>
            <a:bodyPr wrap="square" lIns="0" tIns="143428" rIns="91440" bIns="143428" rtlCol="0" anchor="ctr">
              <a:noAutofit/>
            </a:bodyPr>
            <a:lstStyle/>
            <a:p>
              <a:pPr defTabSz="914367">
                <a:buSzPct val="90000"/>
                <a:defRPr/>
              </a:pPr>
              <a:r>
                <a:rPr lang="en-US" sz="2000">
                  <a:solidFill>
                    <a:schemeClr val="bg1"/>
                  </a:solidFill>
                  <a:latin typeface="+mj-lt"/>
                </a:rPr>
                <a:t>Edge to cloud data transfer</a:t>
              </a:r>
              <a:br>
                <a:rPr lang="en-US" sz="2000">
                  <a:solidFill>
                    <a:schemeClr val="bg1"/>
                  </a:solidFill>
                  <a:latin typeface="+mj-lt"/>
                </a:rPr>
              </a:br>
              <a:r>
                <a:rPr lang="en-US" sz="2000">
                  <a:solidFill>
                    <a:schemeClr val="bg1"/>
                  </a:solidFill>
                  <a:latin typeface="+mj-lt"/>
                </a:rPr>
                <a:t>for insights aggregation</a:t>
              </a:r>
              <a:br>
                <a:rPr lang="en-US" sz="2000">
                  <a:solidFill>
                    <a:schemeClr val="bg1"/>
                  </a:solidFill>
                  <a:latin typeface="+mj-lt"/>
                </a:rPr>
              </a:br>
              <a:r>
                <a:rPr lang="en-US" sz="2000">
                  <a:solidFill>
                    <a:schemeClr val="bg1"/>
                  </a:solidFill>
                  <a:latin typeface="+mj-lt"/>
                </a:rPr>
                <a:t>across different locations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0CF035-ED66-43E4-949F-E16D076072BD}"/>
                </a:ext>
              </a:extLst>
            </p:cNvPr>
            <p:cNvGrpSpPr/>
            <p:nvPr/>
          </p:nvGrpSpPr>
          <p:grpSpPr>
            <a:xfrm>
              <a:off x="6869636" y="1462909"/>
              <a:ext cx="684546" cy="684546"/>
              <a:chOff x="9892145" y="1066800"/>
              <a:chExt cx="897554" cy="897554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0EF9853-6C8A-4905-A891-C1BC9D12D434}"/>
                  </a:ext>
                </a:extLst>
              </p:cNvPr>
              <p:cNvSpPr/>
              <p:nvPr/>
            </p:nvSpPr>
            <p:spPr bwMode="auto">
              <a:xfrm>
                <a:off x="9892145" y="1066800"/>
                <a:ext cx="897554" cy="89755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905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0" name="Group 28" descr="management at scale">
                <a:extLst>
                  <a:ext uri="{FF2B5EF4-FFF2-40B4-BE49-F238E27FC236}">
                    <a16:creationId xmlns:a16="http://schemas.microsoft.com/office/drawing/2014/main" id="{58965E5D-9144-4581-A713-9491042AF6B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103082" y="1277733"/>
                <a:ext cx="475696" cy="475694"/>
                <a:chOff x="2841" y="774"/>
                <a:chExt cx="253" cy="253"/>
              </a:xfrm>
            </p:grpSpPr>
            <p:sp>
              <p:nvSpPr>
                <p:cNvPr id="12" name="AutoShape 27">
                  <a:extLst>
                    <a:ext uri="{FF2B5EF4-FFF2-40B4-BE49-F238E27FC236}">
                      <a16:creationId xmlns:a16="http://schemas.microsoft.com/office/drawing/2014/main" id="{5CB8B18F-9FCD-4BAA-8F57-16A5CAA2719F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44" y="777"/>
                  <a:ext cx="247" cy="2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13" name="Freeform 29">
                  <a:extLst>
                    <a:ext uri="{FF2B5EF4-FFF2-40B4-BE49-F238E27FC236}">
                      <a16:creationId xmlns:a16="http://schemas.microsoft.com/office/drawing/2014/main" id="{274D8486-B5B5-4FB1-BA06-9E8EC55394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6" y="774"/>
                  <a:ext cx="228" cy="228"/>
                </a:xfrm>
                <a:custGeom>
                  <a:avLst/>
                  <a:gdLst>
                    <a:gd name="T0" fmla="*/ 169 w 177"/>
                    <a:gd name="T1" fmla="*/ 84 h 177"/>
                    <a:gd name="T2" fmla="*/ 143 w 177"/>
                    <a:gd name="T3" fmla="*/ 82 h 177"/>
                    <a:gd name="T4" fmla="*/ 95 w 177"/>
                    <a:gd name="T5" fmla="*/ 34 h 177"/>
                    <a:gd name="T6" fmla="*/ 93 w 177"/>
                    <a:gd name="T7" fmla="*/ 8 h 177"/>
                    <a:gd name="T8" fmla="*/ 65 w 177"/>
                    <a:gd name="T9" fmla="*/ 8 h 177"/>
                    <a:gd name="T10" fmla="*/ 63 w 177"/>
                    <a:gd name="T11" fmla="*/ 35 h 177"/>
                    <a:gd name="T12" fmla="*/ 0 w 177"/>
                    <a:gd name="T13" fmla="*/ 99 h 177"/>
                    <a:gd name="T14" fmla="*/ 81 w 177"/>
                    <a:gd name="T15" fmla="*/ 177 h 177"/>
                    <a:gd name="T16" fmla="*/ 143 w 177"/>
                    <a:gd name="T17" fmla="*/ 114 h 177"/>
                    <a:gd name="T18" fmla="*/ 169 w 177"/>
                    <a:gd name="T19" fmla="*/ 112 h 177"/>
                    <a:gd name="T20" fmla="*/ 169 w 177"/>
                    <a:gd name="T21" fmla="*/ 84 h 177"/>
                    <a:gd name="T22" fmla="*/ 80 w 177"/>
                    <a:gd name="T23" fmla="*/ 170 h 177"/>
                    <a:gd name="T24" fmla="*/ 7 w 177"/>
                    <a:gd name="T25" fmla="*/ 98 h 177"/>
                    <a:gd name="T26" fmla="*/ 67 w 177"/>
                    <a:gd name="T27" fmla="*/ 39 h 177"/>
                    <a:gd name="T28" fmla="*/ 77 w 177"/>
                    <a:gd name="T29" fmla="*/ 42 h 177"/>
                    <a:gd name="T30" fmla="*/ 77 w 177"/>
                    <a:gd name="T31" fmla="*/ 165 h 177"/>
                    <a:gd name="T32" fmla="*/ 82 w 177"/>
                    <a:gd name="T33" fmla="*/ 165 h 177"/>
                    <a:gd name="T34" fmla="*/ 82 w 177"/>
                    <a:gd name="T35" fmla="*/ 42 h 177"/>
                    <a:gd name="T36" fmla="*/ 92 w 177"/>
                    <a:gd name="T37" fmla="*/ 38 h 177"/>
                    <a:gd name="T38" fmla="*/ 139 w 177"/>
                    <a:gd name="T39" fmla="*/ 85 h 177"/>
                    <a:gd name="T40" fmla="*/ 139 w 177"/>
                    <a:gd name="T41" fmla="*/ 111 h 177"/>
                    <a:gd name="T42" fmla="*/ 80 w 177"/>
                    <a:gd name="T43" fmla="*/ 17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77" h="177">
                      <a:moveTo>
                        <a:pt x="169" y="84"/>
                      </a:moveTo>
                      <a:cubicBezTo>
                        <a:pt x="162" y="76"/>
                        <a:pt x="150" y="76"/>
                        <a:pt x="143" y="82"/>
                      </a:cubicBezTo>
                      <a:cubicBezTo>
                        <a:pt x="95" y="34"/>
                        <a:pt x="95" y="34"/>
                        <a:pt x="95" y="34"/>
                      </a:cubicBezTo>
                      <a:cubicBezTo>
                        <a:pt x="101" y="26"/>
                        <a:pt x="101" y="15"/>
                        <a:pt x="93" y="8"/>
                      </a:cubicBezTo>
                      <a:cubicBezTo>
                        <a:pt x="85" y="0"/>
                        <a:pt x="73" y="0"/>
                        <a:pt x="65" y="8"/>
                      </a:cubicBezTo>
                      <a:cubicBezTo>
                        <a:pt x="57" y="15"/>
                        <a:pt x="57" y="27"/>
                        <a:pt x="63" y="35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81" y="177"/>
                        <a:pt x="81" y="177"/>
                        <a:pt x="81" y="177"/>
                      </a:cubicBezTo>
                      <a:cubicBezTo>
                        <a:pt x="143" y="114"/>
                        <a:pt x="143" y="114"/>
                        <a:pt x="143" y="114"/>
                      </a:cubicBezTo>
                      <a:cubicBezTo>
                        <a:pt x="151" y="120"/>
                        <a:pt x="162" y="119"/>
                        <a:pt x="169" y="112"/>
                      </a:cubicBezTo>
                      <a:cubicBezTo>
                        <a:pt x="177" y="104"/>
                        <a:pt x="177" y="91"/>
                        <a:pt x="169" y="84"/>
                      </a:cubicBezTo>
                      <a:close/>
                      <a:moveTo>
                        <a:pt x="80" y="170"/>
                      </a:moveTo>
                      <a:cubicBezTo>
                        <a:pt x="7" y="98"/>
                        <a:pt x="7" y="98"/>
                        <a:pt x="7" y="98"/>
                      </a:cubicBezTo>
                      <a:cubicBezTo>
                        <a:pt x="67" y="39"/>
                        <a:pt x="67" y="39"/>
                        <a:pt x="67" y="39"/>
                      </a:cubicBezTo>
                      <a:cubicBezTo>
                        <a:pt x="70" y="41"/>
                        <a:pt x="73" y="42"/>
                        <a:pt x="77" y="42"/>
                      </a:cubicBezTo>
                      <a:cubicBezTo>
                        <a:pt x="77" y="165"/>
                        <a:pt x="77" y="165"/>
                        <a:pt x="77" y="165"/>
                      </a:cubicBezTo>
                      <a:cubicBezTo>
                        <a:pt x="82" y="165"/>
                        <a:pt x="82" y="165"/>
                        <a:pt x="82" y="165"/>
                      </a:cubicBezTo>
                      <a:cubicBezTo>
                        <a:pt x="82" y="42"/>
                        <a:pt x="82" y="42"/>
                        <a:pt x="82" y="42"/>
                      </a:cubicBezTo>
                      <a:cubicBezTo>
                        <a:pt x="85" y="42"/>
                        <a:pt x="89" y="40"/>
                        <a:pt x="92" y="38"/>
                      </a:cubicBezTo>
                      <a:cubicBezTo>
                        <a:pt x="139" y="85"/>
                        <a:pt x="139" y="85"/>
                        <a:pt x="139" y="85"/>
                      </a:cubicBezTo>
                      <a:cubicBezTo>
                        <a:pt x="133" y="93"/>
                        <a:pt x="133" y="104"/>
                        <a:pt x="139" y="111"/>
                      </a:cubicBezTo>
                      <a:lnTo>
                        <a:pt x="80" y="170"/>
                      </a:lnTo>
                      <a:close/>
                    </a:path>
                  </a:pathLst>
                </a:custGeom>
                <a:solidFill>
                  <a:srgbClr val="0078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14" name="Freeform 30">
                  <a:extLst>
                    <a:ext uri="{FF2B5EF4-FFF2-40B4-BE49-F238E27FC236}">
                      <a16:creationId xmlns:a16="http://schemas.microsoft.com/office/drawing/2014/main" id="{16ACD7D5-8FFB-47BA-A187-38C5E1F0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" y="970"/>
                  <a:ext cx="57" cy="57"/>
                </a:xfrm>
                <a:custGeom>
                  <a:avLst/>
                  <a:gdLst>
                    <a:gd name="T0" fmla="*/ 36 w 44"/>
                    <a:gd name="T1" fmla="*/ 7 h 44"/>
                    <a:gd name="T2" fmla="*/ 36 w 44"/>
                    <a:gd name="T3" fmla="*/ 36 h 44"/>
                    <a:gd name="T4" fmla="*/ 8 w 44"/>
                    <a:gd name="T5" fmla="*/ 36 h 44"/>
                    <a:gd name="T6" fmla="*/ 8 w 44"/>
                    <a:gd name="T7" fmla="*/ 8 h 44"/>
                    <a:gd name="T8" fmla="*/ 36 w 44"/>
                    <a:gd name="T9" fmla="*/ 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4">
                      <a:moveTo>
                        <a:pt x="36" y="7"/>
                      </a:moveTo>
                      <a:cubicBezTo>
                        <a:pt x="44" y="15"/>
                        <a:pt x="44" y="28"/>
                        <a:pt x="36" y="36"/>
                      </a:cubicBezTo>
                      <a:cubicBezTo>
                        <a:pt x="29" y="44"/>
                        <a:pt x="16" y="44"/>
                        <a:pt x="8" y="36"/>
                      </a:cubicBezTo>
                      <a:cubicBezTo>
                        <a:pt x="0" y="28"/>
                        <a:pt x="0" y="15"/>
                        <a:pt x="8" y="8"/>
                      </a:cubicBezTo>
                      <a:cubicBezTo>
                        <a:pt x="16" y="0"/>
                        <a:pt x="28" y="0"/>
                        <a:pt x="36" y="7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15" name="Freeform 31">
                  <a:extLst>
                    <a:ext uri="{FF2B5EF4-FFF2-40B4-BE49-F238E27FC236}">
                      <a16:creationId xmlns:a16="http://schemas.microsoft.com/office/drawing/2014/main" id="{3EA6E31B-C915-494E-A2AD-B069A5B812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1" y="872"/>
                  <a:ext cx="58" cy="57"/>
                </a:xfrm>
                <a:custGeom>
                  <a:avLst/>
                  <a:gdLst>
                    <a:gd name="T0" fmla="*/ 37 w 45"/>
                    <a:gd name="T1" fmla="*/ 36 h 44"/>
                    <a:gd name="T2" fmla="*/ 8 w 45"/>
                    <a:gd name="T3" fmla="*/ 36 h 44"/>
                    <a:gd name="T4" fmla="*/ 8 w 45"/>
                    <a:gd name="T5" fmla="*/ 8 h 44"/>
                    <a:gd name="T6" fmla="*/ 36 w 45"/>
                    <a:gd name="T7" fmla="*/ 8 h 44"/>
                    <a:gd name="T8" fmla="*/ 37 w 45"/>
                    <a:gd name="T9" fmla="*/ 36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" h="44">
                      <a:moveTo>
                        <a:pt x="37" y="36"/>
                      </a:moveTo>
                      <a:cubicBezTo>
                        <a:pt x="29" y="44"/>
                        <a:pt x="16" y="44"/>
                        <a:pt x="8" y="36"/>
                      </a:cubicBezTo>
                      <a:cubicBezTo>
                        <a:pt x="0" y="29"/>
                        <a:pt x="0" y="16"/>
                        <a:pt x="8" y="8"/>
                      </a:cubicBezTo>
                      <a:cubicBezTo>
                        <a:pt x="16" y="0"/>
                        <a:pt x="29" y="0"/>
                        <a:pt x="36" y="8"/>
                      </a:cubicBezTo>
                      <a:cubicBezTo>
                        <a:pt x="44" y="15"/>
                        <a:pt x="45" y="28"/>
                        <a:pt x="37" y="36"/>
                      </a:cubicBezTo>
                      <a:close/>
                    </a:path>
                  </a:pathLst>
                </a:custGeom>
                <a:solidFill>
                  <a:srgbClr val="50E6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18844F6-29DC-44E5-9DF1-7081D66DE3D3}"/>
                </a:ext>
              </a:extLst>
            </p:cNvPr>
            <p:cNvGrpSpPr/>
            <p:nvPr/>
          </p:nvGrpSpPr>
          <p:grpSpPr>
            <a:xfrm>
              <a:off x="6869636" y="3086727"/>
              <a:ext cx="684546" cy="684546"/>
              <a:chOff x="9892145" y="2567818"/>
              <a:chExt cx="897554" cy="897554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925E6728-5FE6-483D-B995-4A06E23DDBE9}"/>
                  </a:ext>
                </a:extLst>
              </p:cNvPr>
              <p:cNvSpPr/>
              <p:nvPr/>
            </p:nvSpPr>
            <p:spPr bwMode="auto">
              <a:xfrm>
                <a:off x="9892145" y="2567818"/>
                <a:ext cx="897554" cy="89755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905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2" name="Group 57" descr="API gateway">
                <a:extLst>
                  <a:ext uri="{FF2B5EF4-FFF2-40B4-BE49-F238E27FC236}">
                    <a16:creationId xmlns:a16="http://schemas.microsoft.com/office/drawing/2014/main" id="{66FD23AE-8E47-4DF9-8509-CDED1ABEC58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132034" y="2861131"/>
                <a:ext cx="417776" cy="309345"/>
                <a:chOff x="5765" y="2519"/>
                <a:chExt cx="262" cy="194"/>
              </a:xfrm>
            </p:grpSpPr>
            <p:sp>
              <p:nvSpPr>
                <p:cNvPr id="23" name="AutoShape 56">
                  <a:extLst>
                    <a:ext uri="{FF2B5EF4-FFF2-40B4-BE49-F238E27FC236}">
                      <a16:creationId xmlns:a16="http://schemas.microsoft.com/office/drawing/2014/main" id="{62617716-41E9-4108-8EF5-E0E3184121F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765" y="2520"/>
                  <a:ext cx="262" cy="1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4" name="Rectangle 58">
                  <a:extLst>
                    <a:ext uri="{FF2B5EF4-FFF2-40B4-BE49-F238E27FC236}">
                      <a16:creationId xmlns:a16="http://schemas.microsoft.com/office/drawing/2014/main" id="{ED206E68-ADA7-45EF-908B-A2554D96FD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65" y="2546"/>
                  <a:ext cx="262" cy="166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5" name="Rectangle 59">
                  <a:extLst>
                    <a:ext uri="{FF2B5EF4-FFF2-40B4-BE49-F238E27FC236}">
                      <a16:creationId xmlns:a16="http://schemas.microsoft.com/office/drawing/2014/main" id="{BE1A73EA-C9D1-4BA0-93C6-0BC85A4088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65" y="2519"/>
                  <a:ext cx="262" cy="28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6" name="Oval 60">
                  <a:extLst>
                    <a:ext uri="{FF2B5EF4-FFF2-40B4-BE49-F238E27FC236}">
                      <a16:creationId xmlns:a16="http://schemas.microsoft.com/office/drawing/2014/main" id="{3BB9BB24-A475-462C-9697-50C1AFF19B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01" y="2591"/>
                  <a:ext cx="65" cy="65"/>
                </a:xfrm>
                <a:prstGeom prst="ellipse">
                  <a:avLst/>
                </a:prstGeom>
                <a:solidFill>
                  <a:srgbClr val="50E6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7" name="Freeform 61">
                  <a:extLst>
                    <a:ext uri="{FF2B5EF4-FFF2-40B4-BE49-F238E27FC236}">
                      <a16:creationId xmlns:a16="http://schemas.microsoft.com/office/drawing/2014/main" id="{B77A5BA2-B865-4FDC-9AF3-12AA0C17A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6" y="2575"/>
                  <a:ext cx="96" cy="96"/>
                </a:xfrm>
                <a:custGeom>
                  <a:avLst/>
                  <a:gdLst>
                    <a:gd name="T0" fmla="*/ 141 w 141"/>
                    <a:gd name="T1" fmla="*/ 78 h 141"/>
                    <a:gd name="T2" fmla="*/ 141 w 141"/>
                    <a:gd name="T3" fmla="*/ 63 h 141"/>
                    <a:gd name="T4" fmla="*/ 126 w 141"/>
                    <a:gd name="T5" fmla="*/ 63 h 141"/>
                    <a:gd name="T6" fmla="*/ 115 w 141"/>
                    <a:gd name="T7" fmla="*/ 37 h 141"/>
                    <a:gd name="T8" fmla="*/ 126 w 141"/>
                    <a:gd name="T9" fmla="*/ 26 h 141"/>
                    <a:gd name="T10" fmla="*/ 115 w 141"/>
                    <a:gd name="T11" fmla="*/ 16 h 141"/>
                    <a:gd name="T12" fmla="*/ 104 w 141"/>
                    <a:gd name="T13" fmla="*/ 26 h 141"/>
                    <a:gd name="T14" fmla="*/ 78 w 141"/>
                    <a:gd name="T15" fmla="*/ 15 h 141"/>
                    <a:gd name="T16" fmla="*/ 78 w 141"/>
                    <a:gd name="T17" fmla="*/ 0 h 141"/>
                    <a:gd name="T18" fmla="*/ 63 w 141"/>
                    <a:gd name="T19" fmla="*/ 0 h 141"/>
                    <a:gd name="T20" fmla="*/ 63 w 141"/>
                    <a:gd name="T21" fmla="*/ 15 h 141"/>
                    <a:gd name="T22" fmla="*/ 37 w 141"/>
                    <a:gd name="T23" fmla="*/ 26 h 141"/>
                    <a:gd name="T24" fmla="*/ 26 w 141"/>
                    <a:gd name="T25" fmla="*/ 16 h 141"/>
                    <a:gd name="T26" fmla="*/ 16 w 141"/>
                    <a:gd name="T27" fmla="*/ 26 h 141"/>
                    <a:gd name="T28" fmla="*/ 26 w 141"/>
                    <a:gd name="T29" fmla="*/ 37 h 141"/>
                    <a:gd name="T30" fmla="*/ 15 w 141"/>
                    <a:gd name="T31" fmla="*/ 63 h 141"/>
                    <a:gd name="T32" fmla="*/ 0 w 141"/>
                    <a:gd name="T33" fmla="*/ 63 h 141"/>
                    <a:gd name="T34" fmla="*/ 0 w 141"/>
                    <a:gd name="T35" fmla="*/ 78 h 141"/>
                    <a:gd name="T36" fmla="*/ 15 w 141"/>
                    <a:gd name="T37" fmla="*/ 78 h 141"/>
                    <a:gd name="T38" fmla="*/ 26 w 141"/>
                    <a:gd name="T39" fmla="*/ 105 h 141"/>
                    <a:gd name="T40" fmla="*/ 15 w 141"/>
                    <a:gd name="T41" fmla="*/ 115 h 141"/>
                    <a:gd name="T42" fmla="*/ 26 w 141"/>
                    <a:gd name="T43" fmla="*/ 126 h 141"/>
                    <a:gd name="T44" fmla="*/ 37 w 141"/>
                    <a:gd name="T45" fmla="*/ 115 h 141"/>
                    <a:gd name="T46" fmla="*/ 63 w 141"/>
                    <a:gd name="T47" fmla="*/ 126 h 141"/>
                    <a:gd name="T48" fmla="*/ 63 w 141"/>
                    <a:gd name="T49" fmla="*/ 141 h 141"/>
                    <a:gd name="T50" fmla="*/ 78 w 141"/>
                    <a:gd name="T51" fmla="*/ 141 h 141"/>
                    <a:gd name="T52" fmla="*/ 78 w 141"/>
                    <a:gd name="T53" fmla="*/ 126 h 141"/>
                    <a:gd name="T54" fmla="*/ 104 w 141"/>
                    <a:gd name="T55" fmla="*/ 115 h 141"/>
                    <a:gd name="T56" fmla="*/ 115 w 141"/>
                    <a:gd name="T57" fmla="*/ 126 h 141"/>
                    <a:gd name="T58" fmla="*/ 126 w 141"/>
                    <a:gd name="T59" fmla="*/ 115 h 141"/>
                    <a:gd name="T60" fmla="*/ 115 w 141"/>
                    <a:gd name="T61" fmla="*/ 105 h 141"/>
                    <a:gd name="T62" fmla="*/ 126 w 141"/>
                    <a:gd name="T63" fmla="*/ 78 h 141"/>
                    <a:gd name="T64" fmla="*/ 141 w 141"/>
                    <a:gd name="T65" fmla="*/ 78 h 141"/>
                    <a:gd name="T66" fmla="*/ 30 w 141"/>
                    <a:gd name="T67" fmla="*/ 71 h 141"/>
                    <a:gd name="T68" fmla="*/ 42 w 141"/>
                    <a:gd name="T69" fmla="*/ 42 h 141"/>
                    <a:gd name="T70" fmla="*/ 71 w 141"/>
                    <a:gd name="T71" fmla="*/ 30 h 141"/>
                    <a:gd name="T72" fmla="*/ 99 w 141"/>
                    <a:gd name="T73" fmla="*/ 42 h 141"/>
                    <a:gd name="T74" fmla="*/ 111 w 141"/>
                    <a:gd name="T75" fmla="*/ 71 h 141"/>
                    <a:gd name="T76" fmla="*/ 99 w 141"/>
                    <a:gd name="T77" fmla="*/ 100 h 141"/>
                    <a:gd name="T78" fmla="*/ 71 w 141"/>
                    <a:gd name="T79" fmla="*/ 112 h 141"/>
                    <a:gd name="T80" fmla="*/ 42 w 141"/>
                    <a:gd name="T81" fmla="*/ 100 h 141"/>
                    <a:gd name="T82" fmla="*/ 30 w 141"/>
                    <a:gd name="T83" fmla="*/ 7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1" h="141">
                      <a:moveTo>
                        <a:pt x="141" y="78"/>
                      </a:moveTo>
                      <a:cubicBezTo>
                        <a:pt x="141" y="63"/>
                        <a:pt x="141" y="63"/>
                        <a:pt x="141" y="63"/>
                      </a:cubicBezTo>
                      <a:cubicBezTo>
                        <a:pt x="126" y="63"/>
                        <a:pt x="126" y="63"/>
                        <a:pt x="126" y="63"/>
                      </a:cubicBezTo>
                      <a:cubicBezTo>
                        <a:pt x="125" y="53"/>
                        <a:pt x="121" y="44"/>
                        <a:pt x="115" y="37"/>
                      </a:cubicBezTo>
                      <a:cubicBezTo>
                        <a:pt x="126" y="26"/>
                        <a:pt x="126" y="26"/>
                        <a:pt x="126" y="26"/>
                      </a:cubicBezTo>
                      <a:cubicBezTo>
                        <a:pt x="115" y="16"/>
                        <a:pt x="115" y="16"/>
                        <a:pt x="115" y="16"/>
                      </a:cubicBezTo>
                      <a:cubicBezTo>
                        <a:pt x="104" y="26"/>
                        <a:pt x="104" y="26"/>
                        <a:pt x="104" y="26"/>
                      </a:cubicBezTo>
                      <a:cubicBezTo>
                        <a:pt x="97" y="21"/>
                        <a:pt x="88" y="17"/>
                        <a:pt x="78" y="15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53" y="17"/>
                        <a:pt x="44" y="21"/>
                        <a:pt x="37" y="26"/>
                      </a:cubicBezTo>
                      <a:cubicBezTo>
                        <a:pt x="26" y="16"/>
                        <a:pt x="26" y="16"/>
                        <a:pt x="26" y="16"/>
                      </a:cubicBezTo>
                      <a:cubicBezTo>
                        <a:pt x="16" y="26"/>
                        <a:pt x="16" y="26"/>
                        <a:pt x="16" y="26"/>
                      </a:cubicBezTo>
                      <a:cubicBezTo>
                        <a:pt x="26" y="37"/>
                        <a:pt x="26" y="37"/>
                        <a:pt x="26" y="37"/>
                      </a:cubicBezTo>
                      <a:cubicBezTo>
                        <a:pt x="21" y="44"/>
                        <a:pt x="17" y="53"/>
                        <a:pt x="15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15" y="78"/>
                        <a:pt x="15" y="78"/>
                        <a:pt x="15" y="78"/>
                      </a:cubicBezTo>
                      <a:cubicBezTo>
                        <a:pt x="17" y="88"/>
                        <a:pt x="21" y="97"/>
                        <a:pt x="26" y="105"/>
                      </a:cubicBezTo>
                      <a:cubicBezTo>
                        <a:pt x="15" y="115"/>
                        <a:pt x="15" y="115"/>
                        <a:pt x="15" y="115"/>
                      </a:cubicBezTo>
                      <a:cubicBezTo>
                        <a:pt x="26" y="126"/>
                        <a:pt x="26" y="126"/>
                        <a:pt x="26" y="126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44" y="121"/>
                        <a:pt x="53" y="125"/>
                        <a:pt x="63" y="126"/>
                      </a:cubicBezTo>
                      <a:cubicBezTo>
                        <a:pt x="63" y="141"/>
                        <a:pt x="63" y="141"/>
                        <a:pt x="63" y="141"/>
                      </a:cubicBezTo>
                      <a:cubicBezTo>
                        <a:pt x="78" y="141"/>
                        <a:pt x="78" y="141"/>
                        <a:pt x="78" y="141"/>
                      </a:cubicBezTo>
                      <a:cubicBezTo>
                        <a:pt x="78" y="126"/>
                        <a:pt x="78" y="126"/>
                        <a:pt x="78" y="126"/>
                      </a:cubicBezTo>
                      <a:cubicBezTo>
                        <a:pt x="88" y="125"/>
                        <a:pt x="97" y="121"/>
                        <a:pt x="104" y="115"/>
                      </a:cubicBezTo>
                      <a:cubicBezTo>
                        <a:pt x="115" y="126"/>
                        <a:pt x="115" y="126"/>
                        <a:pt x="115" y="126"/>
                      </a:cubicBezTo>
                      <a:cubicBezTo>
                        <a:pt x="126" y="115"/>
                        <a:pt x="126" y="115"/>
                        <a:pt x="126" y="115"/>
                      </a:cubicBezTo>
                      <a:cubicBezTo>
                        <a:pt x="115" y="105"/>
                        <a:pt x="115" y="105"/>
                        <a:pt x="115" y="105"/>
                      </a:cubicBezTo>
                      <a:cubicBezTo>
                        <a:pt x="121" y="97"/>
                        <a:pt x="124" y="88"/>
                        <a:pt x="126" y="78"/>
                      </a:cubicBezTo>
                      <a:lnTo>
                        <a:pt x="141" y="78"/>
                      </a:lnTo>
                      <a:close/>
                      <a:moveTo>
                        <a:pt x="30" y="71"/>
                      </a:moveTo>
                      <a:cubicBezTo>
                        <a:pt x="30" y="60"/>
                        <a:pt x="34" y="50"/>
                        <a:pt x="42" y="42"/>
                      </a:cubicBezTo>
                      <a:cubicBezTo>
                        <a:pt x="50" y="34"/>
                        <a:pt x="60" y="30"/>
                        <a:pt x="71" y="30"/>
                      </a:cubicBezTo>
                      <a:cubicBezTo>
                        <a:pt x="82" y="30"/>
                        <a:pt x="92" y="34"/>
                        <a:pt x="99" y="42"/>
                      </a:cubicBezTo>
                      <a:cubicBezTo>
                        <a:pt x="107" y="50"/>
                        <a:pt x="111" y="60"/>
                        <a:pt x="111" y="71"/>
                      </a:cubicBezTo>
                      <a:cubicBezTo>
                        <a:pt x="111" y="82"/>
                        <a:pt x="107" y="92"/>
                        <a:pt x="99" y="100"/>
                      </a:cubicBezTo>
                      <a:cubicBezTo>
                        <a:pt x="92" y="107"/>
                        <a:pt x="82" y="112"/>
                        <a:pt x="71" y="112"/>
                      </a:cubicBezTo>
                      <a:cubicBezTo>
                        <a:pt x="60" y="112"/>
                        <a:pt x="49" y="107"/>
                        <a:pt x="42" y="100"/>
                      </a:cubicBezTo>
                      <a:cubicBezTo>
                        <a:pt x="34" y="92"/>
                        <a:pt x="30" y="82"/>
                        <a:pt x="30" y="7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8" name="Freeform 62">
                  <a:extLst>
                    <a:ext uri="{FF2B5EF4-FFF2-40B4-BE49-F238E27FC236}">
                      <a16:creationId xmlns:a16="http://schemas.microsoft.com/office/drawing/2014/main" id="{06048C4B-8103-41D8-8D5C-E91CDC4097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0" y="2592"/>
                  <a:ext cx="31" cy="62"/>
                </a:xfrm>
                <a:custGeom>
                  <a:avLst/>
                  <a:gdLst>
                    <a:gd name="T0" fmla="*/ 17 w 31"/>
                    <a:gd name="T1" fmla="*/ 24 h 62"/>
                    <a:gd name="T2" fmla="*/ 17 w 31"/>
                    <a:gd name="T3" fmla="*/ 24 h 62"/>
                    <a:gd name="T4" fmla="*/ 26 w 31"/>
                    <a:gd name="T5" fmla="*/ 0 h 62"/>
                    <a:gd name="T6" fmla="*/ 11 w 31"/>
                    <a:gd name="T7" fmla="*/ 0 h 62"/>
                    <a:gd name="T8" fmla="*/ 0 w 31"/>
                    <a:gd name="T9" fmla="*/ 33 h 62"/>
                    <a:gd name="T10" fmla="*/ 13 w 31"/>
                    <a:gd name="T11" fmla="*/ 33 h 62"/>
                    <a:gd name="T12" fmla="*/ 14 w 31"/>
                    <a:gd name="T13" fmla="*/ 33 h 62"/>
                    <a:gd name="T14" fmla="*/ 3 w 31"/>
                    <a:gd name="T15" fmla="*/ 62 h 62"/>
                    <a:gd name="T16" fmla="*/ 31 w 31"/>
                    <a:gd name="T17" fmla="*/ 24 h 62"/>
                    <a:gd name="T18" fmla="*/ 17 w 31"/>
                    <a:gd name="T19" fmla="*/ 24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62">
                      <a:moveTo>
                        <a:pt x="17" y="24"/>
                      </a:moveTo>
                      <a:lnTo>
                        <a:pt x="17" y="24"/>
                      </a:lnTo>
                      <a:lnTo>
                        <a:pt x="26" y="0"/>
                      </a:lnTo>
                      <a:lnTo>
                        <a:pt x="11" y="0"/>
                      </a:lnTo>
                      <a:lnTo>
                        <a:pt x="0" y="33"/>
                      </a:lnTo>
                      <a:lnTo>
                        <a:pt x="13" y="33"/>
                      </a:lnTo>
                      <a:lnTo>
                        <a:pt x="14" y="33"/>
                      </a:lnTo>
                      <a:lnTo>
                        <a:pt x="3" y="62"/>
                      </a:lnTo>
                      <a:lnTo>
                        <a:pt x="31" y="24"/>
                      </a:lnTo>
                      <a:lnTo>
                        <a:pt x="17" y="2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29" name="Rectangle 63">
                  <a:extLst>
                    <a:ext uri="{FF2B5EF4-FFF2-40B4-BE49-F238E27FC236}">
                      <a16:creationId xmlns:a16="http://schemas.microsoft.com/office/drawing/2014/main" id="{7C33940F-BC47-4CFD-B789-CBE38AFA19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03" y="2574"/>
                  <a:ext cx="96" cy="14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30" name="Rectangle 64">
                  <a:extLst>
                    <a:ext uri="{FF2B5EF4-FFF2-40B4-BE49-F238E27FC236}">
                      <a16:creationId xmlns:a16="http://schemas.microsoft.com/office/drawing/2014/main" id="{B989DC72-211D-4886-9CFF-D4DA1A9A01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03" y="2616"/>
                  <a:ext cx="82" cy="14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31" name="Rectangle 65">
                  <a:extLst>
                    <a:ext uri="{FF2B5EF4-FFF2-40B4-BE49-F238E27FC236}">
                      <a16:creationId xmlns:a16="http://schemas.microsoft.com/office/drawing/2014/main" id="{EE77E9C1-EB58-4401-B785-60EC70253A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03" y="2657"/>
                  <a:ext cx="69" cy="14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128CE83-7B68-48CE-82C7-3C14BC52BF80}"/>
                </a:ext>
              </a:extLst>
            </p:cNvPr>
            <p:cNvGrpSpPr/>
            <p:nvPr/>
          </p:nvGrpSpPr>
          <p:grpSpPr>
            <a:xfrm>
              <a:off x="6869636" y="4710545"/>
              <a:ext cx="684546" cy="684546"/>
              <a:chOff x="9892145" y="4068836"/>
              <a:chExt cx="897554" cy="897554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0C29045-0A6B-49CE-9ABD-AC643200A3BB}"/>
                  </a:ext>
                </a:extLst>
              </p:cNvPr>
              <p:cNvSpPr/>
              <p:nvPr/>
            </p:nvSpPr>
            <p:spPr bwMode="auto">
              <a:xfrm>
                <a:off x="9892145" y="4068836"/>
                <a:ext cx="897554" cy="89755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>
                <a:outerShdw blurRad="1905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BB0CCC1-0828-408F-91F0-C2D6D409F728}"/>
                  </a:ext>
                </a:extLst>
              </p:cNvPr>
              <p:cNvGrpSpPr/>
              <p:nvPr/>
            </p:nvGrpSpPr>
            <p:grpSpPr>
              <a:xfrm>
                <a:off x="10148777" y="4316248"/>
                <a:ext cx="384290" cy="402730"/>
                <a:chOff x="9566275" y="2359381"/>
                <a:chExt cx="1514475" cy="1587144"/>
              </a:xfrm>
            </p:grpSpPr>
            <p:sp>
              <p:nvSpPr>
                <p:cNvPr id="49" name="AutoShape 17">
                  <a:extLst>
                    <a:ext uri="{FF2B5EF4-FFF2-40B4-BE49-F238E27FC236}">
                      <a16:creationId xmlns:a16="http://schemas.microsoft.com/office/drawing/2014/main" id="{E066B7AA-7953-40DC-9572-9A038500D789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9575800" y="2368550"/>
                  <a:ext cx="1495425" cy="15779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0" name="Freeform 19">
                  <a:extLst>
                    <a:ext uri="{FF2B5EF4-FFF2-40B4-BE49-F238E27FC236}">
                      <a16:creationId xmlns:a16="http://schemas.microsoft.com/office/drawing/2014/main" id="{F4AD6CF1-A410-4887-BE60-9CC8B3E266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66275" y="3467100"/>
                  <a:ext cx="1514475" cy="469900"/>
                </a:xfrm>
                <a:custGeom>
                  <a:avLst/>
                  <a:gdLst>
                    <a:gd name="T0" fmla="*/ 160 w 164"/>
                    <a:gd name="T1" fmla="*/ 0 h 51"/>
                    <a:gd name="T2" fmla="*/ 5 w 164"/>
                    <a:gd name="T3" fmla="*/ 0 h 51"/>
                    <a:gd name="T4" fmla="*/ 0 w 164"/>
                    <a:gd name="T5" fmla="*/ 5 h 51"/>
                    <a:gd name="T6" fmla="*/ 0 w 164"/>
                    <a:gd name="T7" fmla="*/ 47 h 51"/>
                    <a:gd name="T8" fmla="*/ 5 w 164"/>
                    <a:gd name="T9" fmla="*/ 51 h 51"/>
                    <a:gd name="T10" fmla="*/ 160 w 164"/>
                    <a:gd name="T11" fmla="*/ 51 h 51"/>
                    <a:gd name="T12" fmla="*/ 164 w 164"/>
                    <a:gd name="T13" fmla="*/ 47 h 51"/>
                    <a:gd name="T14" fmla="*/ 164 w 164"/>
                    <a:gd name="T15" fmla="*/ 5 h 51"/>
                    <a:gd name="T16" fmla="*/ 160 w 164"/>
                    <a:gd name="T17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4" h="51">
                      <a:moveTo>
                        <a:pt x="160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3" y="0"/>
                        <a:pt x="0" y="2"/>
                        <a:pt x="0" y="5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49"/>
                        <a:pt x="3" y="51"/>
                        <a:pt x="5" y="51"/>
                      </a:cubicBezTo>
                      <a:cubicBezTo>
                        <a:pt x="160" y="51"/>
                        <a:pt x="160" y="51"/>
                        <a:pt x="160" y="51"/>
                      </a:cubicBezTo>
                      <a:cubicBezTo>
                        <a:pt x="162" y="51"/>
                        <a:pt x="164" y="49"/>
                        <a:pt x="164" y="47"/>
                      </a:cubicBezTo>
                      <a:cubicBezTo>
                        <a:pt x="164" y="5"/>
                        <a:pt x="164" y="5"/>
                        <a:pt x="164" y="5"/>
                      </a:cubicBezTo>
                      <a:cubicBezTo>
                        <a:pt x="164" y="2"/>
                        <a:pt x="162" y="0"/>
                        <a:pt x="160" y="0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1" name="Rectangle 20">
                  <a:extLst>
                    <a:ext uri="{FF2B5EF4-FFF2-40B4-BE49-F238E27FC236}">
                      <a16:creationId xmlns:a16="http://schemas.microsoft.com/office/drawing/2014/main" id="{826E6671-FF07-45B4-887F-59EAA5D421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58500" y="3559175"/>
                  <a:ext cx="92075" cy="1016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2" name="Rectangle 21">
                  <a:extLst>
                    <a:ext uri="{FF2B5EF4-FFF2-40B4-BE49-F238E27FC236}">
                      <a16:creationId xmlns:a16="http://schemas.microsoft.com/office/drawing/2014/main" id="{E5E3C900-F565-49F6-9ECD-AC360DABB8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58500" y="3752850"/>
                  <a:ext cx="92075" cy="92075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3" name="Freeform 22">
                  <a:extLst>
                    <a:ext uri="{FF2B5EF4-FFF2-40B4-BE49-F238E27FC236}">
                      <a16:creationId xmlns:a16="http://schemas.microsoft.com/office/drawing/2014/main" id="{3DCA1DCF-12C5-46BE-9792-F207F7E2F7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75800" y="2368550"/>
                  <a:ext cx="1504950" cy="1033463"/>
                </a:xfrm>
                <a:custGeom>
                  <a:avLst/>
                  <a:gdLst>
                    <a:gd name="T0" fmla="*/ 141 w 163"/>
                    <a:gd name="T1" fmla="*/ 51 h 112"/>
                    <a:gd name="T2" fmla="*/ 143 w 163"/>
                    <a:gd name="T3" fmla="*/ 39 h 112"/>
                    <a:gd name="T4" fmla="*/ 104 w 163"/>
                    <a:gd name="T5" fmla="*/ 0 h 112"/>
                    <a:gd name="T6" fmla="*/ 68 w 163"/>
                    <a:gd name="T7" fmla="*/ 24 h 112"/>
                    <a:gd name="T8" fmla="*/ 48 w 163"/>
                    <a:gd name="T9" fmla="*/ 15 h 112"/>
                    <a:gd name="T10" fmla="*/ 20 w 163"/>
                    <a:gd name="T11" fmla="*/ 43 h 112"/>
                    <a:gd name="T12" fmla="*/ 21 w 163"/>
                    <a:gd name="T13" fmla="*/ 51 h 112"/>
                    <a:gd name="T14" fmla="*/ 0 w 163"/>
                    <a:gd name="T15" fmla="*/ 81 h 112"/>
                    <a:gd name="T16" fmla="*/ 32 w 163"/>
                    <a:gd name="T17" fmla="*/ 112 h 112"/>
                    <a:gd name="T18" fmla="*/ 131 w 163"/>
                    <a:gd name="T19" fmla="*/ 112 h 112"/>
                    <a:gd name="T20" fmla="*/ 163 w 163"/>
                    <a:gd name="T21" fmla="*/ 81 h 112"/>
                    <a:gd name="T22" fmla="*/ 141 w 163"/>
                    <a:gd name="T23" fmla="*/ 51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3" h="112">
                      <a:moveTo>
                        <a:pt x="141" y="51"/>
                      </a:moveTo>
                      <a:cubicBezTo>
                        <a:pt x="142" y="47"/>
                        <a:pt x="143" y="43"/>
                        <a:pt x="143" y="39"/>
                      </a:cubicBezTo>
                      <a:cubicBezTo>
                        <a:pt x="143" y="17"/>
                        <a:pt x="125" y="0"/>
                        <a:pt x="104" y="0"/>
                      </a:cubicBezTo>
                      <a:cubicBezTo>
                        <a:pt x="88" y="0"/>
                        <a:pt x="74" y="10"/>
                        <a:pt x="68" y="24"/>
                      </a:cubicBezTo>
                      <a:cubicBezTo>
                        <a:pt x="63" y="19"/>
                        <a:pt x="56" y="15"/>
                        <a:pt x="48" y="15"/>
                      </a:cubicBezTo>
                      <a:cubicBezTo>
                        <a:pt x="32" y="15"/>
                        <a:pt x="20" y="28"/>
                        <a:pt x="20" y="43"/>
                      </a:cubicBezTo>
                      <a:cubicBezTo>
                        <a:pt x="20" y="46"/>
                        <a:pt x="20" y="48"/>
                        <a:pt x="21" y="51"/>
                      </a:cubicBezTo>
                      <a:cubicBezTo>
                        <a:pt x="9" y="55"/>
                        <a:pt x="0" y="67"/>
                        <a:pt x="0" y="81"/>
                      </a:cubicBezTo>
                      <a:cubicBezTo>
                        <a:pt x="0" y="98"/>
                        <a:pt x="14" y="112"/>
                        <a:pt x="32" y="112"/>
                      </a:cubicBezTo>
                      <a:cubicBezTo>
                        <a:pt x="131" y="112"/>
                        <a:pt x="131" y="112"/>
                        <a:pt x="131" y="112"/>
                      </a:cubicBezTo>
                      <a:cubicBezTo>
                        <a:pt x="148" y="112"/>
                        <a:pt x="163" y="98"/>
                        <a:pt x="163" y="81"/>
                      </a:cubicBezTo>
                      <a:cubicBezTo>
                        <a:pt x="163" y="67"/>
                        <a:pt x="154" y="55"/>
                        <a:pt x="141" y="51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4" name="Freeform 23">
                  <a:extLst>
                    <a:ext uri="{FF2B5EF4-FFF2-40B4-BE49-F238E27FC236}">
                      <a16:creationId xmlns:a16="http://schemas.microsoft.com/office/drawing/2014/main" id="{2AE2935B-F080-4FB7-AEEE-999B3152C3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75800" y="2368550"/>
                  <a:ext cx="1282700" cy="728663"/>
                </a:xfrm>
                <a:custGeom>
                  <a:avLst/>
                  <a:gdLst>
                    <a:gd name="T0" fmla="*/ 20 w 139"/>
                    <a:gd name="T1" fmla="*/ 50 h 79"/>
                    <a:gd name="T2" fmla="*/ 0 w 139"/>
                    <a:gd name="T3" fmla="*/ 78 h 79"/>
                    <a:gd name="T4" fmla="*/ 0 w 139"/>
                    <a:gd name="T5" fmla="*/ 79 h 79"/>
                    <a:gd name="T6" fmla="*/ 21 w 139"/>
                    <a:gd name="T7" fmla="*/ 51 h 79"/>
                    <a:gd name="T8" fmla="*/ 20 w 139"/>
                    <a:gd name="T9" fmla="*/ 50 h 79"/>
                    <a:gd name="T10" fmla="*/ 104 w 139"/>
                    <a:gd name="T11" fmla="*/ 0 h 79"/>
                    <a:gd name="T12" fmla="*/ 139 w 139"/>
                    <a:gd name="T13" fmla="*/ 21 h 79"/>
                    <a:gd name="T14" fmla="*/ 139 w 139"/>
                    <a:gd name="T15" fmla="*/ 21 h 79"/>
                    <a:gd name="T16" fmla="*/ 104 w 139"/>
                    <a:gd name="T17" fmla="*/ 0 h 79"/>
                    <a:gd name="T18" fmla="*/ 104 w 139"/>
                    <a:gd name="T19" fmla="*/ 0 h 79"/>
                    <a:gd name="T20" fmla="*/ 68 w 139"/>
                    <a:gd name="T21" fmla="*/ 23 h 79"/>
                    <a:gd name="T22" fmla="*/ 48 w 139"/>
                    <a:gd name="T23" fmla="*/ 15 h 79"/>
                    <a:gd name="T24" fmla="*/ 20 w 139"/>
                    <a:gd name="T25" fmla="*/ 42 h 79"/>
                    <a:gd name="T26" fmla="*/ 20 w 139"/>
                    <a:gd name="T27" fmla="*/ 42 h 79"/>
                    <a:gd name="T28" fmla="*/ 48 w 139"/>
                    <a:gd name="T29" fmla="*/ 15 h 79"/>
                    <a:gd name="T30" fmla="*/ 68 w 139"/>
                    <a:gd name="T31" fmla="*/ 24 h 79"/>
                    <a:gd name="T32" fmla="*/ 104 w 139"/>
                    <a:gd name="T33" fmla="*/ 0 h 79"/>
                    <a:gd name="T34" fmla="*/ 104 w 139"/>
                    <a:gd name="T35" fmla="*/ 0 h 79"/>
                    <a:gd name="T36" fmla="*/ 104 w 139"/>
                    <a:gd name="T3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9" h="79">
                      <a:moveTo>
                        <a:pt x="20" y="50"/>
                      </a:moveTo>
                      <a:cubicBezTo>
                        <a:pt x="8" y="54"/>
                        <a:pt x="0" y="65"/>
                        <a:pt x="0" y="78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66"/>
                        <a:pt x="9" y="55"/>
                        <a:pt x="21" y="51"/>
                      </a:cubicBezTo>
                      <a:cubicBezTo>
                        <a:pt x="21" y="50"/>
                        <a:pt x="20" y="50"/>
                        <a:pt x="20" y="50"/>
                      </a:cubicBezTo>
                      <a:moveTo>
                        <a:pt x="104" y="0"/>
                      </a:moveTo>
                      <a:cubicBezTo>
                        <a:pt x="119" y="0"/>
                        <a:pt x="132" y="9"/>
                        <a:pt x="139" y="21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33" y="9"/>
                        <a:pt x="119" y="0"/>
                        <a:pt x="104" y="0"/>
                      </a:cubicBezTo>
                      <a:moveTo>
                        <a:pt x="104" y="0"/>
                      </a:moveTo>
                      <a:cubicBezTo>
                        <a:pt x="88" y="0"/>
                        <a:pt x="74" y="10"/>
                        <a:pt x="68" y="23"/>
                      </a:cubicBezTo>
                      <a:cubicBezTo>
                        <a:pt x="63" y="18"/>
                        <a:pt x="56" y="15"/>
                        <a:pt x="48" y="15"/>
                      </a:cubicBezTo>
                      <a:cubicBezTo>
                        <a:pt x="32" y="15"/>
                        <a:pt x="20" y="27"/>
                        <a:pt x="20" y="42"/>
                      </a:cubicBezTo>
                      <a:cubicBezTo>
                        <a:pt x="20" y="42"/>
                        <a:pt x="20" y="42"/>
                        <a:pt x="20" y="42"/>
                      </a:cubicBezTo>
                      <a:cubicBezTo>
                        <a:pt x="20" y="27"/>
                        <a:pt x="32" y="15"/>
                        <a:pt x="48" y="15"/>
                      </a:cubicBezTo>
                      <a:cubicBezTo>
                        <a:pt x="56" y="15"/>
                        <a:pt x="63" y="19"/>
                        <a:pt x="68" y="24"/>
                      </a:cubicBezTo>
                      <a:cubicBezTo>
                        <a:pt x="74" y="10"/>
                        <a:pt x="88" y="0"/>
                        <a:pt x="104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5" name="Freeform 24">
                  <a:extLst>
                    <a:ext uri="{FF2B5EF4-FFF2-40B4-BE49-F238E27FC236}">
                      <a16:creationId xmlns:a16="http://schemas.microsoft.com/office/drawing/2014/main" id="{46C85D87-F65C-4E5B-ADAA-E94082CFB6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69645" y="2359381"/>
                  <a:ext cx="1282700" cy="968376"/>
                </a:xfrm>
                <a:custGeom>
                  <a:avLst/>
                  <a:gdLst>
                    <a:gd name="T0" fmla="*/ 104 w 139"/>
                    <a:gd name="T1" fmla="*/ 0 h 102"/>
                    <a:gd name="T2" fmla="*/ 68 w 139"/>
                    <a:gd name="T3" fmla="*/ 24 h 102"/>
                    <a:gd name="T4" fmla="*/ 48 w 139"/>
                    <a:gd name="T5" fmla="*/ 15 h 102"/>
                    <a:gd name="T6" fmla="*/ 20 w 139"/>
                    <a:gd name="T7" fmla="*/ 42 h 102"/>
                    <a:gd name="T8" fmla="*/ 21 w 139"/>
                    <a:gd name="T9" fmla="*/ 49 h 102"/>
                    <a:gd name="T10" fmla="*/ 20 w 139"/>
                    <a:gd name="T11" fmla="*/ 50 h 102"/>
                    <a:gd name="T12" fmla="*/ 21 w 139"/>
                    <a:gd name="T13" fmla="*/ 51 h 102"/>
                    <a:gd name="T14" fmla="*/ 0 w 139"/>
                    <a:gd name="T15" fmla="*/ 79 h 102"/>
                    <a:gd name="T16" fmla="*/ 11 w 139"/>
                    <a:gd name="T17" fmla="*/ 102 h 102"/>
                    <a:gd name="T18" fmla="*/ 11 w 139"/>
                    <a:gd name="T19" fmla="*/ 98 h 102"/>
                    <a:gd name="T20" fmla="*/ 33 w 139"/>
                    <a:gd name="T21" fmla="*/ 68 h 102"/>
                    <a:gd name="T22" fmla="*/ 32 w 139"/>
                    <a:gd name="T23" fmla="*/ 60 h 102"/>
                    <a:gd name="T24" fmla="*/ 46 w 139"/>
                    <a:gd name="T25" fmla="*/ 36 h 102"/>
                    <a:gd name="T26" fmla="*/ 53 w 139"/>
                    <a:gd name="T27" fmla="*/ 29 h 102"/>
                    <a:gd name="T28" fmla="*/ 57 w 139"/>
                    <a:gd name="T29" fmla="*/ 28 h 102"/>
                    <a:gd name="T30" fmla="*/ 67 w 139"/>
                    <a:gd name="T31" fmla="*/ 33 h 102"/>
                    <a:gd name="T32" fmla="*/ 83 w 139"/>
                    <a:gd name="T33" fmla="*/ 41 h 102"/>
                    <a:gd name="T34" fmla="*/ 120 w 139"/>
                    <a:gd name="T35" fmla="*/ 17 h 102"/>
                    <a:gd name="T36" fmla="*/ 139 w 139"/>
                    <a:gd name="T37" fmla="*/ 21 h 102"/>
                    <a:gd name="T38" fmla="*/ 104 w 139"/>
                    <a:gd name="T39" fmla="*/ 0 h 102"/>
                    <a:gd name="T40" fmla="*/ 104 w 139"/>
                    <a:gd name="T41" fmla="*/ 0 h 102"/>
                    <a:gd name="T42" fmla="*/ 104 w 139"/>
                    <a:gd name="T43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9" h="102">
                      <a:moveTo>
                        <a:pt x="104" y="0"/>
                      </a:moveTo>
                      <a:cubicBezTo>
                        <a:pt x="88" y="0"/>
                        <a:pt x="74" y="10"/>
                        <a:pt x="68" y="24"/>
                      </a:cubicBezTo>
                      <a:cubicBezTo>
                        <a:pt x="63" y="19"/>
                        <a:pt x="56" y="15"/>
                        <a:pt x="48" y="15"/>
                      </a:cubicBezTo>
                      <a:cubicBezTo>
                        <a:pt x="32" y="15"/>
                        <a:pt x="20" y="27"/>
                        <a:pt x="20" y="42"/>
                      </a:cubicBezTo>
                      <a:cubicBezTo>
                        <a:pt x="20" y="45"/>
                        <a:pt x="20" y="47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0"/>
                        <a:pt x="21" y="51"/>
                      </a:cubicBezTo>
                      <a:cubicBezTo>
                        <a:pt x="9" y="55"/>
                        <a:pt x="0" y="66"/>
                        <a:pt x="0" y="79"/>
                      </a:cubicBezTo>
                      <a:cubicBezTo>
                        <a:pt x="0" y="88"/>
                        <a:pt x="4" y="96"/>
                        <a:pt x="11" y="102"/>
                      </a:cubicBezTo>
                      <a:cubicBezTo>
                        <a:pt x="11" y="100"/>
                        <a:pt x="11" y="99"/>
                        <a:pt x="11" y="98"/>
                      </a:cubicBezTo>
                      <a:cubicBezTo>
                        <a:pt x="11" y="85"/>
                        <a:pt x="20" y="73"/>
                        <a:pt x="33" y="68"/>
                      </a:cubicBezTo>
                      <a:cubicBezTo>
                        <a:pt x="32" y="66"/>
                        <a:pt x="32" y="63"/>
                        <a:pt x="32" y="60"/>
                      </a:cubicBezTo>
                      <a:cubicBezTo>
                        <a:pt x="32" y="50"/>
                        <a:pt x="37" y="41"/>
                        <a:pt x="46" y="36"/>
                      </a:cubicBezTo>
                      <a:cubicBezTo>
                        <a:pt x="47" y="33"/>
                        <a:pt x="49" y="30"/>
                        <a:pt x="53" y="29"/>
                      </a:cubicBezTo>
                      <a:cubicBezTo>
                        <a:pt x="54" y="28"/>
                        <a:pt x="56" y="28"/>
                        <a:pt x="57" y="28"/>
                      </a:cubicBezTo>
                      <a:cubicBezTo>
                        <a:pt x="61" y="28"/>
                        <a:pt x="65" y="30"/>
                        <a:pt x="67" y="33"/>
                      </a:cubicBezTo>
                      <a:cubicBezTo>
                        <a:pt x="73" y="34"/>
                        <a:pt x="79" y="37"/>
                        <a:pt x="83" y="41"/>
                      </a:cubicBezTo>
                      <a:cubicBezTo>
                        <a:pt x="89" y="27"/>
                        <a:pt x="103" y="17"/>
                        <a:pt x="120" y="17"/>
                      </a:cubicBezTo>
                      <a:cubicBezTo>
                        <a:pt x="127" y="17"/>
                        <a:pt x="133" y="18"/>
                        <a:pt x="139" y="21"/>
                      </a:cubicBezTo>
                      <a:cubicBezTo>
                        <a:pt x="132" y="9"/>
                        <a:pt x="119" y="0"/>
                        <a:pt x="104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6" name="Freeform 25">
                  <a:extLst>
                    <a:ext uri="{FF2B5EF4-FFF2-40B4-BE49-F238E27FC236}">
                      <a16:creationId xmlns:a16="http://schemas.microsoft.com/office/drawing/2014/main" id="{685D9F47-5D52-4F5E-9280-39B304EE7E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87000" y="3402013"/>
                  <a:ext cx="101600" cy="65088"/>
                </a:xfrm>
                <a:custGeom>
                  <a:avLst/>
                  <a:gdLst>
                    <a:gd name="T0" fmla="*/ 64 w 64"/>
                    <a:gd name="T1" fmla="*/ 0 h 41"/>
                    <a:gd name="T2" fmla="*/ 5 w 64"/>
                    <a:gd name="T3" fmla="*/ 0 h 41"/>
                    <a:gd name="T4" fmla="*/ 0 w 64"/>
                    <a:gd name="T5" fmla="*/ 41 h 41"/>
                    <a:gd name="T6" fmla="*/ 58 w 64"/>
                    <a:gd name="T7" fmla="*/ 41 h 41"/>
                    <a:gd name="T8" fmla="*/ 64 w 64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41">
                      <a:moveTo>
                        <a:pt x="64" y="0"/>
                      </a:moveTo>
                      <a:lnTo>
                        <a:pt x="5" y="0"/>
                      </a:lnTo>
                      <a:lnTo>
                        <a:pt x="0" y="41"/>
                      </a:lnTo>
                      <a:lnTo>
                        <a:pt x="58" y="41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CCD1E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57" name="Freeform 26">
                  <a:extLst>
                    <a:ext uri="{FF2B5EF4-FFF2-40B4-BE49-F238E27FC236}">
                      <a16:creationId xmlns:a16="http://schemas.microsoft.com/office/drawing/2014/main" id="{ECBBAF32-C9ED-412C-A670-C3BB8AE623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87000" y="3402013"/>
                  <a:ext cx="101600" cy="65088"/>
                </a:xfrm>
                <a:custGeom>
                  <a:avLst/>
                  <a:gdLst>
                    <a:gd name="T0" fmla="*/ 64 w 64"/>
                    <a:gd name="T1" fmla="*/ 0 h 41"/>
                    <a:gd name="T2" fmla="*/ 5 w 64"/>
                    <a:gd name="T3" fmla="*/ 0 h 41"/>
                    <a:gd name="T4" fmla="*/ 0 w 64"/>
                    <a:gd name="T5" fmla="*/ 41 h 41"/>
                    <a:gd name="T6" fmla="*/ 58 w 64"/>
                    <a:gd name="T7" fmla="*/ 41 h 41"/>
                    <a:gd name="T8" fmla="*/ 64 w 64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41">
                      <a:moveTo>
                        <a:pt x="64" y="0"/>
                      </a:moveTo>
                      <a:lnTo>
                        <a:pt x="5" y="0"/>
                      </a:lnTo>
                      <a:lnTo>
                        <a:pt x="0" y="41"/>
                      </a:lnTo>
                      <a:lnTo>
                        <a:pt x="58" y="41"/>
                      </a:lnTo>
                      <a:lnTo>
                        <a:pt x="6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61" name="Freeform 30">
                  <a:extLst>
                    <a:ext uri="{FF2B5EF4-FFF2-40B4-BE49-F238E27FC236}">
                      <a16:creationId xmlns:a16="http://schemas.microsoft.com/office/drawing/2014/main" id="{65C0AF36-97F9-4695-89C7-9593A2201D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67912" y="2598737"/>
                  <a:ext cx="841375" cy="1173163"/>
                </a:xfrm>
                <a:custGeom>
                  <a:avLst/>
                  <a:gdLst>
                    <a:gd name="T0" fmla="*/ 89 w 91"/>
                    <a:gd name="T1" fmla="*/ 57 h 127"/>
                    <a:gd name="T2" fmla="*/ 77 w 91"/>
                    <a:gd name="T3" fmla="*/ 51 h 127"/>
                    <a:gd name="T4" fmla="*/ 74 w 91"/>
                    <a:gd name="T5" fmla="*/ 53 h 127"/>
                    <a:gd name="T6" fmla="*/ 58 w 91"/>
                    <a:gd name="T7" fmla="*/ 37 h 127"/>
                    <a:gd name="T8" fmla="*/ 60 w 91"/>
                    <a:gd name="T9" fmla="*/ 30 h 127"/>
                    <a:gd name="T10" fmla="*/ 45 w 91"/>
                    <a:gd name="T11" fmla="*/ 14 h 127"/>
                    <a:gd name="T12" fmla="*/ 33 w 91"/>
                    <a:gd name="T13" fmla="*/ 20 h 127"/>
                    <a:gd name="T14" fmla="*/ 21 w 91"/>
                    <a:gd name="T15" fmla="*/ 13 h 127"/>
                    <a:gd name="T16" fmla="*/ 21 w 91"/>
                    <a:gd name="T17" fmla="*/ 7 h 127"/>
                    <a:gd name="T18" fmla="*/ 9 w 91"/>
                    <a:gd name="T19" fmla="*/ 2 h 127"/>
                    <a:gd name="T20" fmla="*/ 4 w 91"/>
                    <a:gd name="T21" fmla="*/ 14 h 127"/>
                    <a:gd name="T22" fmla="*/ 16 w 91"/>
                    <a:gd name="T23" fmla="*/ 19 h 127"/>
                    <a:gd name="T24" fmla="*/ 19 w 91"/>
                    <a:gd name="T25" fmla="*/ 17 h 127"/>
                    <a:gd name="T26" fmla="*/ 31 w 91"/>
                    <a:gd name="T27" fmla="*/ 24 h 127"/>
                    <a:gd name="T28" fmla="*/ 29 w 91"/>
                    <a:gd name="T29" fmla="*/ 30 h 127"/>
                    <a:gd name="T30" fmla="*/ 31 w 91"/>
                    <a:gd name="T31" fmla="*/ 37 h 127"/>
                    <a:gd name="T32" fmla="*/ 14 w 91"/>
                    <a:gd name="T33" fmla="*/ 48 h 127"/>
                    <a:gd name="T34" fmla="*/ 6 w 91"/>
                    <a:gd name="T35" fmla="*/ 46 h 127"/>
                    <a:gd name="T36" fmla="*/ 1 w 91"/>
                    <a:gd name="T37" fmla="*/ 56 h 127"/>
                    <a:gd name="T38" fmla="*/ 11 w 91"/>
                    <a:gd name="T39" fmla="*/ 60 h 127"/>
                    <a:gd name="T40" fmla="*/ 16 w 91"/>
                    <a:gd name="T41" fmla="*/ 51 h 127"/>
                    <a:gd name="T42" fmla="*/ 33 w 91"/>
                    <a:gd name="T43" fmla="*/ 40 h 127"/>
                    <a:gd name="T44" fmla="*/ 43 w 91"/>
                    <a:gd name="T45" fmla="*/ 45 h 127"/>
                    <a:gd name="T46" fmla="*/ 34 w 91"/>
                    <a:gd name="T47" fmla="*/ 103 h 127"/>
                    <a:gd name="T48" fmla="*/ 23 w 91"/>
                    <a:gd name="T49" fmla="*/ 115 h 127"/>
                    <a:gd name="T50" fmla="*/ 35 w 91"/>
                    <a:gd name="T51" fmla="*/ 127 h 127"/>
                    <a:gd name="T52" fmla="*/ 46 w 91"/>
                    <a:gd name="T53" fmla="*/ 115 h 127"/>
                    <a:gd name="T54" fmla="*/ 37 w 91"/>
                    <a:gd name="T55" fmla="*/ 103 h 127"/>
                    <a:gd name="T56" fmla="*/ 46 w 91"/>
                    <a:gd name="T57" fmla="*/ 45 h 127"/>
                    <a:gd name="T58" fmla="*/ 56 w 91"/>
                    <a:gd name="T59" fmla="*/ 40 h 127"/>
                    <a:gd name="T60" fmla="*/ 72 w 91"/>
                    <a:gd name="T61" fmla="*/ 56 h 127"/>
                    <a:gd name="T62" fmla="*/ 72 w 91"/>
                    <a:gd name="T63" fmla="*/ 63 h 127"/>
                    <a:gd name="T64" fmla="*/ 84 w 91"/>
                    <a:gd name="T65" fmla="*/ 69 h 127"/>
                    <a:gd name="T66" fmla="*/ 89 w 91"/>
                    <a:gd name="T67" fmla="*/ 57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1" h="127">
                      <a:moveTo>
                        <a:pt x="89" y="57"/>
                      </a:moveTo>
                      <a:cubicBezTo>
                        <a:pt x="87" y="52"/>
                        <a:pt x="82" y="50"/>
                        <a:pt x="77" y="51"/>
                      </a:cubicBezTo>
                      <a:cubicBezTo>
                        <a:pt x="76" y="52"/>
                        <a:pt x="75" y="52"/>
                        <a:pt x="74" y="53"/>
                      </a:cubicBezTo>
                      <a:cubicBezTo>
                        <a:pt x="58" y="37"/>
                        <a:pt x="58" y="37"/>
                        <a:pt x="58" y="37"/>
                      </a:cubicBezTo>
                      <a:cubicBezTo>
                        <a:pt x="59" y="35"/>
                        <a:pt x="60" y="32"/>
                        <a:pt x="60" y="30"/>
                      </a:cubicBezTo>
                      <a:cubicBezTo>
                        <a:pt x="60" y="21"/>
                        <a:pt x="53" y="14"/>
                        <a:pt x="45" y="14"/>
                      </a:cubicBezTo>
                      <a:cubicBezTo>
                        <a:pt x="40" y="14"/>
                        <a:pt x="35" y="17"/>
                        <a:pt x="33" y="20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22" y="12"/>
                        <a:pt x="22" y="9"/>
                        <a:pt x="21" y="7"/>
                      </a:cubicBezTo>
                      <a:cubicBezTo>
                        <a:pt x="19" y="3"/>
                        <a:pt x="14" y="0"/>
                        <a:pt x="9" y="2"/>
                      </a:cubicBezTo>
                      <a:cubicBezTo>
                        <a:pt x="4" y="4"/>
                        <a:pt x="2" y="9"/>
                        <a:pt x="4" y="14"/>
                      </a:cubicBezTo>
                      <a:cubicBezTo>
                        <a:pt x="6" y="19"/>
                        <a:pt x="11" y="21"/>
                        <a:pt x="16" y="19"/>
                      </a:cubicBezTo>
                      <a:cubicBezTo>
                        <a:pt x="17" y="19"/>
                        <a:pt x="19" y="18"/>
                        <a:pt x="19" y="17"/>
                      </a:cubicBezTo>
                      <a:cubicBezTo>
                        <a:pt x="31" y="24"/>
                        <a:pt x="31" y="24"/>
                        <a:pt x="31" y="24"/>
                      </a:cubicBezTo>
                      <a:cubicBezTo>
                        <a:pt x="30" y="25"/>
                        <a:pt x="29" y="27"/>
                        <a:pt x="29" y="30"/>
                      </a:cubicBezTo>
                      <a:cubicBezTo>
                        <a:pt x="29" y="32"/>
                        <a:pt x="30" y="35"/>
                        <a:pt x="31" y="37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12" y="46"/>
                        <a:pt x="9" y="45"/>
                        <a:pt x="6" y="46"/>
                      </a:cubicBezTo>
                      <a:cubicBezTo>
                        <a:pt x="2" y="48"/>
                        <a:pt x="0" y="52"/>
                        <a:pt x="1" y="56"/>
                      </a:cubicBezTo>
                      <a:cubicBezTo>
                        <a:pt x="3" y="60"/>
                        <a:pt x="7" y="61"/>
                        <a:pt x="11" y="60"/>
                      </a:cubicBezTo>
                      <a:cubicBezTo>
                        <a:pt x="15" y="59"/>
                        <a:pt x="17" y="55"/>
                        <a:pt x="16" y="51"/>
                      </a:cubicBezTo>
                      <a:cubicBezTo>
                        <a:pt x="33" y="40"/>
                        <a:pt x="33" y="40"/>
                        <a:pt x="33" y="40"/>
                      </a:cubicBezTo>
                      <a:cubicBezTo>
                        <a:pt x="36" y="42"/>
                        <a:pt x="39" y="44"/>
                        <a:pt x="43" y="45"/>
                      </a:cubicBezTo>
                      <a:cubicBezTo>
                        <a:pt x="34" y="103"/>
                        <a:pt x="34" y="103"/>
                        <a:pt x="34" y="103"/>
                      </a:cubicBezTo>
                      <a:cubicBezTo>
                        <a:pt x="28" y="103"/>
                        <a:pt x="23" y="108"/>
                        <a:pt x="23" y="115"/>
                      </a:cubicBezTo>
                      <a:cubicBezTo>
                        <a:pt x="23" y="121"/>
                        <a:pt x="28" y="127"/>
                        <a:pt x="35" y="127"/>
                      </a:cubicBezTo>
                      <a:cubicBezTo>
                        <a:pt x="41" y="127"/>
                        <a:pt x="46" y="121"/>
                        <a:pt x="46" y="115"/>
                      </a:cubicBezTo>
                      <a:cubicBezTo>
                        <a:pt x="46" y="109"/>
                        <a:pt x="43" y="104"/>
                        <a:pt x="37" y="103"/>
                      </a:cubicBezTo>
                      <a:cubicBezTo>
                        <a:pt x="46" y="45"/>
                        <a:pt x="46" y="45"/>
                        <a:pt x="46" y="45"/>
                      </a:cubicBezTo>
                      <a:cubicBezTo>
                        <a:pt x="50" y="45"/>
                        <a:pt x="53" y="43"/>
                        <a:pt x="56" y="40"/>
                      </a:cubicBezTo>
                      <a:cubicBezTo>
                        <a:pt x="72" y="56"/>
                        <a:pt x="72" y="56"/>
                        <a:pt x="72" y="56"/>
                      </a:cubicBezTo>
                      <a:cubicBezTo>
                        <a:pt x="71" y="58"/>
                        <a:pt x="71" y="61"/>
                        <a:pt x="72" y="63"/>
                      </a:cubicBezTo>
                      <a:cubicBezTo>
                        <a:pt x="74" y="68"/>
                        <a:pt x="79" y="71"/>
                        <a:pt x="84" y="69"/>
                      </a:cubicBezTo>
                      <a:cubicBezTo>
                        <a:pt x="89" y="67"/>
                        <a:pt x="91" y="61"/>
                        <a:pt x="89" y="57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  <p:sp>
              <p:nvSpPr>
                <p:cNvPr id="60" name="Freeform 29">
                  <a:extLst>
                    <a:ext uri="{FF2B5EF4-FFF2-40B4-BE49-F238E27FC236}">
                      <a16:creationId xmlns:a16="http://schemas.microsoft.com/office/drawing/2014/main" id="{8A4FD6CE-990B-41F4-9C96-F8F7B813D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91943" y="2599210"/>
                  <a:ext cx="171946" cy="113223"/>
                </a:xfrm>
                <a:custGeom>
                  <a:avLst/>
                  <a:gdLst>
                    <a:gd name="T0" fmla="*/ 11 w 21"/>
                    <a:gd name="T1" fmla="*/ 0 h 8"/>
                    <a:gd name="T2" fmla="*/ 7 w 21"/>
                    <a:gd name="T3" fmla="*/ 1 h 8"/>
                    <a:gd name="T4" fmla="*/ 0 w 21"/>
                    <a:gd name="T5" fmla="*/ 8 h 8"/>
                    <a:gd name="T6" fmla="*/ 15 w 21"/>
                    <a:gd name="T7" fmla="*/ 4 h 8"/>
                    <a:gd name="T8" fmla="*/ 21 w 21"/>
                    <a:gd name="T9" fmla="*/ 5 h 8"/>
                    <a:gd name="T10" fmla="*/ 11 w 21"/>
                    <a:gd name="T1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8">
                      <a:moveTo>
                        <a:pt x="11" y="0"/>
                      </a:moveTo>
                      <a:cubicBezTo>
                        <a:pt x="10" y="0"/>
                        <a:pt x="8" y="0"/>
                        <a:pt x="7" y="1"/>
                      </a:cubicBezTo>
                      <a:cubicBezTo>
                        <a:pt x="3" y="2"/>
                        <a:pt x="1" y="5"/>
                        <a:pt x="0" y="8"/>
                      </a:cubicBezTo>
                      <a:cubicBezTo>
                        <a:pt x="4" y="5"/>
                        <a:pt x="9" y="4"/>
                        <a:pt x="15" y="4"/>
                      </a:cubicBezTo>
                      <a:cubicBezTo>
                        <a:pt x="17" y="4"/>
                        <a:pt x="19" y="4"/>
                        <a:pt x="21" y="5"/>
                      </a:cubicBezTo>
                      <a:cubicBezTo>
                        <a:pt x="19" y="2"/>
                        <a:pt x="15" y="0"/>
                        <a:pt x="11" y="0"/>
                      </a:cubicBezTo>
                    </a:path>
                  </a:pathLst>
                </a:custGeom>
                <a:solidFill>
                  <a:schemeClr val="tx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3710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Picture 87" descr="group of people inside mart at fruit section">
            <a:extLst>
              <a:ext uri="{FF2B5EF4-FFF2-40B4-BE49-F238E27FC236}">
                <a16:creationId xmlns:a16="http://schemas.microsoft.com/office/drawing/2014/main" id="{000ABA5E-28B5-47DF-823B-BF6887F9C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646" y="545815"/>
            <a:ext cx="3619453" cy="2842725"/>
          </a:xfrm>
          <a:custGeom>
            <a:avLst/>
            <a:gdLst>
              <a:gd name="connsiteX0" fmla="*/ 1178406 w 3619453"/>
              <a:gd name="connsiteY0" fmla="*/ 0 h 2842725"/>
              <a:gd name="connsiteX1" fmla="*/ 3619453 w 3619453"/>
              <a:gd name="connsiteY1" fmla="*/ 2441046 h 2842725"/>
              <a:gd name="connsiteX2" fmla="*/ 3619453 w 3619453"/>
              <a:gd name="connsiteY2" fmla="*/ 2842725 h 2842725"/>
              <a:gd name="connsiteX3" fmla="*/ 0 w 3619453"/>
              <a:gd name="connsiteY3" fmla="*/ 2842725 h 2842725"/>
              <a:gd name="connsiteX4" fmla="*/ 4339 w 3619453"/>
              <a:gd name="connsiteY4" fmla="*/ 2671181 h 2842725"/>
              <a:gd name="connsiteX5" fmla="*/ 939749 w 3619453"/>
              <a:gd name="connsiteY5" fmla="*/ 262590 h 284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9453" h="2842725">
                <a:moveTo>
                  <a:pt x="1178406" y="0"/>
                </a:moveTo>
                <a:lnTo>
                  <a:pt x="3619453" y="2441046"/>
                </a:lnTo>
                <a:lnTo>
                  <a:pt x="3619453" y="2842725"/>
                </a:lnTo>
                <a:lnTo>
                  <a:pt x="0" y="2842725"/>
                </a:lnTo>
                <a:lnTo>
                  <a:pt x="4339" y="2671181"/>
                </a:lnTo>
                <a:cubicBezTo>
                  <a:pt x="50610" y="1758331"/>
                  <a:pt x="394009" y="923873"/>
                  <a:pt x="939749" y="26259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 descr="woman in front on brown dining table and chairs inside building">
            <a:extLst>
              <a:ext uri="{FF2B5EF4-FFF2-40B4-BE49-F238E27FC236}">
                <a16:creationId xmlns:a16="http://schemas.microsoft.com/office/drawing/2014/main" id="{9D82FBFC-5CF6-4778-9A49-DF12E4DB8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646" y="3469463"/>
            <a:ext cx="3451256" cy="2842727"/>
          </a:xfrm>
          <a:custGeom>
            <a:avLst/>
            <a:gdLst>
              <a:gd name="connsiteX0" fmla="*/ 0 w 3451256"/>
              <a:gd name="connsiteY0" fmla="*/ 0 h 2842727"/>
              <a:gd name="connsiteX1" fmla="*/ 3451256 w 3451256"/>
              <a:gd name="connsiteY1" fmla="*/ 0 h 2842727"/>
              <a:gd name="connsiteX2" fmla="*/ 3451256 w 3451256"/>
              <a:gd name="connsiteY2" fmla="*/ 569877 h 2842727"/>
              <a:gd name="connsiteX3" fmla="*/ 1178406 w 3451256"/>
              <a:gd name="connsiteY3" fmla="*/ 2842727 h 2842727"/>
              <a:gd name="connsiteX4" fmla="*/ 939748 w 3451256"/>
              <a:gd name="connsiteY4" fmla="*/ 2580136 h 2842727"/>
              <a:gd name="connsiteX5" fmla="*/ 4339 w 3451256"/>
              <a:gd name="connsiteY5" fmla="*/ 171544 h 2842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1256" h="2842727">
                <a:moveTo>
                  <a:pt x="0" y="0"/>
                </a:moveTo>
                <a:lnTo>
                  <a:pt x="3451256" y="0"/>
                </a:lnTo>
                <a:lnTo>
                  <a:pt x="3451256" y="569877"/>
                </a:lnTo>
                <a:lnTo>
                  <a:pt x="1178406" y="2842727"/>
                </a:lnTo>
                <a:lnTo>
                  <a:pt x="939748" y="2580136"/>
                </a:lnTo>
                <a:cubicBezTo>
                  <a:pt x="394009" y="1918853"/>
                  <a:pt x="50610" y="1084395"/>
                  <a:pt x="4339" y="17154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78" descr="A living room filled with furniture and a fireplace&#10;&#10;Description automatically generated">
            <a:extLst>
              <a:ext uri="{FF2B5EF4-FFF2-40B4-BE49-F238E27FC236}">
                <a16:creationId xmlns:a16="http://schemas.microsoft.com/office/drawing/2014/main" id="{4D673D84-9B40-4205-B48C-A93348C8A05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14" b="4525"/>
          <a:stretch/>
        </p:blipFill>
        <p:spPr>
          <a:xfrm>
            <a:off x="9349274" y="4085120"/>
            <a:ext cx="2842726" cy="3462692"/>
          </a:xfrm>
          <a:custGeom>
            <a:avLst/>
            <a:gdLst>
              <a:gd name="connsiteX0" fmla="*/ 2284290 w 2842726"/>
              <a:gd name="connsiteY0" fmla="*/ 0 h 3462692"/>
              <a:gd name="connsiteX1" fmla="*/ 2842726 w 2842726"/>
              <a:gd name="connsiteY1" fmla="*/ 0 h 3462692"/>
              <a:gd name="connsiteX2" fmla="*/ 2842726 w 2842726"/>
              <a:gd name="connsiteY2" fmla="*/ 3462692 h 3462692"/>
              <a:gd name="connsiteX3" fmla="*/ 2671182 w 2842726"/>
              <a:gd name="connsiteY3" fmla="*/ 3458353 h 3462692"/>
              <a:gd name="connsiteX4" fmla="*/ 262588 w 2842726"/>
              <a:gd name="connsiteY4" fmla="*/ 2522944 h 3462692"/>
              <a:gd name="connsiteX5" fmla="*/ 0 w 2842726"/>
              <a:gd name="connsiteY5" fmla="*/ 2284289 h 3462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42726" h="3462692">
                <a:moveTo>
                  <a:pt x="2284290" y="0"/>
                </a:moveTo>
                <a:lnTo>
                  <a:pt x="2842726" y="0"/>
                </a:lnTo>
                <a:lnTo>
                  <a:pt x="2842726" y="3462692"/>
                </a:lnTo>
                <a:lnTo>
                  <a:pt x="2671182" y="3458353"/>
                </a:lnTo>
                <a:cubicBezTo>
                  <a:pt x="1758330" y="3412082"/>
                  <a:pt x="923870" y="3068684"/>
                  <a:pt x="262588" y="2522944"/>
                </a:cubicBezTo>
                <a:lnTo>
                  <a:pt x="0" y="2284289"/>
                </a:lnTo>
                <a:close/>
              </a:path>
            </a:pathLst>
          </a:custGeom>
        </p:spPr>
      </p:pic>
      <p:pic>
        <p:nvPicPr>
          <p:cNvPr id="86" name="Picture 85" descr="white textile on brown wooden table">
            <a:extLst>
              <a:ext uri="{FF2B5EF4-FFF2-40B4-BE49-F238E27FC236}">
                <a16:creationId xmlns:a16="http://schemas.microsoft.com/office/drawing/2014/main" id="{6EEE224C-69CB-405B-A5E5-90E0F0F393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49274" y="1"/>
            <a:ext cx="2842726" cy="2590156"/>
          </a:xfrm>
          <a:custGeom>
            <a:avLst/>
            <a:gdLst>
              <a:gd name="connsiteX0" fmla="*/ 603660 w 2842726"/>
              <a:gd name="connsiteY0" fmla="*/ 0 h 2590156"/>
              <a:gd name="connsiteX1" fmla="*/ 2842726 w 2842726"/>
              <a:gd name="connsiteY1" fmla="*/ 0 h 2590156"/>
              <a:gd name="connsiteX2" fmla="*/ 2842726 w 2842726"/>
              <a:gd name="connsiteY2" fmla="*/ 2590156 h 2590156"/>
              <a:gd name="connsiteX3" fmla="*/ 2101565 w 2842726"/>
              <a:gd name="connsiteY3" fmla="*/ 2590156 h 2590156"/>
              <a:gd name="connsiteX4" fmla="*/ 0 w 2842726"/>
              <a:gd name="connsiteY4" fmla="*/ 488590 h 2590156"/>
              <a:gd name="connsiteX5" fmla="*/ 262588 w 2842726"/>
              <a:gd name="connsiteY5" fmla="*/ 249936 h 2590156"/>
              <a:gd name="connsiteX6" fmla="*/ 518501 w 2842726"/>
              <a:gd name="connsiteY6" fmla="*/ 54953 h 259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42726" h="2590156">
                <a:moveTo>
                  <a:pt x="603660" y="0"/>
                </a:moveTo>
                <a:lnTo>
                  <a:pt x="2842726" y="0"/>
                </a:lnTo>
                <a:lnTo>
                  <a:pt x="2842726" y="2590156"/>
                </a:lnTo>
                <a:lnTo>
                  <a:pt x="2101565" y="2590156"/>
                </a:lnTo>
                <a:lnTo>
                  <a:pt x="0" y="488590"/>
                </a:lnTo>
                <a:lnTo>
                  <a:pt x="262588" y="249936"/>
                </a:lnTo>
                <a:cubicBezTo>
                  <a:pt x="345248" y="181718"/>
                  <a:pt x="430614" y="116663"/>
                  <a:pt x="518501" y="54953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DBAAAD34-999A-4B23-8ED3-FDAD89F450C8}"/>
              </a:ext>
            </a:extLst>
          </p:cNvPr>
          <p:cNvSpPr txBox="1">
            <a:spLocks/>
          </p:cNvSpPr>
          <p:nvPr/>
        </p:nvSpPr>
        <p:spPr>
          <a:xfrm>
            <a:off x="427038" y="2924171"/>
            <a:ext cx="5143499" cy="100965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3200" b="0" kern="1200" cap="none" spc="-49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OVID-19: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A Blip Or A New Normal?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9ECA934-39FF-4A91-97E6-72C3F17106E2}"/>
              </a:ext>
            </a:extLst>
          </p:cNvPr>
          <p:cNvGrpSpPr/>
          <p:nvPr/>
        </p:nvGrpSpPr>
        <p:grpSpPr>
          <a:xfrm>
            <a:off x="10745215" y="1962432"/>
            <a:ext cx="2933140" cy="2933136"/>
            <a:chOff x="10745215" y="1962432"/>
            <a:chExt cx="2933140" cy="2933136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F0E6EDB-1A0B-4AE4-87BB-DB335E0A5F4E}"/>
                </a:ext>
              </a:extLst>
            </p:cNvPr>
            <p:cNvSpPr/>
            <p:nvPr/>
          </p:nvSpPr>
          <p:spPr bwMode="auto">
            <a:xfrm>
              <a:off x="10745215" y="1962432"/>
              <a:ext cx="2933140" cy="2933136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>
              <a:outerShdw blurRad="190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0BE00EE-B9BB-4305-A5B0-68EE0C7A475C}"/>
                </a:ext>
              </a:extLst>
            </p:cNvPr>
            <p:cNvSpPr/>
            <p:nvPr/>
          </p:nvSpPr>
          <p:spPr>
            <a:xfrm>
              <a:off x="10926228" y="3258184"/>
              <a:ext cx="1193212" cy="3416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lvl="0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>
                  <a:latin typeface="Segoe UI Semibold"/>
                  <a:ea typeface="Segoe UI" pitchFamily="34" charset="0"/>
                  <a:cs typeface="Segoe UI" pitchFamily="34" charset="0"/>
                </a:rPr>
                <a:t>COVID-19</a:t>
              </a:r>
            </a:p>
          </p:txBody>
        </p:sp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AC872156-8FB6-4F6A-900F-4DB2D75F2607}"/>
              </a:ext>
            </a:extLst>
          </p:cNvPr>
          <p:cNvGrpSpPr/>
          <p:nvPr/>
        </p:nvGrpSpPr>
        <p:grpSpPr>
          <a:xfrm>
            <a:off x="7660965" y="252319"/>
            <a:ext cx="1386751" cy="3077967"/>
            <a:chOff x="7660965" y="252319"/>
            <a:chExt cx="1386751" cy="3077967"/>
          </a:xfrm>
        </p:grpSpPr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6A414583-C3D4-4E13-998E-1061D1EF8F5A}"/>
                </a:ext>
              </a:extLst>
            </p:cNvPr>
            <p:cNvSpPr/>
            <p:nvPr/>
          </p:nvSpPr>
          <p:spPr bwMode="auto">
            <a:xfrm>
              <a:off x="7660965" y="425450"/>
              <a:ext cx="1239501" cy="2904836"/>
            </a:xfrm>
            <a:custGeom>
              <a:avLst/>
              <a:gdLst>
                <a:gd name="connsiteX0" fmla="*/ 1132063 w 1239501"/>
                <a:gd name="connsiteY0" fmla="*/ 0 h 2904836"/>
                <a:gd name="connsiteX1" fmla="*/ 1239501 w 1239501"/>
                <a:gd name="connsiteY1" fmla="*/ 0 h 2904836"/>
                <a:gd name="connsiteX2" fmla="*/ 1111331 w 1239501"/>
                <a:gd name="connsiteY2" fmla="*/ 147099 h 2904836"/>
                <a:gd name="connsiteX3" fmla="*/ 90578 w 1239501"/>
                <a:gd name="connsiteY3" fmla="*/ 2690256 h 2904836"/>
                <a:gd name="connsiteX4" fmla="*/ 81082 w 1239501"/>
                <a:gd name="connsiteY4" fmla="*/ 2904836 h 2904836"/>
                <a:gd name="connsiteX5" fmla="*/ 0 w 1239501"/>
                <a:gd name="connsiteY5" fmla="*/ 2904836 h 2904836"/>
                <a:gd name="connsiteX6" fmla="*/ 9748 w 1239501"/>
                <a:gd name="connsiteY6" fmla="*/ 2684577 h 2904836"/>
                <a:gd name="connsiteX7" fmla="*/ 1048999 w 1239501"/>
                <a:gd name="connsiteY7" fmla="*/ 95331 h 2904836"/>
                <a:gd name="connsiteX8" fmla="*/ 1132063 w 1239501"/>
                <a:gd name="connsiteY8" fmla="*/ 0 h 290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9501" h="2904836">
                  <a:moveTo>
                    <a:pt x="1132063" y="0"/>
                  </a:moveTo>
                  <a:lnTo>
                    <a:pt x="1239501" y="0"/>
                  </a:lnTo>
                  <a:lnTo>
                    <a:pt x="1111331" y="147099"/>
                  </a:lnTo>
                  <a:cubicBezTo>
                    <a:pt x="528032" y="849073"/>
                    <a:pt x="156932" y="1730568"/>
                    <a:pt x="90578" y="2690256"/>
                  </a:cubicBezTo>
                  <a:lnTo>
                    <a:pt x="81082" y="2904836"/>
                  </a:lnTo>
                  <a:lnTo>
                    <a:pt x="0" y="2904836"/>
                  </a:lnTo>
                  <a:lnTo>
                    <a:pt x="9748" y="2684577"/>
                  </a:lnTo>
                  <a:cubicBezTo>
                    <a:pt x="77304" y="1707497"/>
                    <a:pt x="455130" y="810027"/>
                    <a:pt x="1048999" y="95331"/>
                  </a:cubicBezTo>
                  <a:lnTo>
                    <a:pt x="113206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25" name="Isosceles Triangle 1024">
              <a:extLst>
                <a:ext uri="{FF2B5EF4-FFF2-40B4-BE49-F238E27FC236}">
                  <a16:creationId xmlns:a16="http://schemas.microsoft.com/office/drawing/2014/main" id="{BB5BD6B9-FA01-4520-BB2D-9C4977F8A6B8}"/>
                </a:ext>
              </a:extLst>
            </p:cNvPr>
            <p:cNvSpPr/>
            <p:nvPr/>
          </p:nvSpPr>
          <p:spPr bwMode="auto">
            <a:xfrm rot="2657646">
              <a:off x="8753215" y="252319"/>
              <a:ext cx="294501" cy="253880"/>
            </a:xfrm>
            <a:prstGeom prst="triangl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27" name="Group 1026">
            <a:extLst>
              <a:ext uri="{FF2B5EF4-FFF2-40B4-BE49-F238E27FC236}">
                <a16:creationId xmlns:a16="http://schemas.microsoft.com/office/drawing/2014/main" id="{B82F7ABC-7D67-44CD-AED5-B6E61F9A4782}"/>
              </a:ext>
            </a:extLst>
          </p:cNvPr>
          <p:cNvGrpSpPr/>
          <p:nvPr/>
        </p:nvGrpSpPr>
        <p:grpSpPr>
          <a:xfrm>
            <a:off x="7661700" y="3527715"/>
            <a:ext cx="1250840" cy="3047653"/>
            <a:chOff x="7661700" y="3527715"/>
            <a:chExt cx="1250840" cy="3047653"/>
          </a:xfrm>
          <a:solidFill>
            <a:schemeClr val="tx1"/>
          </a:solidFill>
        </p:grpSpPr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E96D94F4-08BC-4574-A013-A3D39E03EEBD}"/>
                </a:ext>
              </a:extLst>
            </p:cNvPr>
            <p:cNvSpPr/>
            <p:nvPr/>
          </p:nvSpPr>
          <p:spPr bwMode="auto">
            <a:xfrm>
              <a:off x="7661700" y="3527715"/>
              <a:ext cx="1241172" cy="2901660"/>
            </a:xfrm>
            <a:custGeom>
              <a:avLst/>
              <a:gdLst>
                <a:gd name="connsiteX0" fmla="*/ 0 w 1241172"/>
                <a:gd name="connsiteY0" fmla="*/ 0 h 2901660"/>
                <a:gd name="connsiteX1" fmla="*/ 81001 w 1241172"/>
                <a:gd name="connsiteY1" fmla="*/ 0 h 2901660"/>
                <a:gd name="connsiteX2" fmla="*/ 81195 w 1241172"/>
                <a:gd name="connsiteY2" fmla="*/ 36107 h 2901660"/>
                <a:gd name="connsiteX3" fmla="*/ 1148530 w 1241172"/>
                <a:gd name="connsiteY3" fmla="*/ 2802936 h 2901660"/>
                <a:gd name="connsiteX4" fmla="*/ 1241172 w 1241172"/>
                <a:gd name="connsiteY4" fmla="*/ 2901660 h 2901660"/>
                <a:gd name="connsiteX5" fmla="*/ 1128193 w 1241172"/>
                <a:gd name="connsiteY5" fmla="*/ 2901660 h 2901660"/>
                <a:gd name="connsiteX6" fmla="*/ 1086884 w 1241172"/>
                <a:gd name="connsiteY6" fmla="*/ 2855520 h 2901660"/>
                <a:gd name="connsiteX7" fmla="*/ 207 w 1241172"/>
                <a:gd name="connsiteY7" fmla="*/ 38549 h 2901660"/>
                <a:gd name="connsiteX8" fmla="*/ 0 w 1241172"/>
                <a:gd name="connsiteY8" fmla="*/ 0 h 290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1172" h="2901660">
                  <a:moveTo>
                    <a:pt x="0" y="0"/>
                  </a:moveTo>
                  <a:lnTo>
                    <a:pt x="81001" y="0"/>
                  </a:lnTo>
                  <a:lnTo>
                    <a:pt x="81195" y="36107"/>
                  </a:lnTo>
                  <a:cubicBezTo>
                    <a:pt x="113078" y="1092944"/>
                    <a:pt x="509861" y="2055006"/>
                    <a:pt x="1148530" y="2802936"/>
                  </a:cubicBezTo>
                  <a:lnTo>
                    <a:pt x="1241172" y="2901660"/>
                  </a:lnTo>
                  <a:lnTo>
                    <a:pt x="1128193" y="2901660"/>
                  </a:lnTo>
                  <a:lnTo>
                    <a:pt x="1086884" y="2855520"/>
                  </a:lnTo>
                  <a:cubicBezTo>
                    <a:pt x="436641" y="2094036"/>
                    <a:pt x="32668" y="1114539"/>
                    <a:pt x="207" y="38549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Isosceles Triangle 120">
              <a:extLst>
                <a:ext uri="{FF2B5EF4-FFF2-40B4-BE49-F238E27FC236}">
                  <a16:creationId xmlns:a16="http://schemas.microsoft.com/office/drawing/2014/main" id="{7A4B354C-77CA-4005-9E2C-71741F30E227}"/>
                </a:ext>
              </a:extLst>
            </p:cNvPr>
            <p:cNvSpPr/>
            <p:nvPr/>
          </p:nvSpPr>
          <p:spPr bwMode="auto">
            <a:xfrm rot="15401257">
              <a:off x="8638349" y="6301178"/>
              <a:ext cx="294501" cy="253880"/>
            </a:xfrm>
            <a:prstGeom prst="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033" name="TextBox 1032">
            <a:extLst>
              <a:ext uri="{FF2B5EF4-FFF2-40B4-BE49-F238E27FC236}">
                <a16:creationId xmlns:a16="http://schemas.microsoft.com/office/drawing/2014/main" id="{EC9A2F57-070A-461D-A977-A332EC7F9222}"/>
              </a:ext>
            </a:extLst>
          </p:cNvPr>
          <p:cNvSpPr txBox="1"/>
          <p:nvPr/>
        </p:nvSpPr>
        <p:spPr>
          <a:xfrm>
            <a:off x="7026393" y="362762"/>
            <a:ext cx="1371209" cy="544765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schemeClr val="tx2"/>
                </a:solidFill>
                <a:latin typeface="+mj-lt"/>
              </a:rPr>
              <a:t>Essential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B12AA9F-289B-49FF-86CE-730D24D792DD}"/>
              </a:ext>
            </a:extLst>
          </p:cNvPr>
          <p:cNvSpPr txBox="1"/>
          <p:nvPr/>
        </p:nvSpPr>
        <p:spPr>
          <a:xfrm>
            <a:off x="6484578" y="5950473"/>
            <a:ext cx="1913024" cy="544765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>
                <a:latin typeface="+mj-lt"/>
              </a:rPr>
              <a:t>Non-Essentials</a:t>
            </a:r>
          </a:p>
        </p:txBody>
      </p:sp>
    </p:spTree>
    <p:extLst>
      <p:ext uri="{BB962C8B-B14F-4D97-AF65-F5344CB8AC3E}">
        <p14:creationId xmlns:p14="http://schemas.microsoft.com/office/powerpoint/2010/main" val="428833397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3">
            <a:extLst>
              <a:ext uri="{FF2B5EF4-FFF2-40B4-BE49-F238E27FC236}">
                <a16:creationId xmlns:a16="http://schemas.microsoft.com/office/drawing/2014/main" id="{D90EE54C-C11E-4BE8-A172-B29F6779A0F8}"/>
              </a:ext>
            </a:extLst>
          </p:cNvPr>
          <p:cNvSpPr txBox="1">
            <a:spLocks/>
          </p:cNvSpPr>
          <p:nvPr/>
        </p:nvSpPr>
        <p:spPr>
          <a:xfrm>
            <a:off x="427038" y="1213676"/>
            <a:ext cx="5611639" cy="61595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3200" b="0" kern="1200" cap="none" spc="-49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49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VID-19:</a:t>
            </a:r>
            <a:br>
              <a:rPr kumimoji="0" lang="en-US" sz="3200" b="0" i="0" u="none" strike="noStrike" kern="1200" cap="none" spc="-49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en-US" sz="3200" b="0" i="0" u="none" strike="noStrike" kern="1200" cap="none" spc="-49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 Blip Or A New Normal?</a:t>
            </a:r>
          </a:p>
        </p:txBody>
      </p:sp>
      <p:graphicFrame>
        <p:nvGraphicFramePr>
          <p:cNvPr id="16" name="Table 8">
            <a:extLst>
              <a:ext uri="{FF2B5EF4-FFF2-40B4-BE49-F238E27FC236}">
                <a16:creationId xmlns:a16="http://schemas.microsoft.com/office/drawing/2014/main" id="{42868A45-89F5-4075-B2C9-230DCD66D756}"/>
              </a:ext>
            </a:extLst>
          </p:cNvPr>
          <p:cNvGraphicFramePr>
            <a:graphicFrameLocks noGrp="1"/>
          </p:cNvGraphicFramePr>
          <p:nvPr/>
        </p:nvGraphicFramePr>
        <p:xfrm>
          <a:off x="0" y="2658560"/>
          <a:ext cx="12192003" cy="3573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5236">
                  <a:extLst>
                    <a:ext uri="{9D8B030D-6E8A-4147-A177-3AD203B41FA5}">
                      <a16:colId xmlns:a16="http://schemas.microsoft.com/office/drawing/2014/main" val="972670355"/>
                    </a:ext>
                  </a:extLst>
                </a:gridCol>
                <a:gridCol w="5368637">
                  <a:extLst>
                    <a:ext uri="{9D8B030D-6E8A-4147-A177-3AD203B41FA5}">
                      <a16:colId xmlns:a16="http://schemas.microsoft.com/office/drawing/2014/main" val="4275057302"/>
                    </a:ext>
                  </a:extLst>
                </a:gridCol>
                <a:gridCol w="5368637">
                  <a:extLst>
                    <a:ext uri="{9D8B030D-6E8A-4147-A177-3AD203B41FA5}">
                      <a16:colId xmlns:a16="http://schemas.microsoft.com/office/drawing/2014/main" val="1904748419"/>
                    </a:ext>
                  </a:extLst>
                </a:gridCol>
                <a:gridCol w="429493">
                  <a:extLst>
                    <a:ext uri="{9D8B030D-6E8A-4147-A177-3AD203B41FA5}">
                      <a16:colId xmlns:a16="http://schemas.microsoft.com/office/drawing/2014/main" val="691801265"/>
                    </a:ext>
                  </a:extLst>
                </a:gridCol>
              </a:tblGrid>
              <a:tr h="269036"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800" b="1" kern="120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ssentials</a:t>
                      </a:r>
                    </a:p>
                    <a:p>
                      <a:pPr marL="0" algn="l" defTabSz="914367" rtl="0" eaLnBrk="1" latinLnBrk="0" hangingPunct="1"/>
                      <a:endParaRPr lang="en-US" sz="2000" b="1" kern="120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0" marR="182880" marT="91440" marB="91440" anchor="ctr">
                    <a:lnL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US" sz="2800" b="1" kern="120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Non-essentials</a:t>
                      </a:r>
                    </a:p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00" marR="0" marT="91440" marB="91440" anchor="ctr">
                    <a:lnL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228848"/>
                  </a:ext>
                </a:extLst>
              </a:tr>
              <a:tr h="1207863"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Repurpose stores to focus on essential product lines and provide safe shopping</a:t>
                      </a:r>
                    </a:p>
                  </a:txBody>
                  <a:tcPr marL="73152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Temporary store closures and staff lay-offs (stores, distribution &amp; supply chain)</a:t>
                      </a:r>
                    </a:p>
                  </a:txBody>
                  <a:tcPr marL="914400" marR="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9733678"/>
                  </a:ext>
                </a:extLst>
              </a:tr>
              <a:tr h="1207863">
                <a:tc>
                  <a:txBody>
                    <a:bodyPr/>
                    <a:lstStyle/>
                    <a:p>
                      <a:pPr algn="l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Huge growth in demand driving investment in tech and people to meet demand</a:t>
                      </a:r>
                    </a:p>
                  </a:txBody>
                  <a:tcPr marL="73152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Driving shopper to on-line with discounts to keep some revenues flowing</a:t>
                      </a:r>
                    </a:p>
                  </a:txBody>
                  <a:tcPr marL="914400" marR="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marT="91440" marB="9144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6663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B2C84E16-B4E1-4A54-8CB0-870AB8E70761}"/>
              </a:ext>
            </a:extLst>
          </p:cNvPr>
          <p:cNvGrpSpPr/>
          <p:nvPr/>
        </p:nvGrpSpPr>
        <p:grpSpPr>
          <a:xfrm>
            <a:off x="-625653" y="3929051"/>
            <a:ext cx="1689735" cy="618846"/>
            <a:chOff x="-552796" y="3828676"/>
            <a:chExt cx="2077293" cy="760787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78846405-A144-4246-982C-B8C29B0B581D}"/>
                </a:ext>
              </a:extLst>
            </p:cNvPr>
            <p:cNvSpPr/>
            <p:nvPr/>
          </p:nvSpPr>
          <p:spPr bwMode="auto">
            <a:xfrm>
              <a:off x="-552796" y="3828676"/>
              <a:ext cx="2077293" cy="760787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ShoppingCart_E7BF" title="Icon of a shopping cart">
              <a:extLst>
                <a:ext uri="{FF2B5EF4-FFF2-40B4-BE49-F238E27FC236}">
                  <a16:creationId xmlns:a16="http://schemas.microsoft.com/office/drawing/2014/main" id="{B32263F8-1EFC-46D1-BC65-2BC5F9DDF3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40578" y="4008902"/>
              <a:ext cx="470786" cy="400334"/>
            </a:xfrm>
            <a:custGeom>
              <a:avLst/>
              <a:gdLst>
                <a:gd name="T0" fmla="*/ 3368 w 3817"/>
                <a:gd name="T1" fmla="*/ 2994 h 3244"/>
                <a:gd name="T2" fmla="*/ 3119 w 3817"/>
                <a:gd name="T3" fmla="*/ 3244 h 3244"/>
                <a:gd name="T4" fmla="*/ 2869 w 3817"/>
                <a:gd name="T5" fmla="*/ 2994 h 3244"/>
                <a:gd name="T6" fmla="*/ 3119 w 3817"/>
                <a:gd name="T7" fmla="*/ 2745 h 3244"/>
                <a:gd name="T8" fmla="*/ 3368 w 3817"/>
                <a:gd name="T9" fmla="*/ 2994 h 3244"/>
                <a:gd name="T10" fmla="*/ 1372 w 3817"/>
                <a:gd name="T11" fmla="*/ 2745 h 3244"/>
                <a:gd name="T12" fmla="*/ 1123 w 3817"/>
                <a:gd name="T13" fmla="*/ 2994 h 3244"/>
                <a:gd name="T14" fmla="*/ 1372 w 3817"/>
                <a:gd name="T15" fmla="*/ 3244 h 3244"/>
                <a:gd name="T16" fmla="*/ 1622 w 3817"/>
                <a:gd name="T17" fmla="*/ 2994 h 3244"/>
                <a:gd name="T18" fmla="*/ 1372 w 3817"/>
                <a:gd name="T19" fmla="*/ 2745 h 3244"/>
                <a:gd name="T20" fmla="*/ 0 w 3817"/>
                <a:gd name="T21" fmla="*/ 0 h 3244"/>
                <a:gd name="T22" fmla="*/ 457 w 3817"/>
                <a:gd name="T23" fmla="*/ 0 h 3244"/>
                <a:gd name="T24" fmla="*/ 1372 w 3817"/>
                <a:gd name="T25" fmla="*/ 2745 h 3244"/>
                <a:gd name="T26" fmla="*/ 3119 w 3817"/>
                <a:gd name="T27" fmla="*/ 2745 h 3244"/>
                <a:gd name="T28" fmla="*/ 1123 w 3817"/>
                <a:gd name="T29" fmla="*/ 1996 h 3244"/>
                <a:gd name="T30" fmla="*/ 3318 w 3817"/>
                <a:gd name="T31" fmla="*/ 1996 h 3244"/>
                <a:gd name="T32" fmla="*/ 3817 w 3817"/>
                <a:gd name="T33" fmla="*/ 499 h 3244"/>
                <a:gd name="T34" fmla="*/ 624 w 3817"/>
                <a:gd name="T35" fmla="*/ 499 h 3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17" h="3244">
                  <a:moveTo>
                    <a:pt x="3368" y="2994"/>
                  </a:moveTo>
                  <a:cubicBezTo>
                    <a:pt x="3368" y="3132"/>
                    <a:pt x="3257" y="3244"/>
                    <a:pt x="3119" y="3244"/>
                  </a:cubicBezTo>
                  <a:cubicBezTo>
                    <a:pt x="2981" y="3244"/>
                    <a:pt x="2869" y="3132"/>
                    <a:pt x="2869" y="2994"/>
                  </a:cubicBezTo>
                  <a:cubicBezTo>
                    <a:pt x="2869" y="2856"/>
                    <a:pt x="2981" y="2745"/>
                    <a:pt x="3119" y="2745"/>
                  </a:cubicBezTo>
                  <a:cubicBezTo>
                    <a:pt x="3257" y="2745"/>
                    <a:pt x="3368" y="2856"/>
                    <a:pt x="3368" y="2994"/>
                  </a:cubicBezTo>
                  <a:close/>
                  <a:moveTo>
                    <a:pt x="1372" y="2745"/>
                  </a:moveTo>
                  <a:cubicBezTo>
                    <a:pt x="1234" y="2745"/>
                    <a:pt x="1123" y="2856"/>
                    <a:pt x="1123" y="2994"/>
                  </a:cubicBezTo>
                  <a:cubicBezTo>
                    <a:pt x="1123" y="3132"/>
                    <a:pt x="1234" y="3244"/>
                    <a:pt x="1372" y="3244"/>
                  </a:cubicBezTo>
                  <a:cubicBezTo>
                    <a:pt x="1510" y="3244"/>
                    <a:pt x="1622" y="3132"/>
                    <a:pt x="1622" y="2994"/>
                  </a:cubicBezTo>
                  <a:cubicBezTo>
                    <a:pt x="1622" y="2856"/>
                    <a:pt x="1510" y="2745"/>
                    <a:pt x="1372" y="2745"/>
                  </a:cubicBezTo>
                  <a:close/>
                  <a:moveTo>
                    <a:pt x="0" y="0"/>
                  </a:moveTo>
                  <a:cubicBezTo>
                    <a:pt x="457" y="0"/>
                    <a:pt x="457" y="0"/>
                    <a:pt x="457" y="0"/>
                  </a:cubicBezTo>
                  <a:cubicBezTo>
                    <a:pt x="1372" y="2745"/>
                    <a:pt x="1372" y="2745"/>
                    <a:pt x="1372" y="2745"/>
                  </a:cubicBezTo>
                  <a:cubicBezTo>
                    <a:pt x="3119" y="2745"/>
                    <a:pt x="3119" y="2745"/>
                    <a:pt x="3119" y="2745"/>
                  </a:cubicBezTo>
                  <a:moveTo>
                    <a:pt x="1123" y="1996"/>
                  </a:moveTo>
                  <a:cubicBezTo>
                    <a:pt x="3318" y="1996"/>
                    <a:pt x="3318" y="1996"/>
                    <a:pt x="3318" y="1996"/>
                  </a:cubicBezTo>
                  <a:cubicBezTo>
                    <a:pt x="3817" y="499"/>
                    <a:pt x="3817" y="499"/>
                    <a:pt x="3817" y="499"/>
                  </a:cubicBezTo>
                  <a:cubicBezTo>
                    <a:pt x="624" y="499"/>
                    <a:pt x="624" y="499"/>
                    <a:pt x="624" y="499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20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0256F50-F430-42AE-AEC1-2CDE8F643F76}"/>
              </a:ext>
            </a:extLst>
          </p:cNvPr>
          <p:cNvGrpSpPr/>
          <p:nvPr/>
        </p:nvGrpSpPr>
        <p:grpSpPr>
          <a:xfrm>
            <a:off x="-625653" y="5133872"/>
            <a:ext cx="1689735" cy="618846"/>
            <a:chOff x="-552797" y="5020050"/>
            <a:chExt cx="2077293" cy="760787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1E86D0E-E446-4FF5-87EE-E999B808AD3A}"/>
                </a:ext>
              </a:extLst>
            </p:cNvPr>
            <p:cNvSpPr/>
            <p:nvPr/>
          </p:nvSpPr>
          <p:spPr bwMode="auto">
            <a:xfrm>
              <a:off x="-552797" y="5020050"/>
              <a:ext cx="2077293" cy="760787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5820C7D-0AAB-4725-A4A1-416305D5282D}"/>
                </a:ext>
              </a:extLst>
            </p:cNvPr>
            <p:cNvGrpSpPr/>
            <p:nvPr/>
          </p:nvGrpSpPr>
          <p:grpSpPr>
            <a:xfrm>
              <a:off x="831715" y="5221205"/>
              <a:ext cx="488510" cy="358477"/>
              <a:chOff x="10089011" y="1186205"/>
              <a:chExt cx="488510" cy="358477"/>
            </a:xfrm>
          </p:grpSpPr>
          <p:sp>
            <p:nvSpPr>
              <p:cNvPr id="49" name="UniversalApp_E8CC" title="Icon of a cellphone in front of a tablet">
                <a:extLst>
                  <a:ext uri="{FF2B5EF4-FFF2-40B4-BE49-F238E27FC236}">
                    <a16:creationId xmlns:a16="http://schemas.microsoft.com/office/drawing/2014/main" id="{7B5C515B-4906-471C-87D0-A8B25938AC4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89011" y="1186205"/>
                <a:ext cx="488510" cy="358477"/>
              </a:xfrm>
              <a:custGeom>
                <a:avLst/>
                <a:gdLst>
                  <a:gd name="T0" fmla="*/ 1250 w 3750"/>
                  <a:gd name="T1" fmla="*/ 2750 h 2750"/>
                  <a:gd name="T2" fmla="*/ 0 w 3750"/>
                  <a:gd name="T3" fmla="*/ 2750 h 2750"/>
                  <a:gd name="T4" fmla="*/ 0 w 3750"/>
                  <a:gd name="T5" fmla="*/ 750 h 2750"/>
                  <a:gd name="T6" fmla="*/ 1250 w 3750"/>
                  <a:gd name="T7" fmla="*/ 750 h 2750"/>
                  <a:gd name="T8" fmla="*/ 1250 w 3750"/>
                  <a:gd name="T9" fmla="*/ 2750 h 2750"/>
                  <a:gd name="T10" fmla="*/ 375 w 3750"/>
                  <a:gd name="T11" fmla="*/ 2250 h 2750"/>
                  <a:gd name="T12" fmla="*/ 875 w 3750"/>
                  <a:gd name="T13" fmla="*/ 2250 h 2750"/>
                  <a:gd name="T14" fmla="*/ 1875 w 3750"/>
                  <a:gd name="T15" fmla="*/ 1750 h 2750"/>
                  <a:gd name="T16" fmla="*/ 2375 w 3750"/>
                  <a:gd name="T17" fmla="*/ 1750 h 2750"/>
                  <a:gd name="T18" fmla="*/ 1250 w 3750"/>
                  <a:gd name="T19" fmla="*/ 2250 h 2750"/>
                  <a:gd name="T20" fmla="*/ 3625 w 3750"/>
                  <a:gd name="T21" fmla="*/ 2250 h 2750"/>
                  <a:gd name="T22" fmla="*/ 3750 w 3750"/>
                  <a:gd name="T23" fmla="*/ 2125 h 2750"/>
                  <a:gd name="T24" fmla="*/ 3750 w 3750"/>
                  <a:gd name="T25" fmla="*/ 125 h 2750"/>
                  <a:gd name="T26" fmla="*/ 3625 w 3750"/>
                  <a:gd name="T27" fmla="*/ 0 h 2750"/>
                  <a:gd name="T28" fmla="*/ 625 w 3750"/>
                  <a:gd name="T29" fmla="*/ 0 h 2750"/>
                  <a:gd name="T30" fmla="*/ 500 w 3750"/>
                  <a:gd name="T31" fmla="*/ 125 h 2750"/>
                  <a:gd name="T32" fmla="*/ 500 w 3750"/>
                  <a:gd name="T33" fmla="*/ 750 h 2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50" h="2750">
                    <a:moveTo>
                      <a:pt x="1250" y="2750"/>
                    </a:moveTo>
                    <a:cubicBezTo>
                      <a:pt x="0" y="2750"/>
                      <a:pt x="0" y="2750"/>
                      <a:pt x="0" y="2750"/>
                    </a:cubicBezTo>
                    <a:cubicBezTo>
                      <a:pt x="0" y="750"/>
                      <a:pt x="0" y="750"/>
                      <a:pt x="0" y="750"/>
                    </a:cubicBezTo>
                    <a:cubicBezTo>
                      <a:pt x="1250" y="750"/>
                      <a:pt x="1250" y="750"/>
                      <a:pt x="1250" y="750"/>
                    </a:cubicBezTo>
                    <a:lnTo>
                      <a:pt x="1250" y="2750"/>
                    </a:lnTo>
                    <a:close/>
                    <a:moveTo>
                      <a:pt x="375" y="2250"/>
                    </a:moveTo>
                    <a:cubicBezTo>
                      <a:pt x="875" y="2250"/>
                      <a:pt x="875" y="2250"/>
                      <a:pt x="875" y="2250"/>
                    </a:cubicBezTo>
                    <a:moveTo>
                      <a:pt x="1875" y="1750"/>
                    </a:moveTo>
                    <a:cubicBezTo>
                      <a:pt x="2375" y="1750"/>
                      <a:pt x="2375" y="1750"/>
                      <a:pt x="2375" y="1750"/>
                    </a:cubicBezTo>
                    <a:moveTo>
                      <a:pt x="1250" y="2250"/>
                    </a:moveTo>
                    <a:cubicBezTo>
                      <a:pt x="3625" y="2250"/>
                      <a:pt x="3625" y="2250"/>
                      <a:pt x="3625" y="2250"/>
                    </a:cubicBezTo>
                    <a:cubicBezTo>
                      <a:pt x="3694" y="2250"/>
                      <a:pt x="3750" y="2194"/>
                      <a:pt x="3750" y="2125"/>
                    </a:cubicBezTo>
                    <a:cubicBezTo>
                      <a:pt x="3750" y="125"/>
                      <a:pt x="3750" y="125"/>
                      <a:pt x="3750" y="125"/>
                    </a:cubicBezTo>
                    <a:cubicBezTo>
                      <a:pt x="3750" y="56"/>
                      <a:pt x="3694" y="0"/>
                      <a:pt x="3625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556" y="0"/>
                      <a:pt x="500" y="56"/>
                      <a:pt x="500" y="125"/>
                    </a:cubicBezTo>
                    <a:cubicBezTo>
                      <a:pt x="500" y="750"/>
                      <a:pt x="500" y="750"/>
                      <a:pt x="500" y="750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20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" name="TagLegacy_E1CB" title="Icon of a shopping tag">
                <a:extLst>
                  <a:ext uri="{FF2B5EF4-FFF2-40B4-BE49-F238E27FC236}">
                    <a16:creationId xmlns:a16="http://schemas.microsoft.com/office/drawing/2014/main" id="{C720814B-1E2F-49EC-8674-B9AA9640FC2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319520" y="1251420"/>
                <a:ext cx="126230" cy="100758"/>
              </a:xfrm>
              <a:custGeom>
                <a:avLst/>
                <a:gdLst>
                  <a:gd name="T0" fmla="*/ 2950 w 3700"/>
                  <a:gd name="T1" fmla="*/ 1330 h 2952"/>
                  <a:gd name="T2" fmla="*/ 1328 w 3700"/>
                  <a:gd name="T3" fmla="*/ 2952 h 2952"/>
                  <a:gd name="T4" fmla="*/ 0 w 3700"/>
                  <a:gd name="T5" fmla="*/ 1620 h 2952"/>
                  <a:gd name="T6" fmla="*/ 1620 w 3700"/>
                  <a:gd name="T7" fmla="*/ 0 h 2952"/>
                  <a:gd name="T8" fmla="*/ 2951 w 3700"/>
                  <a:gd name="T9" fmla="*/ 1 h 2952"/>
                  <a:gd name="T10" fmla="*/ 2950 w 3700"/>
                  <a:gd name="T11" fmla="*/ 1330 h 2952"/>
                  <a:gd name="T12" fmla="*/ 1820 w 3700"/>
                  <a:gd name="T13" fmla="*/ 2460 h 2952"/>
                  <a:gd name="T14" fmla="*/ 2576 w 3700"/>
                  <a:gd name="T15" fmla="*/ 2753 h 2952"/>
                  <a:gd name="T16" fmla="*/ 3700 w 3700"/>
                  <a:gd name="T17" fmla="*/ 1629 h 2952"/>
                  <a:gd name="T18" fmla="*/ 2576 w 3700"/>
                  <a:gd name="T19" fmla="*/ 505 h 2952"/>
                  <a:gd name="T20" fmla="*/ 2421 w 3700"/>
                  <a:gd name="T21" fmla="*/ 505 h 2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00" h="2952">
                    <a:moveTo>
                      <a:pt x="2950" y="1330"/>
                    </a:moveTo>
                    <a:cubicBezTo>
                      <a:pt x="1328" y="2952"/>
                      <a:pt x="1328" y="2952"/>
                      <a:pt x="1328" y="2952"/>
                    </a:cubicBezTo>
                    <a:cubicBezTo>
                      <a:pt x="0" y="1620"/>
                      <a:pt x="0" y="1620"/>
                      <a:pt x="0" y="1620"/>
                    </a:cubicBezTo>
                    <a:cubicBezTo>
                      <a:pt x="1620" y="0"/>
                      <a:pt x="1620" y="0"/>
                      <a:pt x="1620" y="0"/>
                    </a:cubicBezTo>
                    <a:cubicBezTo>
                      <a:pt x="2951" y="1"/>
                      <a:pt x="2951" y="1"/>
                      <a:pt x="2951" y="1"/>
                    </a:cubicBezTo>
                    <a:lnTo>
                      <a:pt x="2950" y="1330"/>
                    </a:lnTo>
                    <a:close/>
                    <a:moveTo>
                      <a:pt x="1820" y="2460"/>
                    </a:moveTo>
                    <a:cubicBezTo>
                      <a:pt x="2020" y="2642"/>
                      <a:pt x="2285" y="2753"/>
                      <a:pt x="2576" y="2753"/>
                    </a:cubicBezTo>
                    <a:cubicBezTo>
                      <a:pt x="3197" y="2753"/>
                      <a:pt x="3700" y="2249"/>
                      <a:pt x="3700" y="1629"/>
                    </a:cubicBezTo>
                    <a:cubicBezTo>
                      <a:pt x="3700" y="1008"/>
                      <a:pt x="3198" y="505"/>
                      <a:pt x="2576" y="505"/>
                    </a:cubicBezTo>
                    <a:cubicBezTo>
                      <a:pt x="2421" y="505"/>
                      <a:pt x="2421" y="505"/>
                      <a:pt x="2421" y="505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20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6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56964B26-A143-4056-B491-A9B22D925BA6}"/>
              </a:ext>
            </a:extLst>
          </p:cNvPr>
          <p:cNvSpPr/>
          <p:nvPr/>
        </p:nvSpPr>
        <p:spPr>
          <a:xfrm>
            <a:off x="332059" y="4572791"/>
            <a:ext cx="7380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or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CA4096-A677-4865-A9D3-20EC0DA119E1}"/>
              </a:ext>
            </a:extLst>
          </p:cNvPr>
          <p:cNvSpPr/>
          <p:nvPr/>
        </p:nvSpPr>
        <p:spPr>
          <a:xfrm>
            <a:off x="312182" y="5792737"/>
            <a:ext cx="77777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line</a:t>
            </a:r>
          </a:p>
        </p:txBody>
      </p:sp>
    </p:spTree>
    <p:extLst>
      <p:ext uri="{BB962C8B-B14F-4D97-AF65-F5344CB8AC3E}">
        <p14:creationId xmlns:p14="http://schemas.microsoft.com/office/powerpoint/2010/main" val="3406131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ure + Intel_External Template">
  <a:themeElements>
    <a:clrScheme name="Custom 3">
      <a:dk1>
        <a:srgbClr val="000000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Intel Template Jan 2020_External2.potx" id="{FCB9CE12-F3CA-4058-9F5D-61B9C37939F7}" vid="{733849B7-9CE6-4583-BB65-C4F5DCBDB99A}"/>
    </a:ext>
  </a:extLst>
</a:theme>
</file>

<file path=ppt/theme/theme2.xml><?xml version="1.0" encoding="utf-8"?>
<a:theme xmlns:a="http://schemas.openxmlformats.org/drawingml/2006/main" name="5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 [Read-Only]" id="{3A1D309E-A9B1-413E-90B6-BA773E86C9AE}" vid="{3930461E-BBF4-4A1F-A2F3-6BA9EAC3A40C}"/>
    </a:ext>
  </a:extLst>
</a:theme>
</file>

<file path=ppt/theme/theme3.xml><?xml version="1.0" encoding="utf-8"?>
<a:theme xmlns:a="http://schemas.openxmlformats.org/drawingml/2006/main" name="3_Microsoft 365 PPT Template - 2018">
  <a:themeElements>
    <a:clrScheme name="Azure">
      <a:dk1>
        <a:sysClr val="windowText" lastClr="000000"/>
      </a:dk1>
      <a:lt1>
        <a:sysClr val="window" lastClr="FFFFFF"/>
      </a:lt1>
      <a:dk2>
        <a:srgbClr val="0078D4"/>
      </a:dk2>
      <a:lt2>
        <a:srgbClr val="EBEBEB"/>
      </a:lt2>
      <a:accent1>
        <a:srgbClr val="50E6FF"/>
      </a:accent1>
      <a:accent2>
        <a:srgbClr val="3C3C41"/>
      </a:accent2>
      <a:accent3>
        <a:srgbClr val="75757A"/>
      </a:accent3>
      <a:accent4>
        <a:srgbClr val="EBEBEB"/>
      </a:accent4>
      <a:accent5>
        <a:srgbClr val="FFFFFF"/>
      </a:accent5>
      <a:accent6>
        <a:srgbClr val="000000"/>
      </a:accent6>
      <a:hlink>
        <a:srgbClr val="0563C1"/>
      </a:hlink>
      <a:folHlink>
        <a:srgbClr val="954F72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DC3FC6DF-F8E1-F941-9B45-8E046F2AA4F8}" vid="{D872CB19-874A-ED4B-86B8-6475BC606933}"/>
    </a:ext>
  </a:extLst>
</a:theme>
</file>

<file path=ppt/theme/theme4.xml><?xml version="1.0" encoding="utf-8"?>
<a:theme xmlns:a="http://schemas.openxmlformats.org/drawingml/2006/main" name="3_WHITE TEMPLATE">
  <a:themeElements>
    <a:clrScheme name="Azur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8D4"/>
      </a:accent1>
      <a:accent2>
        <a:srgbClr val="50E6FF"/>
      </a:accent2>
      <a:accent3>
        <a:srgbClr val="3C3C41"/>
      </a:accent3>
      <a:accent4>
        <a:srgbClr val="75757A"/>
      </a:accent4>
      <a:accent5>
        <a:srgbClr val="EBEBEB"/>
      </a:accent5>
      <a:accent6>
        <a:srgbClr val="FFFFFF"/>
      </a:accent6>
      <a:hlink>
        <a:srgbClr val="0078D4"/>
      </a:hlink>
      <a:folHlink>
        <a:srgbClr val="954F7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58</Words>
  <Application>Microsoft Office PowerPoint</Application>
  <PresentationFormat>Widescreen</PresentationFormat>
  <Paragraphs>480</Paragraphs>
  <Slides>42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6" baseType="lpstr">
      <vt:lpstr>Arial</vt:lpstr>
      <vt:lpstr>Calibri</vt:lpstr>
      <vt:lpstr>Consolas</vt:lpstr>
      <vt:lpstr>Intel Clear Pro</vt:lpstr>
      <vt:lpstr>Segoe UI</vt:lpstr>
      <vt:lpstr>Segoe UI Light</vt:lpstr>
      <vt:lpstr>Segoe UI Semibold</vt:lpstr>
      <vt:lpstr>Segoe UI Semilight</vt:lpstr>
      <vt:lpstr>Wingdings</vt:lpstr>
      <vt:lpstr>Azure + Intel_External Template</vt:lpstr>
      <vt:lpstr>5_FY15 Enterprise identity theme</vt:lpstr>
      <vt:lpstr>3_Microsoft 365 PPT Template - 2018</vt:lpstr>
      <vt:lpstr>3_WHITE TEMPLATE</vt:lpstr>
      <vt:lpstr>think-cell Slide</vt:lpstr>
      <vt:lpstr>Intelligent  Retail Webinar </vt:lpstr>
      <vt:lpstr>Speakers </vt:lpstr>
      <vt:lpstr>Agenda</vt:lpstr>
      <vt:lpstr>Imagine if…</vt:lpstr>
      <vt:lpstr>Retail Overview  </vt:lpstr>
      <vt:lpstr>Enabling Intelligent Retail</vt:lpstr>
      <vt:lpstr>Superpowers  for edge to cloud</vt:lpstr>
      <vt:lpstr>PowerPoint Presentation</vt:lpstr>
      <vt:lpstr>PowerPoint Presentation</vt:lpstr>
      <vt:lpstr>PowerPoint Presentation</vt:lpstr>
      <vt:lpstr>Accelerating Retail Insights </vt:lpstr>
      <vt:lpstr>Enabling Intelligent Retail</vt:lpstr>
      <vt:lpstr>Businesses are forced to maintain  two critical, yet independent analytics systems </vt:lpstr>
      <vt:lpstr>Azure brings these two worlds together,  in a single service, to provide limitless analytics</vt:lpstr>
      <vt:lpstr>PowerPoint Presentation</vt:lpstr>
      <vt:lpstr>Traditional Big Data Model: Separate services, little unification</vt:lpstr>
      <vt:lpstr>PowerPoint Presentation</vt:lpstr>
      <vt:lpstr>Data and Analytics Demo Scenario: Buy Online, Contactless Curbside Pickup</vt:lpstr>
      <vt:lpstr>Demo</vt:lpstr>
      <vt:lpstr>Azure Stack Hub + Edge</vt:lpstr>
      <vt:lpstr>Intelligent Cloud &amp; Intelligent Edge </vt:lpstr>
      <vt:lpstr>Innovation anywhere with Azure</vt:lpstr>
      <vt:lpstr>Consistently build and run hybrid apps across on-premises, cloud, and edge </vt:lpstr>
      <vt:lpstr>Azure Stack Hub</vt:lpstr>
      <vt:lpstr>Azure Stack Hub: An extension of Azure</vt:lpstr>
      <vt:lpstr>Azure Stack Hub</vt:lpstr>
      <vt:lpstr>Azure Stack Hub</vt:lpstr>
      <vt:lpstr>Azure Stack Hub</vt:lpstr>
      <vt:lpstr>Azure Stack Hub</vt:lpstr>
      <vt:lpstr>Coming Soon Azure Stack Hub GPU Support</vt:lpstr>
      <vt:lpstr>Azure Stack Edge</vt:lpstr>
      <vt:lpstr>Many Azure Services Offer Containerized Edge Versions</vt:lpstr>
      <vt:lpstr>Cloud Management</vt:lpstr>
      <vt:lpstr>Choose the Appliance Model Best Suited for the Job</vt:lpstr>
      <vt:lpstr>PowerPoint Presentation</vt:lpstr>
      <vt:lpstr>Intelligent Retail Blueprint </vt:lpstr>
      <vt:lpstr>`</vt:lpstr>
      <vt:lpstr>How it works</vt:lpstr>
      <vt:lpstr>Intelligent edge in action</vt:lpstr>
      <vt:lpstr>Intelligent edge in action</vt:lpstr>
      <vt:lpstr>Intelligent edge in action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0-05-05T21:42:49Z</dcterms:created>
  <dcterms:modified xsi:type="dcterms:W3CDTF">2020-05-05T21:44:03Z</dcterms:modified>
</cp:coreProperties>
</file>